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theme/theme4.xml" ContentType="application/vnd.openxmlformats-officedocument.theme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omments/modernComment_7FFFFF68_D9BEA395.xml" ContentType="application/vnd.ms-powerpoint.comments+xml"/>
  <Override PartName="/ppt/notesSlides/notesSlide3.xml" ContentType="application/vnd.openxmlformats-officedocument.presentationml.notesSlide+xml"/>
  <Override PartName="/ppt/comments/modernComment_7FFFFF62_686A92B5.xml" ContentType="application/vnd.ms-powerpoint.comment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229" r:id="rId4"/>
    <p:sldMasterId id="2147484952" r:id="rId5"/>
    <p:sldMasterId id="2147483985" r:id="rId6"/>
    <p:sldMasterId id="2147485033" r:id="rId7"/>
  </p:sldMasterIdLst>
  <p:notesMasterIdLst>
    <p:notesMasterId r:id="rId24"/>
  </p:notesMasterIdLst>
  <p:handoutMasterIdLst>
    <p:handoutMasterId r:id="rId25"/>
  </p:handoutMasterIdLst>
  <p:sldIdLst>
    <p:sldId id="2051" r:id="rId8"/>
    <p:sldId id="2061" r:id="rId9"/>
    <p:sldId id="2147483497" r:id="rId10"/>
    <p:sldId id="2147483496" r:id="rId11"/>
    <p:sldId id="2147483490" r:id="rId12"/>
    <p:sldId id="2147483498" r:id="rId13"/>
    <p:sldId id="2147483499" r:id="rId14"/>
    <p:sldId id="2147483166" r:id="rId15"/>
    <p:sldId id="2147483162" r:id="rId16"/>
    <p:sldId id="1660" r:id="rId17"/>
    <p:sldId id="2147483389" r:id="rId18"/>
    <p:sldId id="2147483390" r:id="rId19"/>
    <p:sldId id="2147483391" r:id="rId20"/>
    <p:sldId id="2147483392" r:id="rId21"/>
    <p:sldId id="2147482377" r:id="rId22"/>
    <p:sldId id="2056" r:id="rId23"/>
  </p:sldIdLst>
  <p:sldSz cx="12192000" cy="6858000"/>
  <p:notesSz cx="6858000" cy="9144000"/>
  <p:defaultTextStyle>
    <a:defPPr>
      <a:defRPr lang="en-US"/>
    </a:defPPr>
    <a:lvl1pPr algn="l" defTabSz="912813" rtl="0" eaLnBrk="0" fontAlgn="base" hangingPunct="0">
      <a:spcBef>
        <a:spcPct val="0"/>
      </a:spcBef>
      <a:spcAft>
        <a:spcPct val="0"/>
      </a:spcAft>
      <a:defRPr sz="1700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1pPr>
    <a:lvl2pPr marL="455613" indent="1588" algn="l" defTabSz="912813" rtl="0" eaLnBrk="0" fontAlgn="base" hangingPunct="0">
      <a:spcBef>
        <a:spcPct val="0"/>
      </a:spcBef>
      <a:spcAft>
        <a:spcPct val="0"/>
      </a:spcAft>
      <a:defRPr sz="1700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2pPr>
    <a:lvl3pPr marL="912813" indent="1588" algn="l" defTabSz="912813" rtl="0" eaLnBrk="0" fontAlgn="base" hangingPunct="0">
      <a:spcBef>
        <a:spcPct val="0"/>
      </a:spcBef>
      <a:spcAft>
        <a:spcPct val="0"/>
      </a:spcAft>
      <a:defRPr sz="1700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3pPr>
    <a:lvl4pPr marL="1370013" indent="1588" algn="l" defTabSz="912813" rtl="0" eaLnBrk="0" fontAlgn="base" hangingPunct="0">
      <a:spcBef>
        <a:spcPct val="0"/>
      </a:spcBef>
      <a:spcAft>
        <a:spcPct val="0"/>
      </a:spcAft>
      <a:defRPr sz="1700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4pPr>
    <a:lvl5pPr marL="1827213" indent="1588" algn="l" defTabSz="912813" rtl="0" eaLnBrk="0" fontAlgn="base" hangingPunct="0">
      <a:spcBef>
        <a:spcPct val="0"/>
      </a:spcBef>
      <a:spcAft>
        <a:spcPct val="0"/>
      </a:spcAft>
      <a:defRPr sz="1700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5pPr>
    <a:lvl6pPr marL="2286000" algn="l" defTabSz="914400" rtl="0" eaLnBrk="1" latinLnBrk="0" hangingPunct="1">
      <a:defRPr sz="1700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6pPr>
    <a:lvl7pPr marL="2743200" algn="l" defTabSz="914400" rtl="0" eaLnBrk="1" latinLnBrk="0" hangingPunct="1">
      <a:defRPr sz="1700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7pPr>
    <a:lvl8pPr marL="3200400" algn="l" defTabSz="914400" rtl="0" eaLnBrk="1" latinLnBrk="0" hangingPunct="1">
      <a:defRPr sz="1700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8pPr>
    <a:lvl9pPr marL="3657600" algn="l" defTabSz="914400" rtl="0" eaLnBrk="1" latinLnBrk="0" hangingPunct="1">
      <a:defRPr sz="1700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293D56DD-4265-C342-B1D5-26671AE02ED7}">
          <p14:sldIdLst>
            <p14:sldId id="2051"/>
            <p14:sldId id="2061"/>
            <p14:sldId id="2147483497"/>
            <p14:sldId id="2147483496"/>
            <p14:sldId id="2147483490"/>
            <p14:sldId id="2147483498"/>
            <p14:sldId id="2147483499"/>
            <p14:sldId id="2147483166"/>
            <p14:sldId id="2147483162"/>
            <p14:sldId id="1660"/>
          </p14:sldIdLst>
        </p14:section>
        <p14:section name="Appendix" id="{8BFBE320-F9C9-A140-B135-F73DC28A3301}">
          <p14:sldIdLst>
            <p14:sldId id="2147483389"/>
            <p14:sldId id="2147483390"/>
            <p14:sldId id="2147483391"/>
            <p14:sldId id="2147483392"/>
            <p14:sldId id="2147482377"/>
            <p14:sldId id="2056"/>
          </p14:sldIdLst>
        </p14:section>
        <p14:section name="Backup slides" id="{1C424FF2-1BEE-4F41-905F-53214B70B4BD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B6CCC0E-49FB-3B2C-3A3E-A6D57BFD5E89}" name="Mansourgarakani, Niyousha" initials="NM" userId="S::niyousha.mansourgarakani@sap.com::cf4274cb-2eef-4d28-913a-3d48de3d97d4" providerId="AD"/>
  <p188:author id="{8B886E24-E7D4-8128-281F-C7FD4616479A}" name="Gahse, Gabriela" initials="GG" userId="S::gabriela.gahse@sap.com::2f75d39d-efdd-45a2-aec5-f0801cd103ce" providerId="AD"/>
  <p188:author id="{BF01B12D-A5F6-4093-9882-A23284EA66CA}" name="Virtanen, Akseli" initials="VA" userId="S::akseli.virtanen@sap.com::a6299531-6c4c-4b37-9b76-7e2ceec9d3db" providerId="AD"/>
  <p188:author id="{CC828A4E-3976-15AD-F4AB-4C9D7FD36CBA}" name="Claudia Jaster" initials="CJ" userId="da740e110f0ac3a8" providerId="Windows Live"/>
  <p188:author id="{BD8C956E-AE5E-6C94-4B7B-5003CA83C9CD}" name="Schroetel, Sebastian" initials="SS" userId="S::sebastian.schroetel@sap.com::07603257-99e4-4512-8269-cccb7c142049" providerId="AD"/>
  <p188:author id="{9CA24A72-40A7-30AD-601B-DBFEE0A1BD21}" name="Hathaway, Sandy" initials="HS" userId="S::sandy.hathaway@sap.com::ab643f71-46cd-4bee-a5b9-5a3ef30e1268" providerId="AD"/>
  <p188:author id="{9476BB85-FD8D-D3B2-60B2-D95E0E01FC0A}" name="Constance McCutcheon" initials="CM" userId="1904eb659e4d451e" providerId="Windows Live"/>
  <p188:author id="{257040B2-6217-45B8-39D4-D4E946D86086}" name="Korenyi, Csaba" initials="KC" userId="S::csaba.korenyi@sap.com::81b15346-01c3-4801-95ae-0eb473916f98" providerId="AD"/>
  <p188:author id="{045892B5-FEEC-45EB-1C42-92EE7F0773A1}" name="Xavier, Esmee" initials="XE" userId="S::esmee.xavier@sap.com::134d5c1b-4074-43f2-a66b-6f479b3435e1" providerId="AD"/>
  <p188:author id="{2273F3EA-3C76-D6BF-D77E-18F341E5231E}" name="Kondratyeva, Maria" initials="KM" userId="S::maria.kondratyeva@sap.com::586e0bc1-50cf-4619-ab60-19589e10cacd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aku Uchikawa" initials="" lastIdx="11" clrIdx="0"/>
  <p:cmAuthor id="2" name="Mary Feil-Jacobs" initials="" lastIdx="43" clrIdx="1"/>
  <p:cmAuthor id="3" name="Monica Lueder" initials="" lastIdx="22" clrIdx="2"/>
  <p:cmAuthor id="4" name="Unknown User1" initials="Unknown User1" lastIdx="28" clrIdx="3"/>
  <p:cmAuthor id="5" name="Tracy Tran" initials="" lastIdx="9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32986"/>
    <a:srgbClr val="002A86"/>
    <a:srgbClr val="89D1FF"/>
    <a:srgbClr val="470DED"/>
    <a:srgbClr val="470BED"/>
    <a:srgbClr val="0070F2"/>
    <a:srgbClr val="FBC9FD"/>
    <a:srgbClr val="E9F8FF"/>
    <a:srgbClr val="89D2FF"/>
    <a:srgbClr val="2DDF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A65BFB8-A403-4DCE-90F2-6A4F1949688F}" v="1" vWet="3" dt="2023-10-13T12:41:10.226"/>
    <p1510:client id="{362BD5D3-5D8B-484A-B293-621301B9069E}" v="2" dt="2023-10-13T09:40:52.801"/>
    <p1510:client id="{7F1DDDAD-AEAB-2A46-9004-37BB9DCCE1FD}" v="4" dt="2023-10-13T10:44:54.526"/>
    <p1510:client id="{B7D00A41-2770-B345-8B54-AC11CDCDCA92}" v="583" dt="2023-10-13T13:30:06.513"/>
    <p1510:client id="{B9338C83-0E51-D98A-97CE-EC56A048BB8D}" v="56" dt="2023-10-12T13:30:15.745"/>
    <p1510:client id="{C5CD5094-73EC-41AD-8EB9-C71F202095A4}" v="5" dt="2023-10-13T12:41:14.626"/>
    <p1510:client id="{DC7F8ADE-04F7-4981-94C5-5C92EC164487}" v="2" dt="2023-10-12T14:17:30.533"/>
    <p1510:client id="{FC1B232D-D01E-994F-8645-4AD20BB59835}" v="202" dt="2023-10-13T10:56:15.99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9"/>
    <p:restoredTop sz="94694"/>
  </p:normalViewPr>
  <p:slideViewPr>
    <p:cSldViewPr snapToGrid="0">
      <p:cViewPr varScale="1">
        <p:scale>
          <a:sx n="117" d="100"/>
          <a:sy n="117" d="100"/>
        </p:scale>
        <p:origin x="304" y="16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notesMaster" Target="notesMasters/notesMaster1.xml"/><Relationship Id="rId32" Type="http://schemas.microsoft.com/office/2018/10/relationships/authors" Target="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viewProps" Target="viewProp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omments/modernComment_7FFFFF62_686A92B5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7020D2BC-05FF-A64A-B5BC-1479BAA341A4}" authorId="{BD8C956E-AE5E-6C94-4B7B-5003CA83C9CD}" created="2023-10-12T12:26:47.951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1751814837" sldId="2147483490"/>
      <ac:spMk id="9" creationId="{7DE94902-4438-6DC4-1F57-612E01BB091F}"/>
    </ac:deMkLst>
    <p188:txBody>
      <a:bodyPr/>
      <a:lstStyle/>
      <a:p>
        <a:r>
          <a:rPr lang="en-GB"/>
          <a:t>Add the clean core story and benefits here too</a:t>
        </a:r>
      </a:p>
    </p188:txBody>
  </p188:cm>
</p188:cmLst>
</file>

<file path=ppt/comments/modernComment_7FFFFF68_D9BEA395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F83988C1-89AE-AE4C-95C2-8C87ECE6F3CD}" authorId="{BD8C956E-AE5E-6C94-4B7B-5003CA83C9CD}" created="2023-10-13T09:40:52.753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3653149589" sldId="2147483496"/>
      <ac:spMk id="18" creationId="{695CAF31-3AA0-A70E-A07C-774997BD6652}"/>
    </ac:deMkLst>
    <p188:txBody>
      <a:bodyPr/>
      <a:lstStyle/>
      <a:p>
        <a:r>
          <a:rPr lang="en-GB"/>
          <a:t>SAP Build is the super-term, so it is not SAP Build or SAP Build Code, I suggest to evolve the slide</a:t>
        </a:r>
      </a:p>
    </p188:txBody>
  </p188:cm>
</p188:cmLst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Header Placeholder 5">
            <a:extLst>
              <a:ext uri="{FF2B5EF4-FFF2-40B4-BE49-F238E27FC236}">
                <a16:creationId xmlns:a16="http://schemas.microsoft.com/office/drawing/2014/main" id="{998DDFDC-1C44-4205-842A-F39297517D0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-11113"/>
            <a:ext cx="2971800" cy="45720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defTabSz="914367" eaLnBrk="1" fontAlgn="auto" hangingPunct="1">
              <a:spcBef>
                <a:spcPts val="0"/>
              </a:spcBef>
              <a:spcAft>
                <a:spcPts val="0"/>
              </a:spcAft>
              <a:defRPr sz="1200" dirty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F5A09F6-C33B-4CE0-B328-A5B796B8E25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defTabSz="914367" eaLnBrk="1" fontAlgn="auto" hangingPunct="1">
              <a:spcBef>
                <a:spcPts val="0"/>
              </a:spcBef>
              <a:spcAft>
                <a:spcPts val="0"/>
              </a:spcAft>
              <a:defRPr sz="1200" smtClean="0"/>
            </a:lvl1pPr>
          </a:lstStyle>
          <a:p>
            <a:pPr>
              <a:defRPr/>
            </a:pPr>
            <a:fld id="{076A9916-439C-4431-97F6-A300BC6386FA}" type="datetime8">
              <a:rPr lang="en-US"/>
              <a:pPr>
                <a:defRPr/>
              </a:pPr>
              <a:t>10/15/23 8:13 PM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24DAA27-F6AD-45DE-A73D-8D673EED05D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5794375" cy="331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marL="398463" algn="l" defTabSz="914099" fontAlgn="auto">
              <a:spcBef>
                <a:spcPts val="0"/>
              </a:spcBef>
              <a:spcAft>
                <a:spcPts val="0"/>
              </a:spcAft>
              <a:defRPr sz="4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defRPr>
            </a:lvl1pPr>
          </a:lstStyle>
          <a:p>
            <a:pPr>
              <a:defRPr/>
            </a:pPr>
            <a:r>
              <a:rPr lang="en-US"/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5BAF417-AD21-4405-8CA2-E9A8F5531D1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783263" y="8685213"/>
            <a:ext cx="107315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defTabSz="914367" eaLnBrk="1" fontAlgn="auto" hangingPunct="1">
              <a:spcBef>
                <a:spcPts val="0"/>
              </a:spcBef>
              <a:spcAft>
                <a:spcPts val="0"/>
              </a:spcAft>
              <a:defRPr sz="1200" smtClean="0"/>
            </a:lvl1pPr>
          </a:lstStyle>
          <a:p>
            <a:pPr>
              <a:defRPr/>
            </a:pPr>
            <a:fld id="{C116318A-FE1E-4A1B-8179-FF037B9BDA2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eader Placeholder 7">
            <a:extLst>
              <a:ext uri="{FF2B5EF4-FFF2-40B4-BE49-F238E27FC236}">
                <a16:creationId xmlns:a16="http://schemas.microsoft.com/office/drawing/2014/main" id="{57C62777-68FB-4438-8904-87A5A48FF7C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defTabSz="914367" eaLnBrk="1" fontAlgn="auto" hangingPunct="1">
              <a:spcBef>
                <a:spcPts val="0"/>
              </a:spcBef>
              <a:spcAft>
                <a:spcPts val="0"/>
              </a:spcAft>
              <a:defRPr sz="1200" dirty="0">
                <a:latin typeface="Segoe UI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Image Placeholder 8">
            <a:extLst>
              <a:ext uri="{FF2B5EF4-FFF2-40B4-BE49-F238E27FC236}">
                <a16:creationId xmlns:a16="http://schemas.microsoft.com/office/drawing/2014/main" id="{A356DF00-F788-45E7-A947-D52CE71E7B6A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CD13534-2915-41AA-8B19-225BC064778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6800"/>
            <a:ext cx="5921375" cy="3556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marL="571500" indent="0" algn="l" defTabSz="914099" fontAlgn="auto">
              <a:spcBef>
                <a:spcPts val="0"/>
              </a:spcBef>
              <a:spcAft>
                <a:spcPts val="0"/>
              </a:spcAft>
              <a:defRPr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defRPr>
            </a:lvl1pPr>
          </a:lstStyle>
          <a:p>
            <a:pPr>
              <a:defRPr/>
            </a:pPr>
            <a:r>
              <a:rPr lang="en-US"/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75654602-7C9C-4D30-A8B3-68B40AF6E4A4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defTabSz="914367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latin typeface="Segoe UI" pitchFamily="34" charset="0"/>
              </a:defRPr>
            </a:lvl1pPr>
          </a:lstStyle>
          <a:p>
            <a:pPr>
              <a:defRPr/>
            </a:pPr>
            <a:fld id="{93709C18-1759-4834-B9A7-2A4A4DEF8FEE}" type="datetime8">
              <a:rPr lang="en-US"/>
              <a:pPr>
                <a:defRPr/>
              </a:pPr>
              <a:t>10/15/23 8:13 PM</a:t>
            </a:fld>
            <a:endParaRPr lang="en-US"/>
          </a:p>
        </p:txBody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156DBA51-2F57-4F26-9863-D434DF41788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6FDC5FC0-860A-433A-B96C-C43F738B443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5908675" y="8685213"/>
            <a:ext cx="947738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defTabSz="914367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latin typeface="Segoe UI" pitchFamily="34" charset="0"/>
              </a:defRPr>
            </a:lvl1pPr>
          </a:lstStyle>
          <a:p>
            <a:pPr>
              <a:defRPr/>
            </a:pPr>
            <a:fld id="{7339760D-58A6-4F8B-9C20-3902ABE1EB3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/>
  <p:notesStyle>
    <a:lvl1pPr algn="l" defTabSz="912813" rtl="0" fontAlgn="base">
      <a:lnSpc>
        <a:spcPct val="90000"/>
      </a:lnSpc>
      <a:spcBef>
        <a:spcPct val="30000"/>
      </a:spcBef>
      <a:spcAft>
        <a:spcPts val="338"/>
      </a:spcAft>
      <a:defRPr sz="800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1pPr>
    <a:lvl2pPr marL="212725" indent="-104775" algn="l" defTabSz="912813" rtl="0" fontAlgn="base">
      <a:lnSpc>
        <a:spcPct val="90000"/>
      </a:lnSpc>
      <a:spcBef>
        <a:spcPct val="30000"/>
      </a:spcBef>
      <a:spcAft>
        <a:spcPts val="338"/>
      </a:spcAft>
      <a:buFont typeface="Arial" panose="020B0604020202020204" pitchFamily="34" charset="0"/>
      <a:buChar char="•"/>
      <a:defRPr sz="800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2pPr>
    <a:lvl3pPr marL="327025" indent="-114300" algn="l" defTabSz="912813" rtl="0" fontAlgn="base">
      <a:lnSpc>
        <a:spcPct val="90000"/>
      </a:lnSpc>
      <a:spcBef>
        <a:spcPct val="30000"/>
      </a:spcBef>
      <a:spcAft>
        <a:spcPts val="338"/>
      </a:spcAft>
      <a:buFont typeface="Arial" panose="020B0604020202020204" pitchFamily="34" charset="0"/>
      <a:buChar char="•"/>
      <a:defRPr sz="800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3pPr>
    <a:lvl4pPr marL="482600" indent="-146050" algn="l" defTabSz="912813" rtl="0" fontAlgn="base">
      <a:lnSpc>
        <a:spcPct val="90000"/>
      </a:lnSpc>
      <a:spcBef>
        <a:spcPct val="30000"/>
      </a:spcBef>
      <a:spcAft>
        <a:spcPts val="338"/>
      </a:spcAft>
      <a:buFont typeface="Arial" panose="020B0604020202020204" pitchFamily="34" charset="0"/>
      <a:buChar char="•"/>
      <a:defRPr sz="800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4pPr>
    <a:lvl5pPr marL="614363" indent="-114300" algn="l" defTabSz="912813" rtl="0" fontAlgn="base">
      <a:lnSpc>
        <a:spcPct val="90000"/>
      </a:lnSpc>
      <a:spcBef>
        <a:spcPct val="30000"/>
      </a:spcBef>
      <a:spcAft>
        <a:spcPts val="338"/>
      </a:spcAft>
      <a:buFont typeface="Arial" panose="020B0604020202020204" pitchFamily="34" charset="0"/>
      <a:buChar char="•"/>
      <a:defRPr sz="800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5pPr>
    <a:lvl6pPr marL="2285918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6pPr>
    <a:lvl7pPr marL="2743101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7pPr>
    <a:lvl8pPr marL="3200284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8pPr>
    <a:lvl9pPr marL="3657469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3" Type="http://schemas.openxmlformats.org/officeDocument/2006/relationships/hyperlink" Target="http://learning.sap.com/teched" TargetMode="External"/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3" Type="http://schemas.openxmlformats.org/officeDocument/2006/relationships/hyperlink" Target="http://learning.sap.com/teched" TargetMode="External"/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3" Type="http://schemas.openxmlformats.org/officeDocument/2006/relationships/hyperlink" Target="http://learning.sap.com/teched" TargetMode="External"/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r>
              <a:rPr lang="en-US" noProof="0"/>
              <a:t>SAP Business Technology Platform is a unified and open platform that combines several capabilities on one business-centric public cloud platform.</a:t>
            </a:r>
            <a:endParaRPr lang="en-US" b="1" u="sng" noProof="0"/>
          </a:p>
          <a:p>
            <a:endParaRPr lang="en-US" b="1" u="sng" noProof="0"/>
          </a:p>
          <a:p>
            <a:endParaRPr lang="en-US" b="1" u="sng" noProof="0"/>
          </a:p>
          <a:p>
            <a:r>
              <a:rPr lang="en-US" b="1" u="sng" noProof="0"/>
              <a:t>1) APP DEVELOPMENT</a:t>
            </a:r>
            <a:endParaRPr lang="en-US" b="1" u="sng" noProof="0">
              <a:cs typeface="Arial"/>
            </a:endParaRPr>
          </a:p>
          <a:p>
            <a:r>
              <a:rPr lang="en-US" sz="1400" kern="1200" noProof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ith most companies accelerating their digital transformations, the importance of application development to business performance has grown significantly.</a:t>
            </a:r>
            <a:r>
              <a:rPr lang="en-US" noProof="0"/>
              <a:t> </a:t>
            </a:r>
            <a:endParaRPr lang="en-US" noProof="0">
              <a:cs typeface="Arial"/>
            </a:endParaRPr>
          </a:p>
          <a:p>
            <a:r>
              <a:rPr lang="en-US" sz="1400" kern="1200" noProof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 recent </a:t>
            </a:r>
            <a:r>
              <a:rPr lang="en-US" sz="1400" kern="1200" noProof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ckinsey</a:t>
            </a:r>
            <a:r>
              <a:rPr lang="en-US" sz="1400" kern="1200" noProof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study of more than 400 companies has found a clear link between accelerating software innovation and company performance.</a:t>
            </a:r>
            <a:r>
              <a:rPr lang="en-US" noProof="0"/>
              <a:t> </a:t>
            </a:r>
            <a:endParaRPr lang="en-US" sz="1400" kern="1200" noProof="0">
              <a:solidFill>
                <a:schemeClr val="tx1"/>
              </a:solidFill>
              <a:effectLst/>
              <a:latin typeface="+mn-lt"/>
              <a:cs typeface="Arial"/>
            </a:endParaRPr>
          </a:p>
          <a:p>
            <a:r>
              <a:rPr lang="en-US" sz="1400" kern="1200" noProof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r example, companies that can innovate faster have 60% higher total shareholder returns and 20% higher operating margins. </a:t>
            </a:r>
            <a:endParaRPr lang="en-US" sz="1400" kern="1200" noProof="0">
              <a:solidFill>
                <a:schemeClr val="tx1"/>
              </a:solidFill>
              <a:effectLst/>
              <a:latin typeface="+mn-lt"/>
              <a:cs typeface="Arial"/>
            </a:endParaRPr>
          </a:p>
          <a:p>
            <a:r>
              <a:rPr lang="en-US" sz="1400" kern="1200" noProof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oday, companies must not only “master the nuances of their industry, they need to excel first and foremost at developing software.”</a:t>
            </a:r>
            <a:endParaRPr lang="en-US" sz="1400" kern="1200" noProof="0">
              <a:solidFill>
                <a:schemeClr val="tx1"/>
              </a:solidFill>
              <a:effectLst/>
              <a:latin typeface="+mn-lt"/>
              <a:cs typeface="Arial"/>
            </a:endParaRPr>
          </a:p>
          <a:p>
            <a:r>
              <a:rPr lang="en-US" sz="1400" kern="1200" noProof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Yet, many companies still struggle to keep up. </a:t>
            </a:r>
            <a:r>
              <a:rPr lang="en-US" sz="1400" b="1" kern="1200" noProof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an you innovate at the speed your business needs?</a:t>
            </a:r>
            <a:endParaRPr lang="en-US" sz="1400" kern="1200" noProof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b="1" noProof="0"/>
          </a:p>
          <a:p>
            <a:r>
              <a:rPr lang="en-US" noProof="0"/>
              <a:t>SAP provides a unified Low-Code/No-Code offering for professional and citizen developers to enable Low-Code Application Composition, Process Automation and Digital Experience to accelerate time to value. </a:t>
            </a:r>
            <a:endParaRPr lang="en-US" noProof="0">
              <a:cs typeface="Arial"/>
            </a:endParaRPr>
          </a:p>
          <a:p>
            <a:endParaRPr lang="en-US" noProof="0"/>
          </a:p>
          <a:p>
            <a:r>
              <a:rPr lang="en-US" noProof="0"/>
              <a:t>The Business Builder is key to enable business growth in a company. It is solving challenges quickly leveraging business expertise to reduce burden on IT and reduce cost. Whether it is a professional developer, citizen developer/</a:t>
            </a:r>
            <a:r>
              <a:rPr lang="en-US" noProof="0" err="1"/>
              <a:t>automator</a:t>
            </a:r>
            <a:r>
              <a:rPr lang="en-US" noProof="0"/>
              <a:t> or business user. With our LCNC offering, we enable everybody in a company with any development skills to become a champion of change.</a:t>
            </a:r>
            <a:endParaRPr lang="en-US" noProof="0">
              <a:cs typeface="Arial"/>
            </a:endParaRPr>
          </a:p>
          <a:p>
            <a:r>
              <a:rPr lang="en-US" noProof="0"/>
              <a:t>Therefore we comprise several capabilities like </a:t>
            </a:r>
            <a:r>
              <a:rPr lang="en-US" b="1" noProof="0"/>
              <a:t>Process Automation &amp; Workflow, Application Development  and Digital Experience </a:t>
            </a:r>
            <a:r>
              <a:rPr lang="en-US" b="0" i="0" noProof="0"/>
              <a:t>to support and enable the “Business Builder” to realize business outcomes.</a:t>
            </a:r>
            <a:endParaRPr lang="en-US" b="0" i="0" noProof="0"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="0" i="0" noProof="0">
              <a:solidFill>
                <a:srgbClr val="FFFFFF"/>
              </a:solidFill>
              <a:effectLst/>
              <a:latin typeface="Segoe UI" panose="020B0502040204020203" pitchFamily="34" charset="0"/>
            </a:endParaRPr>
          </a:p>
          <a:p>
            <a:r>
              <a:rPr lang="en-US" b="1" u="sng" noProof="0">
                <a:cs typeface="Arial"/>
              </a:rPr>
              <a:t>2) AUTOMATION</a:t>
            </a:r>
          </a:p>
          <a:p>
            <a:endParaRPr lang="en-US" b="1" u="sng" noProof="0">
              <a:cs typeface="Arial"/>
            </a:endParaRPr>
          </a:p>
          <a:p>
            <a:r>
              <a:rPr lang="en-US" noProof="0">
                <a:cs typeface="Arial"/>
              </a:rPr>
              <a:t>SAP powers many of our customer's most mission critical processes like quote to cash and hire to retire. Within these processes are many </a:t>
            </a:r>
            <a:r>
              <a:rPr lang="en-US" noProof="0" err="1">
                <a:cs typeface="Arial"/>
              </a:rPr>
              <a:t>predictiable</a:t>
            </a:r>
            <a:r>
              <a:rPr lang="en-US" noProof="0">
                <a:cs typeface="Arial"/>
              </a:rPr>
              <a:t>, rote tasks. By automating routine tasks organizations can execute faster, reduce errors, and free up people to work on more meaningful projects. </a:t>
            </a:r>
          </a:p>
          <a:p>
            <a:endParaRPr lang="en-US" noProof="0">
              <a:cs typeface="Arial"/>
            </a:endParaRPr>
          </a:p>
          <a:p>
            <a:r>
              <a:rPr lang="en-US" noProof="0">
                <a:cs typeface="Arial"/>
              </a:rPr>
              <a:t>Our SAP Build Process Automation solution combines workflow management </a:t>
            </a:r>
            <a:r>
              <a:rPr lang="en-US" noProof="0"/>
              <a:t>to help create forms, manage decision logic, and build, adapt, and organize process flows with simple drag-and-drop functionalities. And robotic process automation to automate human tasks. These can be attended or unattended so people can support the task or have it run hands-free. This is all possible with a no-code front end business users can use themselves, or with the support of IT. </a:t>
            </a:r>
            <a:endParaRPr lang="en-US" noProof="0">
              <a:cs typeface="Arial"/>
            </a:endParaRPr>
          </a:p>
          <a:p>
            <a:endParaRPr lang="en-US" noProof="0">
              <a:cs typeface="Arial"/>
            </a:endParaRPr>
          </a:p>
          <a:p>
            <a:r>
              <a:rPr lang="en-US" noProof="0">
                <a:cs typeface="Arial"/>
              </a:rPr>
              <a:t>Pre-built content and connectors for SAP and non-SAP solutions helps you get started quickly.</a:t>
            </a:r>
          </a:p>
          <a:p>
            <a:endParaRPr lang="en-US" b="1" noProof="0"/>
          </a:p>
          <a:p>
            <a:r>
              <a:rPr lang="en-US" b="1" u="sng" noProof="0"/>
              <a:t>3) INTEGRATION</a:t>
            </a:r>
            <a:endParaRPr lang="en-US" b="1" u="sng" noProof="0">
              <a:cs typeface="Arial"/>
            </a:endParaRPr>
          </a:p>
          <a:p>
            <a:r>
              <a:rPr lang="en-US" b="0" noProof="0"/>
              <a:t>Integrate applications on premise, in the cloud or in a hybrid model, while securely connecting applications, processes and people.</a:t>
            </a:r>
            <a:endParaRPr lang="en-US" b="0" noProof="0">
              <a:cs typeface="Arial"/>
            </a:endParaRPr>
          </a:p>
          <a:p>
            <a:pPr marL="285750" indent="-285750">
              <a:buFontTx/>
              <a:buChar char="-"/>
            </a:pPr>
            <a:r>
              <a:rPr lang="en-US" b="0" noProof="0"/>
              <a:t>Integration of SAP and beyond to include 3</a:t>
            </a:r>
            <a:r>
              <a:rPr lang="en-US" b="0" baseline="30000" noProof="0"/>
              <a:t>rd</a:t>
            </a:r>
            <a:r>
              <a:rPr lang="en-US" b="0" noProof="0"/>
              <a:t> parties, including API management, B2B/B2G support, data integration, event-based, IoT support and process integration</a:t>
            </a:r>
            <a:endParaRPr lang="en-US" b="0" noProof="0">
              <a:cs typeface="Arial"/>
            </a:endParaRPr>
          </a:p>
          <a:p>
            <a:pPr marL="285750" indent="-285750">
              <a:buFontTx/>
              <a:buChar char="-"/>
            </a:pPr>
            <a:r>
              <a:rPr lang="en-US" b="0" noProof="0"/>
              <a:t>Ready built content that includes integration packs, APIs, business events, and connectors</a:t>
            </a:r>
            <a:endParaRPr lang="en-US" b="0" noProof="0">
              <a:cs typeface="Arial"/>
            </a:endParaRPr>
          </a:p>
          <a:p>
            <a:pPr marL="285750" indent="-285750">
              <a:buFontTx/>
              <a:buChar char="-"/>
            </a:pPr>
            <a:r>
              <a:rPr lang="en-US" b="0" noProof="0"/>
              <a:t>Continuous access to best-practices via pre-packaged SAP business content</a:t>
            </a:r>
            <a:endParaRPr lang="en-US" b="0" noProof="0">
              <a:cs typeface="Arial"/>
            </a:endParaRPr>
          </a:p>
          <a:p>
            <a:pPr marL="285750" indent="-285750">
              <a:buFontTx/>
              <a:buChar char="-"/>
            </a:pPr>
            <a:r>
              <a:rPr lang="en-US" b="0" noProof="0"/>
              <a:t>AI-powered Content Advisor to speed integration development and lower on-going support costs</a:t>
            </a:r>
            <a:endParaRPr lang="en-US" b="0" noProof="0">
              <a:cs typeface="Arial"/>
            </a:endParaRPr>
          </a:p>
          <a:p>
            <a:pPr marL="285750" indent="-285750">
              <a:buFontTx/>
              <a:buChar char="-"/>
            </a:pPr>
            <a:endParaRPr lang="en-US" b="1" noProof="0"/>
          </a:p>
          <a:p>
            <a:endParaRPr lang="en-US" b="1" u="sng" noProof="0"/>
          </a:p>
          <a:p>
            <a:r>
              <a:rPr lang="en-US" b="1" u="sng" noProof="0"/>
              <a:t>4) DATA &amp; ANALYTICS</a:t>
            </a:r>
            <a:endParaRPr lang="en-US" b="1" u="sng" noProof="0">
              <a:cs typeface="Arial"/>
            </a:endParaRPr>
          </a:p>
          <a:p>
            <a:r>
              <a:rPr lang="en-US" noProof="0"/>
              <a:t>While 70 % of the transactions touch an SAP environment, SAP owns only 3% of the available data. The rest is sitting in disconnected systems or data lakes, where it is of low value for the customer as it is not contextualized.</a:t>
            </a:r>
            <a:endParaRPr lang="en-US" noProof="0">
              <a:cs typeface="Arial"/>
            </a:endParaRPr>
          </a:p>
          <a:p>
            <a:pPr defTabSz="914400">
              <a:defRPr/>
            </a:pPr>
            <a:r>
              <a:rPr lang="en-US" sz="1400" b="1" noProof="0"/>
              <a:t>Coming from a siloed data landscape SAP</a:t>
            </a:r>
            <a:r>
              <a:rPr lang="en-US" sz="1400" noProof="0"/>
              <a:t> decided to act and worked on the integration of the Intelligent Suite components on the BTP platform. Driven by process integration the result is a first version of an aligned data model across the suite components, that allows the execution of end-to-end business processes.</a:t>
            </a:r>
            <a:r>
              <a:rPr lang="en-US" noProof="0"/>
              <a:t> </a:t>
            </a:r>
            <a:endParaRPr lang="en-US" sz="1400" noProof="0">
              <a:cs typeface="Arial"/>
            </a:endParaRPr>
          </a:p>
          <a:p>
            <a:pPr defTabSz="914400">
              <a:defRPr/>
            </a:pPr>
            <a:r>
              <a:rPr lang="en-US" sz="1400" noProof="0"/>
              <a:t>This aligned data model acts like a fertilizer for the gras. Highly valuable data that is connected to each other – everybody is eager for.</a:t>
            </a:r>
            <a:r>
              <a:rPr lang="en-US" noProof="0"/>
              <a:t> </a:t>
            </a:r>
            <a:endParaRPr lang="en-US" sz="1400" noProof="0"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noProof="0"/>
              <a:t>Besides this it provides SAP the basis to harness the value of the individual datasets as they are connected to each other.</a:t>
            </a:r>
            <a:endParaRPr lang="en-US" sz="1400" noProof="0"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noProof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noProof="0"/>
              <a:t>For this SAP BTP provides a broad range of capabilities in </a:t>
            </a:r>
            <a:r>
              <a:rPr lang="en-US" sz="1400" b="1" noProof="0"/>
              <a:t>DATA &amp; ANALYTICS</a:t>
            </a:r>
            <a:r>
              <a:rPr lang="en-US" sz="1400" noProof="0"/>
              <a:t> for</a:t>
            </a:r>
            <a:endParaRPr lang="en-US" sz="1400" noProof="0">
              <a:cs typeface="Arial"/>
            </a:endParaRPr>
          </a:p>
          <a:p>
            <a:pPr marL="342900" lvl="0" indent="-342900">
              <a:buFont typeface="Symbol" panose="05050102010706020507" pitchFamily="18" charset="2"/>
              <a:buChar char=""/>
            </a:pPr>
            <a:r>
              <a:rPr lang="en-US" sz="1400" b="1" noProof="0">
                <a:effectLst/>
                <a:latin typeface="Calibri"/>
                <a:ea typeface="Times New Roman" panose="02020603050405020304" pitchFamily="18" charset="0"/>
                <a:cs typeface="Calibri"/>
              </a:rPr>
              <a:t>DATABASE (as a Service)</a:t>
            </a:r>
            <a:r>
              <a:rPr lang="en-US" sz="1400" noProof="0">
                <a:effectLst/>
                <a:latin typeface="Calibri"/>
                <a:ea typeface="Times New Roman" panose="02020603050405020304" pitchFamily="18" charset="0"/>
                <a:cs typeface="Calibri"/>
              </a:rPr>
              <a:t> (storage (in-memory, disc, object store – basically the data pyramid), multi-model engines, embedded ML (APL, PAL) &amp; federation capabilities (SDA), developer tooling to build powerful applications)</a:t>
            </a:r>
            <a:endParaRPr lang="en-US" sz="1400" noProof="0">
              <a:effectLst/>
              <a:latin typeface="Times New Roman"/>
              <a:ea typeface="Calibri" panose="020F0502020204030204" pitchFamily="34" charset="0"/>
              <a:cs typeface="Calibri"/>
            </a:endParaRPr>
          </a:p>
          <a:p>
            <a:pPr marL="342900" indent="-342900">
              <a:buFont typeface="Symbol" panose="05050102010706020507" pitchFamily="18" charset="2"/>
              <a:buChar char=""/>
            </a:pPr>
            <a:r>
              <a:rPr lang="en-US" sz="1400" b="1" noProof="0">
                <a:effectLst/>
                <a:latin typeface="Calibri"/>
                <a:ea typeface="Times New Roman" panose="02020603050405020304" pitchFamily="18" charset="0"/>
                <a:cs typeface="Calibri"/>
              </a:rPr>
              <a:t>DATA MANAGEMENT </a:t>
            </a:r>
            <a:r>
              <a:rPr lang="en-US" sz="1400" noProof="0">
                <a:effectLst/>
                <a:latin typeface="Calibri"/>
                <a:ea typeface="Times New Roman" panose="02020603050405020304" pitchFamily="18" charset="0"/>
                <a:cs typeface="Calibri"/>
              </a:rPr>
              <a:t>(pipelining, real-time transformations (view building), self-service data preparation, self-service modeling (analytical &amp; relational)</a:t>
            </a:r>
            <a:r>
              <a:rPr lang="en-US" noProof="0">
                <a:latin typeface="Calibri"/>
                <a:ea typeface="Times New Roman" panose="02020603050405020304" pitchFamily="18" charset="0"/>
                <a:cs typeface="Calibri"/>
              </a:rPr>
              <a:t> </a:t>
            </a:r>
            <a:endParaRPr lang="en-US" sz="1400" noProof="0">
              <a:effectLst/>
              <a:latin typeface="Calibri" panose="020F0502020204030204" pitchFamily="34" charset="0"/>
              <a:ea typeface="Times New Roman" panose="02020603050405020304" pitchFamily="18" charset="0"/>
              <a:cs typeface="Calibri"/>
            </a:endParaRPr>
          </a:p>
          <a:p>
            <a:pPr marL="342900" indent="-342900">
              <a:buFont typeface="Symbol" panose="05050102010706020507" pitchFamily="18" charset="2"/>
              <a:buChar char=""/>
              <a:defRPr/>
            </a:pPr>
            <a:r>
              <a:rPr lang="en-US" sz="1400" b="1" noProof="0">
                <a:effectLst/>
                <a:latin typeface="Calibri"/>
                <a:ea typeface="Times New Roman" panose="02020603050405020304" pitchFamily="18" charset="0"/>
                <a:cs typeface="Calibri"/>
              </a:rPr>
              <a:t>DATA Warehouse</a:t>
            </a:r>
            <a:r>
              <a:rPr lang="en-US" sz="1400" noProof="0">
                <a:effectLst/>
                <a:latin typeface="Calibri"/>
                <a:ea typeface="Times New Roman" panose="02020603050405020304" pitchFamily="18" charset="0"/>
                <a:cs typeface="Calibri"/>
              </a:rPr>
              <a:t> rich set of connectivity for data integration incl real-time (RTR), data quality, metadata management, master data management (here I would stray conservative), data governance &amp; cataloging, data access management)</a:t>
            </a:r>
            <a:r>
              <a:rPr lang="en-US" noProof="0">
                <a:latin typeface="Calibri"/>
                <a:ea typeface="Times New Roman" panose="02020603050405020304" pitchFamily="18" charset="0"/>
                <a:cs typeface="Calibri"/>
              </a:rPr>
              <a:t> </a:t>
            </a:r>
            <a:endParaRPr lang="en-US" sz="1400" noProof="0">
              <a:effectLst/>
              <a:latin typeface="Times New Roman"/>
              <a:ea typeface="Calibri" panose="020F0502020204030204" pitchFamily="34" charset="0"/>
            </a:endParaRPr>
          </a:p>
          <a:p>
            <a:pPr marL="342900" lvl="0" indent="-342900">
              <a:buFont typeface="Symbol" panose="05050102010706020507" pitchFamily="18" charset="2"/>
              <a:buChar char=""/>
            </a:pPr>
            <a:endParaRPr lang="en-US" sz="1400" noProof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lvl="0" indent="-342900">
              <a:buFont typeface="Symbol" panose="05050102010706020507" pitchFamily="18" charset="2"/>
              <a:buChar char=""/>
            </a:pPr>
            <a:r>
              <a:rPr lang="en-US" sz="1400" b="1" noProof="0">
                <a:effectLst/>
                <a:latin typeface="Calibri"/>
                <a:ea typeface="Times New Roman" panose="02020603050405020304" pitchFamily="18" charset="0"/>
                <a:cs typeface="Calibri"/>
              </a:rPr>
              <a:t>ANALYTICS &amp; PLANNING </a:t>
            </a:r>
            <a:r>
              <a:rPr lang="en-US" sz="1400" noProof="0">
                <a:effectLst/>
                <a:latin typeface="Calibri"/>
                <a:ea typeface="Times New Roman" panose="02020603050405020304" pitchFamily="18" charset="0"/>
                <a:cs typeface="Calibri"/>
              </a:rPr>
              <a:t>(BI, planning, predictive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b="1" noProof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noProof="0"/>
              <a:t>This capabilities gives you the possibility to Integrate, Store, Catalog, Prepare, Model and Share your data, in- and outside of your company.</a:t>
            </a:r>
            <a:endParaRPr lang="en-US" noProof="0">
              <a:cs typeface="Arial"/>
            </a:endParaRPr>
          </a:p>
          <a:p>
            <a:endParaRPr lang="en-US" b="1" noProof="0"/>
          </a:p>
          <a:p>
            <a:endParaRPr lang="en-US" b="1" noProof="0"/>
          </a:p>
          <a:p>
            <a:r>
              <a:rPr lang="en-US" b="1" noProof="0"/>
              <a:t>5) AI</a:t>
            </a:r>
            <a:endParaRPr lang="en-US" b="1" noProof="0">
              <a:cs typeface="Arial"/>
            </a:endParaRPr>
          </a:p>
          <a:p>
            <a:pPr marL="0" marR="0" lvl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noProof="0">
                <a:solidFill>
                  <a:schemeClr val="accent1"/>
                </a:solidFill>
              </a:rPr>
              <a:t>Intelligent technology solutions </a:t>
            </a:r>
            <a:r>
              <a:rPr lang="en-US" sz="1400" noProof="0"/>
              <a:t>change the way we live and work by optimizing processes, maximizing resources, and igniting innovation with the right combination of intelligent technologies, services, and industry expertise.</a:t>
            </a:r>
            <a:br>
              <a:rPr lang="en-US" sz="1400" noProof="0">
                <a:cs typeface="+mn-lt"/>
              </a:rPr>
            </a:br>
            <a:r>
              <a:rPr lang="en-US" sz="1400" noProof="0"/>
              <a:t>With the help of Pre-Built AI Models you can realize Self-Learning Programs and Intelligent Business Processes in order to realize your Intelligent Sustainable Enterprise.</a:t>
            </a:r>
            <a:endParaRPr lang="en-US" b="1" noProof="0"/>
          </a:p>
          <a:p>
            <a:pPr marL="0" indent="0">
              <a:buFontTx/>
              <a:buNone/>
            </a:pPr>
            <a:endParaRPr lang="en-US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341E47-63DE-4F56-8D6B-C161E757AA2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4675203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de-DE" smtClean="0"/>
              <a:pPr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0300856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400">
                <a:effectLst/>
                <a:latin typeface="Calibri"/>
                <a:ea typeface="Calibri" panose="020F0502020204030204" pitchFamily="34" charset="0"/>
                <a:cs typeface="Calibri"/>
              </a:rPr>
              <a:t>Here are some great learning offerings to compliment your conference.</a:t>
            </a:r>
          </a:p>
          <a:p>
            <a:r>
              <a:rPr lang="en-US" sz="1400">
                <a:effectLst/>
                <a:latin typeface="Calibri"/>
                <a:ea typeface="Calibri" panose="020F0502020204030204" pitchFamily="34" charset="0"/>
                <a:cs typeface="Calibri"/>
              </a:rPr>
              <a:t> </a:t>
            </a:r>
          </a:p>
          <a:p>
            <a:r>
              <a:rPr lang="en-US" sz="1400">
                <a:effectLst/>
                <a:latin typeface="Calibri"/>
                <a:ea typeface="Calibri" panose="020F0502020204030204" pitchFamily="34" charset="0"/>
                <a:cs typeface="Calibri"/>
              </a:rPr>
              <a:t>You can prepare for a certification with free SAP Learning Journeys.</a:t>
            </a:r>
          </a:p>
          <a:p>
            <a:r>
              <a:rPr lang="en-US" sz="1400">
                <a:effectLst/>
                <a:latin typeface="Calibri"/>
                <a:ea typeface="Calibri" panose="020F0502020204030204" pitchFamily="34" charset="0"/>
                <a:cs typeface="Calibri"/>
              </a:rPr>
              <a:t>Save with an exclusive SAP TechEd certification offer that came in your</a:t>
            </a:r>
            <a:r>
              <a:rPr lang="en-US" sz="1400">
                <a:latin typeface="Calibri"/>
                <a:ea typeface="Calibri" panose="020F0502020204030204" pitchFamily="34" charset="0"/>
                <a:cs typeface="Calibri"/>
              </a:rPr>
              <a:t> SAP</a:t>
            </a:r>
            <a:r>
              <a:rPr lang="en-US" sz="1400">
                <a:effectLst/>
                <a:latin typeface="Calibri"/>
                <a:ea typeface="Calibri" panose="020F0502020204030204" pitchFamily="34" charset="0"/>
                <a:cs typeface="Calibri"/>
              </a:rPr>
              <a:t> TechEd registration email</a:t>
            </a:r>
          </a:p>
          <a:p>
            <a:r>
              <a:rPr lang="en-US" sz="1400">
                <a:latin typeface="Calibri"/>
                <a:ea typeface="Calibri" panose="020F0502020204030204" pitchFamily="34" charset="0"/>
                <a:cs typeface="Calibri"/>
              </a:rPr>
              <a:t>Connect with the experts, expand your network, and share your knowledge and experiences with others in the SAP Community</a:t>
            </a:r>
          </a:p>
          <a:p>
            <a:r>
              <a:rPr lang="en-US" sz="1400">
                <a:effectLst/>
                <a:latin typeface="Calibri"/>
                <a:ea typeface="Calibri" panose="020F0502020204030204" pitchFamily="34" charset="0"/>
                <a:cs typeface="Calibri"/>
              </a:rPr>
              <a:t>And network in a moderated SAP Learning Group to get your learning questions answered</a:t>
            </a:r>
            <a:r>
              <a:rPr lang="en-US" sz="1400">
                <a:latin typeface="Calibri"/>
                <a:ea typeface="Calibri" panose="020F0502020204030204" pitchFamily="34" charset="0"/>
                <a:cs typeface="Calibri"/>
              </a:rPr>
              <a:t> </a:t>
            </a:r>
            <a:endParaRPr lang="en-US" sz="1400">
              <a:effectLst/>
              <a:latin typeface="Calibri" panose="020F0502020204030204" pitchFamily="34" charset="0"/>
              <a:ea typeface="Calibri" panose="020F0502020204030204" pitchFamily="34" charset="0"/>
              <a:cs typeface="Calibri"/>
            </a:endParaRPr>
          </a:p>
          <a:p>
            <a:r>
              <a:rPr lang="en-US" sz="1400">
                <a:effectLst/>
                <a:latin typeface="Calibri"/>
                <a:ea typeface="Calibri" panose="020F0502020204030204" pitchFamily="34" charset="0"/>
                <a:cs typeface="Calibri"/>
              </a:rPr>
              <a:t> </a:t>
            </a:r>
          </a:p>
          <a:p>
            <a:r>
              <a:rPr lang="en-US" sz="1400">
                <a:effectLst/>
                <a:latin typeface="Calibri"/>
                <a:ea typeface="Calibri" panose="020F0502020204030204" pitchFamily="34" charset="0"/>
                <a:cs typeface="Calibri"/>
              </a:rPr>
              <a:t>Find all the great content at </a:t>
            </a:r>
            <a:r>
              <a:rPr lang="en-US" sz="1400" u="sng">
                <a:solidFill>
                  <a:srgbClr val="0563C1"/>
                </a:solidFill>
                <a:effectLst/>
                <a:latin typeface="Calibri"/>
                <a:ea typeface="Calibri" panose="020F0502020204030204" pitchFamily="34" charset="0"/>
                <a:cs typeface="Calibri"/>
                <a:hlinkClick r:id="rId3"/>
              </a:rPr>
              <a:t>learning.sap.com/teched</a:t>
            </a:r>
            <a:r>
              <a:rPr lang="en-US" sz="1400">
                <a:effectLst/>
                <a:latin typeface="Calibri"/>
                <a:ea typeface="Calibri" panose="020F0502020204030204" pitchFamily="34" charset="0"/>
                <a:cs typeface="Calibri"/>
              </a:rPr>
              <a:t>.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de-DE" smtClean="0"/>
              <a:pPr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067047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EAB884-581B-4822-BDC5-F26D3BDA2CA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338978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EAB884-581B-4822-BDC5-F26D3BDA2CA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278584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6570853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926963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Slide Image Placeholder 1">
            <a:extLst>
              <a:ext uri="{FF2B5EF4-FFF2-40B4-BE49-F238E27FC236}">
                <a16:creationId xmlns:a16="http://schemas.microsoft.com/office/drawing/2014/main" id="{5A73D411-4957-48AF-A830-310C465C5F6C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45DA5E6-4D6C-4227-92CA-49DAE5A444C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4367" fontAlgn="auto">
              <a:spcBef>
                <a:spcPts val="0"/>
              </a:spcBef>
              <a:spcAft>
                <a:spcPts val="333"/>
              </a:spcAft>
              <a:defRPr/>
            </a:pPr>
            <a:endParaRPr lang="en-US" sz="882"/>
          </a:p>
        </p:txBody>
      </p:sp>
      <p:sp>
        <p:nvSpPr>
          <p:cNvPr id="23556" name="Header Placeholder 3">
            <a:extLst>
              <a:ext uri="{FF2B5EF4-FFF2-40B4-BE49-F238E27FC236}">
                <a16:creationId xmlns:a16="http://schemas.microsoft.com/office/drawing/2014/main" id="{EE339108-E50F-468B-9037-98A8CDC0CD2D}"/>
              </a:ext>
            </a:extLst>
          </p:cNvPr>
          <p:cNvSpPr>
            <a:spLocks noGrp="1" noChangeArrowheads="1"/>
          </p:cNvSpPr>
          <p:nvPr>
            <p:ph type="hdr" sz="quarter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>
            <a:lvl1pPr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742950" indent="-28575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1430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6002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20574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 defTabSz="912813" fontAlgn="base">
              <a:spcBef>
                <a:spcPct val="0"/>
              </a:spcBef>
              <a:spcAft>
                <a:spcPct val="0"/>
              </a:spcAft>
            </a:pPr>
            <a:endParaRPr lang="en-US" altLang="en-US" sz="12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4006C76-AB13-4AEA-8A90-E8B400D8533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6800"/>
            <a:ext cx="5920740" cy="355964"/>
          </a:xfrm>
        </p:spPr>
        <p:txBody>
          <a:bodyPr/>
          <a:lstStyle/>
          <a:p>
            <a:pPr>
              <a:defRPr/>
            </a:pPr>
            <a:r>
              <a:rPr lang="en-US"/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23558" name="Date Placeholder 5">
            <a:extLst>
              <a:ext uri="{FF2B5EF4-FFF2-40B4-BE49-F238E27FC236}">
                <a16:creationId xmlns:a16="http://schemas.microsoft.com/office/drawing/2014/main" id="{F3BE364F-E709-4B93-B054-BEC3E629745A}"/>
              </a:ext>
            </a:extLst>
          </p:cNvPr>
          <p:cNvSpPr>
            <a:spLocks noGrp="1" noChangeArrowheads="1"/>
          </p:cNvSpPr>
          <p:nvPr>
            <p:ph type="dt" sz="quarter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>
            <a:lvl1pPr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742950" indent="-28575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1430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6002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20574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 defTabSz="912813" fontAlgn="base">
              <a:spcBef>
                <a:spcPct val="0"/>
              </a:spcBef>
              <a:spcAft>
                <a:spcPct val="0"/>
              </a:spcAft>
            </a:pPr>
            <a:fld id="{DB9DE862-59C4-4122-B1F1-72009F08B250}" type="datetime8">
              <a:rPr lang="en-US" altLang="en-US" sz="1200"/>
              <a:pPr defTabSz="912813" fontAlgn="base">
                <a:spcBef>
                  <a:spcPct val="0"/>
                </a:spcBef>
                <a:spcAft>
                  <a:spcPct val="0"/>
                </a:spcAft>
              </a:pPr>
              <a:t>10/15/23 8:14 PM</a:t>
            </a:fld>
            <a:endParaRPr lang="en-US" altLang="en-US" sz="1200"/>
          </a:p>
        </p:txBody>
      </p:sp>
      <p:sp>
        <p:nvSpPr>
          <p:cNvPr id="23559" name="Slide Number Placeholder 6">
            <a:extLst>
              <a:ext uri="{FF2B5EF4-FFF2-40B4-BE49-F238E27FC236}">
                <a16:creationId xmlns:a16="http://schemas.microsoft.com/office/drawing/2014/main" id="{C220A6B6-375B-4F60-83FA-FB399B057DB2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742950" indent="-28575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1430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6002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20574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 defTabSz="912813" fontAlgn="base">
              <a:spcBef>
                <a:spcPct val="0"/>
              </a:spcBef>
              <a:spcAft>
                <a:spcPct val="0"/>
              </a:spcAft>
            </a:pPr>
            <a:fld id="{37A2D86B-C17E-44C4-84EA-9B8AEA77B793}" type="slidenum">
              <a:rPr lang="en-US" altLang="en-US" sz="1200"/>
              <a:pPr defTabSz="912813" fontAlgn="base"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lang="en-US" altLang="en-US" sz="120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400">
                <a:effectLst/>
                <a:latin typeface="Calibri"/>
                <a:ea typeface="Calibri" panose="020F0502020204030204" pitchFamily="34" charset="0"/>
                <a:cs typeface="Calibri"/>
              </a:rPr>
              <a:t>Here are some great learning offerings to compliment your conference.</a:t>
            </a:r>
          </a:p>
          <a:p>
            <a:r>
              <a:rPr lang="en-US" sz="1400">
                <a:effectLst/>
                <a:latin typeface="Calibri"/>
                <a:ea typeface="Calibri" panose="020F0502020204030204" pitchFamily="34" charset="0"/>
                <a:cs typeface="Calibri"/>
              </a:rPr>
              <a:t> </a:t>
            </a:r>
          </a:p>
          <a:p>
            <a:r>
              <a:rPr lang="en-US" sz="1400">
                <a:effectLst/>
                <a:latin typeface="Calibri"/>
                <a:ea typeface="Calibri" panose="020F0502020204030204" pitchFamily="34" charset="0"/>
                <a:cs typeface="Calibri"/>
              </a:rPr>
              <a:t>You can prepare for a certification with free SAP Learning Journeys.</a:t>
            </a:r>
          </a:p>
          <a:p>
            <a:r>
              <a:rPr lang="en-US" sz="1400">
                <a:effectLst/>
                <a:latin typeface="Calibri"/>
                <a:ea typeface="Calibri" panose="020F0502020204030204" pitchFamily="34" charset="0"/>
                <a:cs typeface="Calibri"/>
              </a:rPr>
              <a:t>Save with an exclusive SAP TechEd certification offer that came in your</a:t>
            </a:r>
            <a:r>
              <a:rPr lang="en-US" sz="1400">
                <a:latin typeface="Calibri"/>
                <a:ea typeface="Calibri" panose="020F0502020204030204" pitchFamily="34" charset="0"/>
                <a:cs typeface="Calibri"/>
              </a:rPr>
              <a:t> SAP</a:t>
            </a:r>
            <a:r>
              <a:rPr lang="en-US" sz="1400">
                <a:effectLst/>
                <a:latin typeface="Calibri"/>
                <a:ea typeface="Calibri" panose="020F0502020204030204" pitchFamily="34" charset="0"/>
                <a:cs typeface="Calibri"/>
              </a:rPr>
              <a:t> TechEd registration email</a:t>
            </a:r>
          </a:p>
          <a:p>
            <a:r>
              <a:rPr lang="en-US" sz="1400">
                <a:latin typeface="Calibri"/>
                <a:ea typeface="Calibri" panose="020F0502020204030204" pitchFamily="34" charset="0"/>
                <a:cs typeface="Calibri"/>
              </a:rPr>
              <a:t>Connect with the experts, expand your network, and share your knowledge and experiences with others in the SAP Community</a:t>
            </a:r>
          </a:p>
          <a:p>
            <a:r>
              <a:rPr lang="en-US" sz="1400">
                <a:effectLst/>
                <a:latin typeface="Calibri"/>
                <a:ea typeface="Calibri" panose="020F0502020204030204" pitchFamily="34" charset="0"/>
                <a:cs typeface="Calibri"/>
              </a:rPr>
              <a:t>And network in a moderated SAP Learning Group to get your learning questions answered</a:t>
            </a:r>
            <a:r>
              <a:rPr lang="en-US" sz="1400">
                <a:latin typeface="Calibri"/>
                <a:ea typeface="Calibri" panose="020F0502020204030204" pitchFamily="34" charset="0"/>
                <a:cs typeface="Calibri"/>
              </a:rPr>
              <a:t> </a:t>
            </a:r>
            <a:endParaRPr lang="en-US" sz="1400">
              <a:effectLst/>
              <a:latin typeface="Calibri" panose="020F0502020204030204" pitchFamily="34" charset="0"/>
              <a:ea typeface="Calibri" panose="020F0502020204030204" pitchFamily="34" charset="0"/>
              <a:cs typeface="Calibri"/>
            </a:endParaRPr>
          </a:p>
          <a:p>
            <a:r>
              <a:rPr lang="en-US" sz="1400">
                <a:effectLst/>
                <a:latin typeface="Calibri"/>
                <a:ea typeface="Calibri" panose="020F0502020204030204" pitchFamily="34" charset="0"/>
                <a:cs typeface="Calibri"/>
              </a:rPr>
              <a:t> </a:t>
            </a:r>
          </a:p>
          <a:p>
            <a:r>
              <a:rPr lang="en-US" sz="1400">
                <a:effectLst/>
                <a:latin typeface="Calibri"/>
                <a:ea typeface="Calibri" panose="020F0502020204030204" pitchFamily="34" charset="0"/>
                <a:cs typeface="Calibri"/>
              </a:rPr>
              <a:t>Find all the great content at </a:t>
            </a:r>
            <a:r>
              <a:rPr lang="en-US" sz="1400" u="sng">
                <a:solidFill>
                  <a:srgbClr val="0563C1"/>
                </a:solidFill>
                <a:effectLst/>
                <a:latin typeface="Calibri"/>
                <a:ea typeface="Calibri" panose="020F0502020204030204" pitchFamily="34" charset="0"/>
                <a:cs typeface="Calibri"/>
                <a:hlinkClick r:id="rId3"/>
              </a:rPr>
              <a:t>learning.sap.com/teched</a:t>
            </a:r>
            <a:r>
              <a:rPr lang="en-US" sz="1400">
                <a:effectLst/>
                <a:latin typeface="Calibri"/>
                <a:ea typeface="Calibri" panose="020F0502020204030204" pitchFamily="34" charset="0"/>
                <a:cs typeface="Calibri"/>
              </a:rPr>
              <a:t>.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de-DE" smtClean="0"/>
              <a:pPr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1021465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400">
                <a:effectLst/>
                <a:latin typeface="Calibri"/>
                <a:ea typeface="Calibri" panose="020F0502020204030204" pitchFamily="34" charset="0"/>
                <a:cs typeface="Calibri"/>
              </a:rPr>
              <a:t>Here are some great learning offerings to compliment your conference.</a:t>
            </a:r>
          </a:p>
          <a:p>
            <a:r>
              <a:rPr lang="en-US" sz="1400">
                <a:effectLst/>
                <a:latin typeface="Calibri"/>
                <a:ea typeface="Calibri" panose="020F0502020204030204" pitchFamily="34" charset="0"/>
                <a:cs typeface="Calibri"/>
              </a:rPr>
              <a:t> </a:t>
            </a:r>
          </a:p>
          <a:p>
            <a:r>
              <a:rPr lang="en-US" sz="1400">
                <a:effectLst/>
                <a:latin typeface="Calibri"/>
                <a:ea typeface="Calibri" panose="020F0502020204030204" pitchFamily="34" charset="0"/>
                <a:cs typeface="Calibri"/>
              </a:rPr>
              <a:t>You can prepare for a certification with free SAP Learning Journeys.</a:t>
            </a:r>
          </a:p>
          <a:p>
            <a:r>
              <a:rPr lang="en-US" sz="1400">
                <a:effectLst/>
                <a:latin typeface="Calibri"/>
                <a:ea typeface="Calibri" panose="020F0502020204030204" pitchFamily="34" charset="0"/>
                <a:cs typeface="Calibri"/>
              </a:rPr>
              <a:t>Save with an exclusive SAP TechEd certification offer that came in your</a:t>
            </a:r>
            <a:r>
              <a:rPr lang="en-US" sz="1400">
                <a:latin typeface="Calibri"/>
                <a:ea typeface="Calibri" panose="020F0502020204030204" pitchFamily="34" charset="0"/>
                <a:cs typeface="Calibri"/>
              </a:rPr>
              <a:t> SAP</a:t>
            </a:r>
            <a:r>
              <a:rPr lang="en-US" sz="1400">
                <a:effectLst/>
                <a:latin typeface="Calibri"/>
                <a:ea typeface="Calibri" panose="020F0502020204030204" pitchFamily="34" charset="0"/>
                <a:cs typeface="Calibri"/>
              </a:rPr>
              <a:t> TechEd registration email</a:t>
            </a:r>
          </a:p>
          <a:p>
            <a:r>
              <a:rPr lang="en-US" sz="1400">
                <a:latin typeface="Calibri"/>
                <a:ea typeface="Calibri" panose="020F0502020204030204" pitchFamily="34" charset="0"/>
                <a:cs typeface="Calibri"/>
              </a:rPr>
              <a:t>Connect with the experts, expand your network, and share your knowledge and experiences with others in the SAP Community</a:t>
            </a:r>
          </a:p>
          <a:p>
            <a:r>
              <a:rPr lang="en-US" sz="1400">
                <a:effectLst/>
                <a:latin typeface="Calibri"/>
                <a:ea typeface="Calibri" panose="020F0502020204030204" pitchFamily="34" charset="0"/>
                <a:cs typeface="Calibri"/>
              </a:rPr>
              <a:t>And network in a moderated SAP Learning Group to get your learning questions answered</a:t>
            </a:r>
            <a:r>
              <a:rPr lang="en-US" sz="1400">
                <a:latin typeface="Calibri"/>
                <a:ea typeface="Calibri" panose="020F0502020204030204" pitchFamily="34" charset="0"/>
                <a:cs typeface="Calibri"/>
              </a:rPr>
              <a:t> </a:t>
            </a:r>
            <a:endParaRPr lang="en-US" sz="1400">
              <a:effectLst/>
              <a:latin typeface="Calibri" panose="020F0502020204030204" pitchFamily="34" charset="0"/>
              <a:ea typeface="Calibri" panose="020F0502020204030204" pitchFamily="34" charset="0"/>
              <a:cs typeface="Calibri"/>
            </a:endParaRPr>
          </a:p>
          <a:p>
            <a:r>
              <a:rPr lang="en-US" sz="1400">
                <a:effectLst/>
                <a:latin typeface="Calibri"/>
                <a:ea typeface="Calibri" panose="020F0502020204030204" pitchFamily="34" charset="0"/>
                <a:cs typeface="Calibri"/>
              </a:rPr>
              <a:t> </a:t>
            </a:r>
          </a:p>
          <a:p>
            <a:r>
              <a:rPr lang="en-US" sz="1400">
                <a:effectLst/>
                <a:latin typeface="Calibri"/>
                <a:ea typeface="Calibri" panose="020F0502020204030204" pitchFamily="34" charset="0"/>
                <a:cs typeface="Calibri"/>
              </a:rPr>
              <a:t>Find all the great content at </a:t>
            </a:r>
            <a:r>
              <a:rPr lang="en-US" sz="1400" u="sng">
                <a:solidFill>
                  <a:srgbClr val="0563C1"/>
                </a:solidFill>
                <a:effectLst/>
                <a:latin typeface="Calibri"/>
                <a:ea typeface="Calibri" panose="020F0502020204030204" pitchFamily="34" charset="0"/>
                <a:cs typeface="Calibri"/>
                <a:hlinkClick r:id="rId3"/>
              </a:rPr>
              <a:t>learning.sap.com/teched</a:t>
            </a:r>
            <a:r>
              <a:rPr lang="en-US" sz="1400">
                <a:effectLst/>
                <a:latin typeface="Calibri"/>
                <a:ea typeface="Calibri" panose="020F0502020204030204" pitchFamily="34" charset="0"/>
                <a:cs typeface="Calibri"/>
              </a:rPr>
              <a:t>.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de-DE" smtClean="0"/>
              <a:pPr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9931269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de-DE" smtClean="0"/>
              <a:pPr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852712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emf"/><Relationship Id="rId5" Type="http://schemas.openxmlformats.org/officeDocument/2006/relationships/image" Target="../media/image4.png"/><Relationship Id="rId4" Type="http://schemas.openxmlformats.org/officeDocument/2006/relationships/image" Target="../media/image6.jpe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emf"/><Relationship Id="rId5" Type="http://schemas.openxmlformats.org/officeDocument/2006/relationships/image" Target="../media/image11.jpeg"/><Relationship Id="rId4" Type="http://schemas.openxmlformats.org/officeDocument/2006/relationships/image" Target="../media/image5.sv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emf"/><Relationship Id="rId5" Type="http://schemas.openxmlformats.org/officeDocument/2006/relationships/image" Target="../media/image11.jpeg"/><Relationship Id="rId4" Type="http://schemas.openxmlformats.org/officeDocument/2006/relationships/image" Target="../media/image5.sv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emf"/><Relationship Id="rId5" Type="http://schemas.openxmlformats.org/officeDocument/2006/relationships/image" Target="../media/image4.png"/><Relationship Id="rId4" Type="http://schemas.openxmlformats.org/officeDocument/2006/relationships/image" Target="../media/image6.jpe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svg"/><Relationship Id="rId4" Type="http://schemas.openxmlformats.org/officeDocument/2006/relationships/image" Target="../media/image1.png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nt Walk 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582F9519-A9EF-44F1-C540-B2A57347FF2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79280" y="5925113"/>
            <a:ext cx="718164" cy="343470"/>
          </a:xfrm>
          <a:prstGeom prst="rect">
            <a:avLst/>
          </a:prstGeom>
          <a:effectLst>
            <a:outerShdw blurRad="457200" dir="1587510" sx="57000" sy="57000" algn="tl" rotWithShape="0">
              <a:prstClr val="black">
                <a:alpha val="51204"/>
              </a:prstClr>
            </a:outerShdw>
          </a:effec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B728DB0B-E02D-894D-B06D-A0E45C70D4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4FCC000-2D3C-A480-77F8-8F4B5589CFC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085" y="87054"/>
            <a:ext cx="5225143" cy="16048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8415000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/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b="1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  <a:cs typeface="72" panose="020B0503030000000003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2188032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8263" y="2016203"/>
            <a:ext cx="4158362" cy="1107996"/>
          </a:xfrm>
        </p:spPr>
        <p:txBody>
          <a:bodyPr anchor="b"/>
          <a:lstStyle>
            <a:lvl1pPr>
              <a:defRPr b="1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3535540"/>
            <a:ext cx="4162425" cy="338554"/>
          </a:xfrm>
        </p:spPr>
        <p:txBody>
          <a:bodyPr/>
          <a:lstStyle>
            <a:lvl1pPr marL="0" indent="0">
              <a:buNone/>
              <a:defRPr sz="2200"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  <a:cs typeface="72" panose="020B0503030000000003" pitchFamily="34" charset="0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63D4830-906E-4A43-9D2A-52DD3EC5546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5334000" y="0"/>
            <a:ext cx="6858000" cy="6858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39"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64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GB" noProof="0"/>
              <a:t>Click icon to add picture</a:t>
            </a:r>
            <a:endParaRPr lang="en-US" noProof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FAD7FA30-0519-4AAE-B091-0E3F15AE3998}"/>
              </a:ext>
            </a:extLst>
          </p:cNvPr>
          <p:cNvSpPr txBox="1"/>
          <p:nvPr userDrawn="1"/>
        </p:nvSpPr>
        <p:spPr bwMode="black">
          <a:xfrm>
            <a:off x="11481455" y="6549107"/>
            <a:ext cx="141064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lvl="0" indent="0" algn="r">
              <a:buNone/>
            </a:pPr>
            <a:fld id="{0BDC132A-5C91-4078-9777-31DA19A62E0A}" type="slidenum">
              <a:rPr lang="en-US" sz="900" noProof="0" smtClean="0"/>
              <a:pPr marL="0" lvl="0" indent="0" algn="r">
                <a:buNone/>
              </a:pPr>
              <a:t>‹#›</a:t>
            </a:fld>
            <a:endParaRPr lang="en-US" sz="900" noProof="0"/>
          </a:p>
        </p:txBody>
      </p:sp>
    </p:spTree>
    <p:extLst>
      <p:ext uri="{BB962C8B-B14F-4D97-AF65-F5344CB8AC3E}">
        <p14:creationId xmlns:p14="http://schemas.microsoft.com/office/powerpoint/2010/main" val="2268629092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8263" y="2873414"/>
            <a:ext cx="4159950" cy="1107996"/>
          </a:xfrm>
        </p:spPr>
        <p:txBody>
          <a:bodyPr anchor="ctr"/>
          <a:lstStyle>
            <a:lvl1pPr>
              <a:defRPr b="1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6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B0212E1-7C82-4FC0-B5BE-AE8FFF174FE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5334000" y="0"/>
            <a:ext cx="6858000" cy="6858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39"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64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GB" noProof="0"/>
              <a:t>Click icon to add picture</a:t>
            </a:r>
            <a:endParaRPr lang="en-US" noProof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F894A1B2-C9F3-419A-BFFA-1C2873A500FB}"/>
              </a:ext>
            </a:extLst>
          </p:cNvPr>
          <p:cNvSpPr txBox="1"/>
          <p:nvPr userDrawn="1"/>
        </p:nvSpPr>
        <p:spPr bwMode="black">
          <a:xfrm>
            <a:off x="11481455" y="6549107"/>
            <a:ext cx="141064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lvl="0" indent="0" algn="r">
              <a:buNone/>
            </a:pPr>
            <a:fld id="{0BDC132A-5C91-4078-9777-31DA19A62E0A}" type="slidenum">
              <a:rPr lang="en-US" sz="900" noProof="0" smtClean="0"/>
              <a:pPr marL="0" lvl="0" indent="0" algn="r">
                <a:buNone/>
              </a:pPr>
              <a:t>‹#›</a:t>
            </a:fld>
            <a:endParaRPr lang="en-US" sz="900" noProof="0"/>
          </a:p>
        </p:txBody>
      </p:sp>
    </p:spTree>
    <p:extLst>
      <p:ext uri="{BB962C8B-B14F-4D97-AF65-F5344CB8AC3E}">
        <p14:creationId xmlns:p14="http://schemas.microsoft.com/office/powerpoint/2010/main" val="2655990296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and Tex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216" y="3033223"/>
            <a:ext cx="9144000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i="0" kern="1200" cap="none" spc="0" baseline="0" dirty="0">
                <a:ln w="3175">
                  <a:noFill/>
                </a:ln>
                <a:solidFill>
                  <a:schemeClr val="accent2"/>
                </a:solidFill>
                <a:effectLst/>
                <a:latin typeface="72" panose="020B0503030000000003" pitchFamily="34" charset="0"/>
                <a:ea typeface="+mn-ea"/>
                <a:cs typeface="72" panose="020B0503030000000003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5216" y="3977319"/>
            <a:ext cx="9144000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i="0" spc="0" baseline="0">
                <a:solidFill>
                  <a:schemeClr val="accent2"/>
                </a:solidFill>
                <a:latin typeface="72" panose="020B0503030000000003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963051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mo slide and Tex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216" y="3033223"/>
            <a:ext cx="9144000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i="0" kern="1200" cap="none" spc="0" baseline="0" dirty="0">
                <a:ln w="3175">
                  <a:noFill/>
                </a:ln>
                <a:solidFill>
                  <a:schemeClr val="accent1"/>
                </a:solidFill>
                <a:effectLst/>
                <a:latin typeface="72" panose="020B0503030000000003" pitchFamily="34" charset="0"/>
                <a:ea typeface="+mn-ea"/>
                <a:cs typeface="72" panose="020B0503030000000003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5216" y="3977319"/>
            <a:ext cx="9144000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i="0" spc="0" baseline="0">
                <a:solidFill>
                  <a:schemeClr val="accent1"/>
                </a:solidFill>
                <a:latin typeface="72" panose="020B0503030000000003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269681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and Text - N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216" y="3033223"/>
            <a:ext cx="9144000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i="0" kern="1200" cap="none" spc="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effectLst/>
                <a:latin typeface="72" panose="020B0503030000000003" pitchFamily="34" charset="0"/>
                <a:ea typeface="+mn-ea"/>
                <a:cs typeface="72" panose="020B0503030000000003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5216" y="3977319"/>
            <a:ext cx="9144000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i="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845209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216" y="3035808"/>
            <a:ext cx="9144000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i="0" kern="1200" cap="none" spc="0" baseline="0" dirty="0">
                <a:ln w="3175">
                  <a:noFill/>
                </a:ln>
                <a:solidFill>
                  <a:schemeClr val="accent2"/>
                </a:solidFill>
                <a:effectLst/>
                <a:latin typeface="72" panose="020B0503030000000003" pitchFamily="34" charset="0"/>
                <a:ea typeface="+mn-ea"/>
                <a:cs typeface="72" panose="020B0503030000000003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95443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Title 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216" y="3035808"/>
            <a:ext cx="9144000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i="0" kern="1200" cap="none" spc="0" baseline="0" dirty="0">
                <a:ln w="3175">
                  <a:noFill/>
                </a:ln>
                <a:solidFill>
                  <a:schemeClr val="accent1"/>
                </a:solidFill>
                <a:effectLst/>
                <a:latin typeface="72" panose="020B0503030000000003" pitchFamily="34" charset="0"/>
                <a:ea typeface="+mn-ea"/>
                <a:cs typeface="72" panose="020B0503030000000003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92524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N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216" y="3035808"/>
            <a:ext cx="9144000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i="0" kern="1200" cap="none" spc="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effectLst/>
                <a:latin typeface="72" panose="020B0503030000000003" pitchFamily="34" charset="0"/>
                <a:ea typeface="+mn-ea"/>
                <a:cs typeface="72" panose="020B0503030000000003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63808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00356415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in Title Slide with Info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4200" y="3801126"/>
            <a:ext cx="9144000" cy="553998"/>
          </a:xfrm>
          <a:noFill/>
        </p:spPr>
        <p:txBody>
          <a:bodyPr anchor="t" anchorCtr="0">
            <a:noAutofit/>
          </a:bodyPr>
          <a:lstStyle>
            <a:lvl1pPr>
              <a:defRPr sz="3600" b="1" i="0" spc="0" baseline="0">
                <a:solidFill>
                  <a:schemeClr val="accent1"/>
                </a:solidFill>
                <a:latin typeface="72" panose="020B0503030000000003" pitchFamily="34" charset="0"/>
                <a:cs typeface="72" panose="020B0503030000000003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71500" y="5168487"/>
            <a:ext cx="9144000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buNone/>
              <a:defRPr sz="2200" b="0" i="0" spc="0" baseline="0">
                <a:solidFill>
                  <a:schemeClr val="accent1"/>
                </a:solidFill>
                <a:latin typeface="72" panose="020B0503030000000003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1D7C6100-A398-4EE7-94CC-C67D14D1DF6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71500" y="6219255"/>
            <a:ext cx="718164" cy="34347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7F7BB544-9571-D6B6-39F1-CC6672445F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340722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7A07829-C2FA-6E43-FC8B-872BEC624B2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085" y="87054"/>
            <a:ext cx="5225143" cy="1604891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367E1998-9FE3-8C79-CEBF-C7D34A0D1DD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153671" y="4490720"/>
            <a:ext cx="2746230" cy="2072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57078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143934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5" name="Text Placeholder 4" descr="This layout should only be used for developer code. The font used is a monospace font which is ideal for showing code."/>
          <p:cNvSpPr>
            <a:spLocks noGrp="1"/>
          </p:cNvSpPr>
          <p:nvPr>
            <p:ph type="body" sz="quarter" idx="10"/>
          </p:nvPr>
        </p:nvSpPr>
        <p:spPr>
          <a:xfrm>
            <a:off x="588263" y="1436688"/>
            <a:ext cx="11018520" cy="1908215"/>
          </a:xfrm>
        </p:spPr>
        <p:txBody>
          <a:bodyPr/>
          <a:lstStyle>
            <a:lvl1pPr marL="0" indent="0">
              <a:buNone/>
              <a:defRPr sz="28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8417124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1296D6D0-D551-2481-7AF8-08B57E2BC45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EE2961C0-6C18-F4B2-C7DA-722509919663}"/>
              </a:ext>
            </a:extLst>
          </p:cNvPr>
          <p:cNvSpPr/>
          <p:nvPr userDrawn="1"/>
        </p:nvSpPr>
        <p:spPr bwMode="auto">
          <a:xfrm>
            <a:off x="237506" y="6175169"/>
            <a:ext cx="11697195" cy="682831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CA" sz="2000" err="1">
              <a:gradFill>
                <a:gsLst>
                  <a:gs pos="0">
                    <a:schemeClr val="bg1"/>
                  </a:gs>
                  <a:gs pos="100000">
                    <a:schemeClr val="bg1"/>
                  </a:gs>
                </a:gsLst>
                <a:lin ang="5400000" scaled="1"/>
              </a:gradFill>
              <a:latin typeface="72" panose="020B0503030000000003" pitchFamily="34" charset="0"/>
              <a:ea typeface="Segoe UI" pitchFamily="34" charset="0"/>
              <a:cs typeface="72" panose="020B05030300000000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03467902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, Contact and Copyrigh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07726516" name="Acquired Company Logo Placeholder" descr="{&quot;templafy&quot;:{&quot;id&quot;:&quot;9a6a16cc-93ce-40af-b205-2222431a4776&quot;}}" hidden="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3869" y="522453"/>
            <a:ext cx="4124850" cy="266010"/>
          </a:xfrm>
          <a:prstGeom prst="rect">
            <a:avLst/>
          </a:prstGeom>
        </p:spPr>
      </p:pic>
      <p:sp>
        <p:nvSpPr>
          <p:cNvPr id="9" name="Copyright Placeholder" descr="{&quot;templafy&quot;:{&quot;id&quot;:&quot;ba9fff8e-a26f-4604-9418-39eec7243848&quot;}}">
            <a:extLst>
              <a:ext uri="{FF2B5EF4-FFF2-40B4-BE49-F238E27FC236}">
                <a16:creationId xmlns:a16="http://schemas.microsoft.com/office/drawing/2014/main" id="{EDAF1AF5-D568-20CC-6052-F655D86F5486}"/>
              </a:ext>
            </a:extLst>
          </p:cNvPr>
          <p:cNvSpPr txBox="1">
            <a:spLocks/>
          </p:cNvSpPr>
          <p:nvPr userDrawn="1"/>
        </p:nvSpPr>
        <p:spPr>
          <a:xfrm>
            <a:off x="571500" y="6424227"/>
            <a:ext cx="10152956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/>
              <a:t>© 2023 SAP SE or an SAP affiliate company. All rights reserved. See Legal Notice on www.sap.com/legal-notice for use terms, disclaimers, disclosures, or restrictions related to SAP Materials for general audiences.</a:t>
            </a:r>
          </a:p>
        </p:txBody>
      </p:sp>
      <p:sp>
        <p:nvSpPr>
          <p:cNvPr id="3" name="Contact information">
            <a:extLst>
              <a:ext uri="{FF2B5EF4-FFF2-40B4-BE49-F238E27FC236}">
                <a16:creationId xmlns:a16="http://schemas.microsoft.com/office/drawing/2014/main" id="{238BEA1F-EFCB-7173-7D8E-CDD6564B5D3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4200" y="3958390"/>
            <a:ext cx="5513388" cy="1448108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1200"/>
              </a:spcAft>
              <a:buNone/>
              <a:defRPr sz="1600" b="1" i="0" spc="0">
                <a:solidFill>
                  <a:schemeClr val="accent1"/>
                </a:solidFill>
                <a:latin typeface="72" panose="020B0503030000000003" pitchFamily="34" charset="0"/>
                <a:cs typeface="72" panose="020B0503030000000003" pitchFamily="34" charset="0"/>
              </a:defRPr>
            </a:lvl1pPr>
            <a:lvl2pPr marL="0" indent="0">
              <a:spcBef>
                <a:spcPts val="0"/>
              </a:spcBef>
              <a:buNone/>
              <a:defRPr sz="1600" b="0" i="0" spc="0">
                <a:solidFill>
                  <a:schemeClr val="accent1"/>
                </a:solidFill>
                <a:latin typeface="72" panose="020B0503030000000003" pitchFamily="34" charset="0"/>
              </a:defRPr>
            </a:lvl2pPr>
          </a:lstStyle>
          <a:p>
            <a:r>
              <a:rPr lang="en-US"/>
              <a:t>Contact information:</a:t>
            </a:r>
          </a:p>
          <a:p>
            <a:pPr lvl="1"/>
            <a:r>
              <a:rPr lang="en-US"/>
              <a:t>First name Last name</a:t>
            </a:r>
          </a:p>
          <a:p>
            <a:pPr lvl="1"/>
            <a:r>
              <a:rPr lang="en-US"/>
              <a:t>Title</a:t>
            </a:r>
          </a:p>
          <a:p>
            <a:pPr lvl="1"/>
            <a:r>
              <a:rPr lang="en-US"/>
              <a:t>LinkedIn name</a:t>
            </a:r>
          </a:p>
          <a:p>
            <a:pPr lvl="1"/>
            <a:r>
              <a:rPr lang="en-US"/>
              <a:t>Twitter handle</a:t>
            </a:r>
          </a:p>
        </p:txBody>
      </p:sp>
      <p:sp>
        <p:nvSpPr>
          <p:cNvPr id="4" name="Thank you">
            <a:extLst>
              <a:ext uri="{FF2B5EF4-FFF2-40B4-BE49-F238E27FC236}">
                <a16:creationId xmlns:a16="http://schemas.microsoft.com/office/drawing/2014/main" id="{6C01E8A1-7CD3-CB25-5779-45D70F0D029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84200" y="2727827"/>
            <a:ext cx="5513388" cy="631660"/>
          </a:xfrm>
        </p:spPr>
        <p:txBody>
          <a:bodyPr anchor="t" anchorCtr="0">
            <a:noAutofit/>
          </a:bodyPr>
          <a:lstStyle>
            <a:lvl1pPr>
              <a:defRPr sz="3600" b="1" i="0" spc="0">
                <a:solidFill>
                  <a:schemeClr val="accent1"/>
                </a:solidFill>
                <a:latin typeface="72" panose="020B0503030000000003" pitchFamily="34" charset="0"/>
                <a:cs typeface="72" panose="020B0503030000000003" pitchFamily="34" charset="0"/>
              </a:defRPr>
            </a:lvl1pPr>
          </a:lstStyle>
          <a:p>
            <a:r>
              <a:rPr lang="en-US"/>
              <a:t>Thank you.</a:t>
            </a:r>
            <a:endParaRPr lang="de-DE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63A8DC4-7791-4BEB-DD77-55FDAAA9B78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71500" y="5931334"/>
            <a:ext cx="718164" cy="34347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B84FF0DC-6725-DA46-84D1-EC2967C19BA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1951463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498594E-F6D2-18A8-5189-7C478C7AB2C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153671" y="4490720"/>
            <a:ext cx="2746230" cy="2072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29395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hf sldNum="0" hdr="0" ftr="0" dt="0"/>
  <p:extLst>
    <p:ext uri="{DCECCB84-F9BA-43D5-87BE-67443E8EF086}">
      <p15:sldGuideLst xmlns:p15="http://schemas.microsoft.com/office/powerpoint/2012/main">
        <p15:guide id="1" pos="7364">
          <p15:clr>
            <a:srgbClr val="FBAE40"/>
          </p15:clr>
        </p15:guide>
        <p15:guide id="2" orient="horz" pos="924">
          <p15:clr>
            <a:srgbClr val="FBAE40"/>
          </p15:clr>
        </p15:guide>
        <p15:guide id="4" orient="horz" pos="1830">
          <p15:clr>
            <a:srgbClr val="FBAE40"/>
          </p15:clr>
        </p15:guide>
        <p15:guide id="5" orient="horz" pos="4000">
          <p15:clr>
            <a:srgbClr val="FBAE40"/>
          </p15:clr>
        </p15:guide>
        <p15:guide id="6" pos="317">
          <p15:clr>
            <a:srgbClr val="FBAE40"/>
          </p15:clr>
        </p15:guide>
        <p15:guide id="8" pos="3841">
          <p15:clr>
            <a:srgbClr val="FBAE40"/>
          </p15:clr>
        </p15:guide>
        <p15:guide id="9" orient="horz" pos="318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, Contact and Copyrigh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07726516" name="Acquired Company Logo Placeholder" descr="{&quot;templafy&quot;:{&quot;id&quot;:&quot;9a6a16cc-93ce-40af-b205-2222431a4776&quot;}}" hidden="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3869" y="522453"/>
            <a:ext cx="4124850" cy="266010"/>
          </a:xfrm>
          <a:prstGeom prst="rect">
            <a:avLst/>
          </a:prstGeom>
        </p:spPr>
      </p:pic>
      <p:sp>
        <p:nvSpPr>
          <p:cNvPr id="9" name="Copyright Placeholder" descr="{&quot;templafy&quot;:{&quot;id&quot;:&quot;ba9fff8e-a26f-4604-9418-39eec7243848&quot;}}">
            <a:extLst>
              <a:ext uri="{FF2B5EF4-FFF2-40B4-BE49-F238E27FC236}">
                <a16:creationId xmlns:a16="http://schemas.microsoft.com/office/drawing/2014/main" id="{EDAF1AF5-D568-20CC-6052-F655D86F5486}"/>
              </a:ext>
            </a:extLst>
          </p:cNvPr>
          <p:cNvSpPr txBox="1">
            <a:spLocks/>
          </p:cNvSpPr>
          <p:nvPr userDrawn="1"/>
        </p:nvSpPr>
        <p:spPr>
          <a:xfrm>
            <a:off x="571500" y="6424227"/>
            <a:ext cx="10152956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/>
              <a:t>© 2023 SAP SE or an SAP affiliate company. All rights reserved. See Legal Notice on www.sap.com/legal-notice for use terms, disclaimers, disclosures, or restrictions related to SAP Materials for general audiences.</a:t>
            </a:r>
          </a:p>
        </p:txBody>
      </p:sp>
      <p:sp>
        <p:nvSpPr>
          <p:cNvPr id="3" name="Contact information">
            <a:extLst>
              <a:ext uri="{FF2B5EF4-FFF2-40B4-BE49-F238E27FC236}">
                <a16:creationId xmlns:a16="http://schemas.microsoft.com/office/drawing/2014/main" id="{238BEA1F-EFCB-7173-7D8E-CDD6564B5D3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4200" y="3958390"/>
            <a:ext cx="5513388" cy="1448108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1200"/>
              </a:spcAft>
              <a:buNone/>
              <a:defRPr sz="1600" b="1" i="0" spc="0">
                <a:solidFill>
                  <a:schemeClr val="accent1"/>
                </a:solidFill>
                <a:latin typeface="72" panose="020B0503030000000003" pitchFamily="34" charset="0"/>
                <a:cs typeface="72" panose="020B0503030000000003" pitchFamily="34" charset="0"/>
              </a:defRPr>
            </a:lvl1pPr>
            <a:lvl2pPr marL="0" indent="0">
              <a:spcBef>
                <a:spcPts val="0"/>
              </a:spcBef>
              <a:buNone/>
              <a:defRPr sz="1600" b="0" i="0" spc="0">
                <a:solidFill>
                  <a:schemeClr val="accent1"/>
                </a:solidFill>
                <a:latin typeface="72" panose="020B0503030000000003" pitchFamily="34" charset="0"/>
              </a:defRPr>
            </a:lvl2pPr>
          </a:lstStyle>
          <a:p>
            <a:r>
              <a:rPr lang="en-US"/>
              <a:t>Contact information:</a:t>
            </a:r>
          </a:p>
          <a:p>
            <a:pPr lvl="1"/>
            <a:r>
              <a:rPr lang="en-US"/>
              <a:t>First name Last name</a:t>
            </a:r>
          </a:p>
          <a:p>
            <a:pPr lvl="1"/>
            <a:r>
              <a:rPr lang="en-US"/>
              <a:t>Title</a:t>
            </a:r>
          </a:p>
          <a:p>
            <a:pPr lvl="1"/>
            <a:r>
              <a:rPr lang="en-US"/>
              <a:t>LinkedIn name</a:t>
            </a:r>
          </a:p>
          <a:p>
            <a:pPr lvl="1"/>
            <a:r>
              <a:rPr lang="en-US"/>
              <a:t>Twitter handle</a:t>
            </a:r>
          </a:p>
        </p:txBody>
      </p:sp>
      <p:sp>
        <p:nvSpPr>
          <p:cNvPr id="4" name="Thank you">
            <a:extLst>
              <a:ext uri="{FF2B5EF4-FFF2-40B4-BE49-F238E27FC236}">
                <a16:creationId xmlns:a16="http://schemas.microsoft.com/office/drawing/2014/main" id="{6C01E8A1-7CD3-CB25-5779-45D70F0D029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84200" y="2727827"/>
            <a:ext cx="5513388" cy="631660"/>
          </a:xfrm>
        </p:spPr>
        <p:txBody>
          <a:bodyPr anchor="t" anchorCtr="0">
            <a:noAutofit/>
          </a:bodyPr>
          <a:lstStyle>
            <a:lvl1pPr>
              <a:defRPr sz="3600" b="1" i="0" spc="0">
                <a:solidFill>
                  <a:schemeClr val="accent1"/>
                </a:solidFill>
                <a:latin typeface="72" panose="020B0503030000000003" pitchFamily="34" charset="0"/>
                <a:cs typeface="72" panose="020B0503030000000003" pitchFamily="34" charset="0"/>
              </a:defRPr>
            </a:lvl1pPr>
          </a:lstStyle>
          <a:p>
            <a:r>
              <a:rPr lang="en-US"/>
              <a:t>Thank you.</a:t>
            </a:r>
            <a:endParaRPr lang="de-DE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63A8DC4-7791-4BEB-DD77-55FDAAA9B78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71500" y="5931334"/>
            <a:ext cx="718164" cy="34347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B84FF0DC-6725-DA46-84D1-EC2967C19BA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1951463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498594E-F6D2-18A8-5189-7C478C7AB2C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153671" y="4490720"/>
            <a:ext cx="2746230" cy="2072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29395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hf sldNum="0" hdr="0" ftr="0" dt="0"/>
  <p:extLst>
    <p:ext uri="{DCECCB84-F9BA-43D5-87BE-67443E8EF086}">
      <p15:sldGuideLst xmlns:p15="http://schemas.microsoft.com/office/powerpoint/2012/main">
        <p15:guide id="1" pos="7364">
          <p15:clr>
            <a:srgbClr val="FBAE40"/>
          </p15:clr>
        </p15:guide>
        <p15:guide id="2" orient="horz" pos="924">
          <p15:clr>
            <a:srgbClr val="FBAE40"/>
          </p15:clr>
        </p15:guide>
        <p15:guide id="4" orient="horz" pos="1830">
          <p15:clr>
            <a:srgbClr val="FBAE40"/>
          </p15:clr>
        </p15:guide>
        <p15:guide id="5" orient="horz" pos="4000">
          <p15:clr>
            <a:srgbClr val="FBAE40"/>
          </p15:clr>
        </p15:guide>
        <p15:guide id="6" pos="317">
          <p15:clr>
            <a:srgbClr val="FBAE40"/>
          </p15:clr>
        </p15:guide>
        <p15:guide id="8" pos="3841">
          <p15:clr>
            <a:srgbClr val="FBAE40"/>
          </p15:clr>
        </p15:guide>
        <p15:guide id="9" orient="horz" pos="318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solidFill>
                  <a:schemeClr val="tx1"/>
                </a:solidFill>
                <a:latin typeface="72" panose="020B0503030000000003" pitchFamily="34" charset="0"/>
                <a:ea typeface="72" panose="020B0503030000000003" pitchFamily="34" charset="0"/>
                <a:cs typeface="72" panose="020B0503030000000003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/>
          <a:lstStyle>
            <a:lvl1pPr>
              <a:defRPr sz="3600">
                <a:latin typeface="72" panose="020B0503030000000003" pitchFamily="34" charset="0"/>
                <a:cs typeface="72" panose="020B0503030000000003" pitchFamily="34" charset="0"/>
              </a:defRPr>
            </a:lvl1pPr>
            <a:lvl2pPr>
              <a:defRPr sz="2800">
                <a:latin typeface="72" panose="020B0503030000000003" pitchFamily="34" charset="0"/>
                <a:cs typeface="72" panose="020B0503030000000003" pitchFamily="34" charset="0"/>
              </a:defRPr>
            </a:lvl2pPr>
            <a:lvl3pPr>
              <a:defRPr sz="2400">
                <a:latin typeface="72" panose="020B0503030000000003" pitchFamily="34" charset="0"/>
                <a:cs typeface="72" panose="020B0503030000000003" pitchFamily="34" charset="0"/>
              </a:defRPr>
            </a:lvl3pPr>
            <a:lvl4pPr>
              <a:defRPr sz="2000">
                <a:latin typeface="72" panose="020B0503030000000003" pitchFamily="34" charset="0"/>
                <a:cs typeface="72" panose="020B0503030000000003" pitchFamily="34" charset="0"/>
              </a:defRPr>
            </a:lvl4pPr>
            <a:lvl5pPr>
              <a:defRPr sz="1800">
                <a:latin typeface="72" panose="020B0503030000000003" pitchFamily="34" charset="0"/>
                <a:cs typeface="72" panose="020B05030300000000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/>
          </p:nvPr>
        </p:nvSpPr>
        <p:spPr>
          <a:xfrm>
            <a:off x="1" y="6269038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lIns="155457" tIns="77729" rIns="155457" bIns="45720" anchor="b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solidFill>
                  <a:srgbClr val="000000"/>
                </a:solidFill>
                <a:effectLst/>
                <a:latin typeface="72" panose="020B0503030000000003" pitchFamily="34" charset="0"/>
                <a:ea typeface="72" panose="020B0503030000000003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208039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3467" y="61198"/>
            <a:ext cx="9649884" cy="923052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0167" y="1341120"/>
            <a:ext cx="10617200" cy="4830764"/>
          </a:xfrm>
        </p:spPr>
        <p:txBody>
          <a:bodyPr/>
          <a:lstStyle>
            <a:lvl4pPr marL="514350" indent="-171450">
              <a:buFont typeface="Arial" pitchFamily="34" charset="0"/>
              <a:buChar char="−"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>
                <a:solidFill>
                  <a:srgbClr val="6D6E71"/>
                </a:solidFill>
              </a:defRPr>
            </a:lvl1pPr>
          </a:lstStyle>
          <a:p>
            <a:fld id="{2D58FDE4-EAD0-5E47-901F-86A26E2BD65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030349"/>
      </p:ext>
    </p:extLst>
  </p:cSld>
  <p:clrMapOvr>
    <a:masterClrMapping/>
  </p:clrMapOvr>
  <p:transition spd="slow"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nt Walk 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2074C703-27D0-1470-AD5F-94E66603EC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3" name="Graphic 11">
            <a:extLst>
              <a:ext uri="{FF2B5EF4-FFF2-40B4-BE49-F238E27FC236}">
                <a16:creationId xmlns:a16="http://schemas.microsoft.com/office/drawing/2014/main" id="{AD693C3B-9C68-F846-3422-2CA3F72C86BB}"/>
              </a:ext>
            </a:extLst>
          </p:cNvPr>
          <p:cNvGrpSpPr/>
          <p:nvPr/>
        </p:nvGrpSpPr>
        <p:grpSpPr>
          <a:xfrm>
            <a:off x="550211" y="2983316"/>
            <a:ext cx="6102813" cy="891368"/>
            <a:chOff x="2755048" y="2941022"/>
            <a:chExt cx="6682134" cy="975983"/>
          </a:xfrm>
          <a:solidFill>
            <a:schemeClr val="bg1"/>
          </a:solidFill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B9F88D1D-1E6D-E1FC-6DE3-660AC52ADFA3}"/>
                </a:ext>
              </a:extLst>
            </p:cNvPr>
            <p:cNvSpPr/>
            <p:nvPr/>
          </p:nvSpPr>
          <p:spPr>
            <a:xfrm>
              <a:off x="2755048" y="2941564"/>
              <a:ext cx="624818" cy="785172"/>
            </a:xfrm>
            <a:custGeom>
              <a:avLst/>
              <a:gdLst>
                <a:gd name="connsiteX0" fmla="*/ 322882 w 624818"/>
                <a:gd name="connsiteY0" fmla="*/ 785150 h 785172"/>
                <a:gd name="connsiteX1" fmla="*/ 211163 w 624818"/>
                <a:gd name="connsiteY1" fmla="*/ 771237 h 785172"/>
                <a:gd name="connsiteX2" fmla="*/ 120723 w 624818"/>
                <a:gd name="connsiteY2" fmla="*/ 732974 h 785172"/>
                <a:gd name="connsiteX3" fmla="*/ 51154 w 624818"/>
                <a:gd name="connsiteY3" fmla="*/ 674249 h 785172"/>
                <a:gd name="connsiteX4" fmla="*/ 0 w 624818"/>
                <a:gd name="connsiteY4" fmla="*/ 598951 h 785172"/>
                <a:gd name="connsiteX5" fmla="*/ 125838 w 624818"/>
                <a:gd name="connsiteY5" fmla="*/ 524062 h 785172"/>
                <a:gd name="connsiteX6" fmla="*/ 211162 w 624818"/>
                <a:gd name="connsiteY6" fmla="*/ 619822 h 785172"/>
                <a:gd name="connsiteX7" fmla="*/ 330248 w 624818"/>
                <a:gd name="connsiteY7" fmla="*/ 652969 h 785172"/>
                <a:gd name="connsiteX8" fmla="*/ 425190 w 624818"/>
                <a:gd name="connsiteY8" fmla="*/ 630666 h 785172"/>
                <a:gd name="connsiteX9" fmla="*/ 461816 w 624818"/>
                <a:gd name="connsiteY9" fmla="*/ 565190 h 785172"/>
                <a:gd name="connsiteX10" fmla="*/ 422734 w 624818"/>
                <a:gd name="connsiteY10" fmla="*/ 499304 h 785172"/>
                <a:gd name="connsiteX11" fmla="*/ 308559 w 624818"/>
                <a:gd name="connsiteY11" fmla="*/ 455925 h 785172"/>
                <a:gd name="connsiteX12" fmla="*/ 208298 w 624818"/>
                <a:gd name="connsiteY12" fmla="*/ 426460 h 785172"/>
                <a:gd name="connsiteX13" fmla="*/ 119904 w 624818"/>
                <a:gd name="connsiteY13" fmla="*/ 385538 h 785172"/>
                <a:gd name="connsiteX14" fmla="*/ 56883 w 624818"/>
                <a:gd name="connsiteY14" fmla="*/ 323744 h 785172"/>
                <a:gd name="connsiteX15" fmla="*/ 32738 w 624818"/>
                <a:gd name="connsiteY15" fmla="*/ 225733 h 785172"/>
                <a:gd name="connsiteX16" fmla="*/ 53200 w 624818"/>
                <a:gd name="connsiteY16" fmla="*/ 130792 h 785172"/>
                <a:gd name="connsiteX17" fmla="*/ 109060 w 624818"/>
                <a:gd name="connsiteY17" fmla="*/ 59791 h 785172"/>
                <a:gd name="connsiteX18" fmla="*/ 194998 w 624818"/>
                <a:gd name="connsiteY18" fmla="*/ 15185 h 785172"/>
                <a:gd name="connsiteX19" fmla="*/ 306513 w 624818"/>
                <a:gd name="connsiteY19" fmla="*/ 43 h 785172"/>
                <a:gd name="connsiteX20" fmla="*/ 411480 w 624818"/>
                <a:gd name="connsiteY20" fmla="*/ 12729 h 785172"/>
                <a:gd name="connsiteX21" fmla="*/ 494963 w 624818"/>
                <a:gd name="connsiteY21" fmla="*/ 46900 h 785172"/>
                <a:gd name="connsiteX22" fmla="*/ 559417 w 624818"/>
                <a:gd name="connsiteY22" fmla="*/ 96621 h 785172"/>
                <a:gd name="connsiteX23" fmla="*/ 607297 w 624818"/>
                <a:gd name="connsiteY23" fmla="*/ 155346 h 785172"/>
                <a:gd name="connsiteX24" fmla="*/ 491076 w 624818"/>
                <a:gd name="connsiteY24" fmla="*/ 241898 h 785172"/>
                <a:gd name="connsiteX25" fmla="*/ 410662 w 624818"/>
                <a:gd name="connsiteY25" fmla="*/ 163735 h 785172"/>
                <a:gd name="connsiteX26" fmla="*/ 304672 w 624818"/>
                <a:gd name="connsiteY26" fmla="*/ 134475 h 785172"/>
                <a:gd name="connsiteX27" fmla="*/ 222826 w 624818"/>
                <a:gd name="connsiteY27" fmla="*/ 154937 h 785172"/>
                <a:gd name="connsiteX28" fmla="*/ 194589 w 624818"/>
                <a:gd name="connsiteY28" fmla="*/ 209978 h 785172"/>
                <a:gd name="connsiteX29" fmla="*/ 235512 w 624818"/>
                <a:gd name="connsiteY29" fmla="*/ 276887 h 785172"/>
                <a:gd name="connsiteX30" fmla="*/ 350505 w 624818"/>
                <a:gd name="connsiteY30" fmla="*/ 319447 h 785172"/>
                <a:gd name="connsiteX31" fmla="*/ 449948 w 624818"/>
                <a:gd name="connsiteY31" fmla="*/ 349116 h 785172"/>
                <a:gd name="connsiteX32" fmla="*/ 537933 w 624818"/>
                <a:gd name="connsiteY32" fmla="*/ 391267 h 785172"/>
                <a:gd name="connsiteX33" fmla="*/ 600749 w 624818"/>
                <a:gd name="connsiteY33" fmla="*/ 456334 h 785172"/>
                <a:gd name="connsiteX34" fmla="*/ 624689 w 624818"/>
                <a:gd name="connsiteY34" fmla="*/ 553731 h 785172"/>
                <a:gd name="connsiteX35" fmla="*/ 606683 w 624818"/>
                <a:gd name="connsiteY35" fmla="*/ 641101 h 785172"/>
                <a:gd name="connsiteX36" fmla="*/ 552051 w 624818"/>
                <a:gd name="connsiteY36" fmla="*/ 714354 h 785172"/>
                <a:gd name="connsiteX37" fmla="*/ 458133 w 624818"/>
                <a:gd name="connsiteY37" fmla="*/ 764893 h 785172"/>
                <a:gd name="connsiteX38" fmla="*/ 322882 w 624818"/>
                <a:gd name="connsiteY38" fmla="*/ 785150 h 785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624818" h="785172">
                  <a:moveTo>
                    <a:pt x="322882" y="785150"/>
                  </a:moveTo>
                  <a:cubicBezTo>
                    <a:pt x="285188" y="785527"/>
                    <a:pt x="247613" y="780847"/>
                    <a:pt x="211163" y="771237"/>
                  </a:cubicBezTo>
                  <a:cubicBezTo>
                    <a:pt x="179367" y="762797"/>
                    <a:pt x="148921" y="749916"/>
                    <a:pt x="120723" y="732974"/>
                  </a:cubicBezTo>
                  <a:cubicBezTo>
                    <a:pt x="94699" y="717027"/>
                    <a:pt x="71243" y="697227"/>
                    <a:pt x="51154" y="674249"/>
                  </a:cubicBezTo>
                  <a:cubicBezTo>
                    <a:pt x="31225" y="651230"/>
                    <a:pt x="14057" y="625959"/>
                    <a:pt x="0" y="598951"/>
                  </a:cubicBezTo>
                  <a:lnTo>
                    <a:pt x="125838" y="524062"/>
                  </a:lnTo>
                  <a:cubicBezTo>
                    <a:pt x="144727" y="563358"/>
                    <a:pt x="174296" y="596544"/>
                    <a:pt x="211162" y="619822"/>
                  </a:cubicBezTo>
                  <a:cubicBezTo>
                    <a:pt x="246924" y="641912"/>
                    <a:pt x="288217" y="653406"/>
                    <a:pt x="330248" y="652969"/>
                  </a:cubicBezTo>
                  <a:cubicBezTo>
                    <a:pt x="363310" y="654053"/>
                    <a:pt x="396069" y="646357"/>
                    <a:pt x="425190" y="630666"/>
                  </a:cubicBezTo>
                  <a:cubicBezTo>
                    <a:pt x="448946" y="617672"/>
                    <a:pt x="463175" y="592233"/>
                    <a:pt x="461816" y="565190"/>
                  </a:cubicBezTo>
                  <a:cubicBezTo>
                    <a:pt x="462369" y="537585"/>
                    <a:pt x="447225" y="512053"/>
                    <a:pt x="422734" y="499304"/>
                  </a:cubicBezTo>
                  <a:cubicBezTo>
                    <a:pt x="386663" y="480074"/>
                    <a:pt x="348299" y="465498"/>
                    <a:pt x="308559" y="455925"/>
                  </a:cubicBezTo>
                  <a:cubicBezTo>
                    <a:pt x="274593" y="446513"/>
                    <a:pt x="241173" y="436691"/>
                    <a:pt x="208298" y="426460"/>
                  </a:cubicBezTo>
                  <a:cubicBezTo>
                    <a:pt x="177202" y="416662"/>
                    <a:pt x="147494" y="402908"/>
                    <a:pt x="119904" y="385538"/>
                  </a:cubicBezTo>
                  <a:cubicBezTo>
                    <a:pt x="94684" y="369728"/>
                    <a:pt x="73185" y="348648"/>
                    <a:pt x="56883" y="323744"/>
                  </a:cubicBezTo>
                  <a:cubicBezTo>
                    <a:pt x="39718" y="294018"/>
                    <a:pt x="31346" y="260031"/>
                    <a:pt x="32738" y="225733"/>
                  </a:cubicBezTo>
                  <a:cubicBezTo>
                    <a:pt x="32365" y="192954"/>
                    <a:pt x="39358" y="160508"/>
                    <a:pt x="53200" y="130792"/>
                  </a:cubicBezTo>
                  <a:cubicBezTo>
                    <a:pt x="66327" y="103277"/>
                    <a:pt x="85407" y="79025"/>
                    <a:pt x="109060" y="59791"/>
                  </a:cubicBezTo>
                  <a:cubicBezTo>
                    <a:pt x="134461" y="39365"/>
                    <a:pt x="163675" y="24202"/>
                    <a:pt x="194998" y="15185"/>
                  </a:cubicBezTo>
                  <a:cubicBezTo>
                    <a:pt x="231233" y="4727"/>
                    <a:pt x="268802" y="-374"/>
                    <a:pt x="306513" y="43"/>
                  </a:cubicBezTo>
                  <a:cubicBezTo>
                    <a:pt x="341914" y="-482"/>
                    <a:pt x="377224" y="3785"/>
                    <a:pt x="411480" y="12729"/>
                  </a:cubicBezTo>
                  <a:cubicBezTo>
                    <a:pt x="440673" y="20448"/>
                    <a:pt x="468737" y="31935"/>
                    <a:pt x="494963" y="46900"/>
                  </a:cubicBezTo>
                  <a:cubicBezTo>
                    <a:pt x="518585" y="60502"/>
                    <a:pt x="540265" y="77226"/>
                    <a:pt x="559417" y="96621"/>
                  </a:cubicBezTo>
                  <a:cubicBezTo>
                    <a:pt x="577050" y="114770"/>
                    <a:pt x="593070" y="134419"/>
                    <a:pt x="607297" y="155346"/>
                  </a:cubicBezTo>
                  <a:lnTo>
                    <a:pt x="491076" y="241898"/>
                  </a:lnTo>
                  <a:cubicBezTo>
                    <a:pt x="471295" y="209476"/>
                    <a:pt x="443632" y="182588"/>
                    <a:pt x="410662" y="163735"/>
                  </a:cubicBezTo>
                  <a:cubicBezTo>
                    <a:pt x="378622" y="144590"/>
                    <a:pt x="341996" y="134478"/>
                    <a:pt x="304672" y="134475"/>
                  </a:cubicBezTo>
                  <a:cubicBezTo>
                    <a:pt x="275902" y="132351"/>
                    <a:pt x="247211" y="139524"/>
                    <a:pt x="222826" y="154937"/>
                  </a:cubicBezTo>
                  <a:cubicBezTo>
                    <a:pt x="204793" y="167401"/>
                    <a:pt x="194194" y="188061"/>
                    <a:pt x="194589" y="209978"/>
                  </a:cubicBezTo>
                  <a:cubicBezTo>
                    <a:pt x="193772" y="238418"/>
                    <a:pt x="209822" y="264659"/>
                    <a:pt x="235512" y="276887"/>
                  </a:cubicBezTo>
                  <a:cubicBezTo>
                    <a:pt x="272167" y="295246"/>
                    <a:pt x="310730" y="309518"/>
                    <a:pt x="350505" y="319447"/>
                  </a:cubicBezTo>
                  <a:cubicBezTo>
                    <a:pt x="384062" y="328450"/>
                    <a:pt x="417210" y="338340"/>
                    <a:pt x="449948" y="349116"/>
                  </a:cubicBezTo>
                  <a:cubicBezTo>
                    <a:pt x="480998" y="359247"/>
                    <a:pt x="510580" y="373419"/>
                    <a:pt x="537933" y="391267"/>
                  </a:cubicBezTo>
                  <a:cubicBezTo>
                    <a:pt x="563317" y="408175"/>
                    <a:pt x="584745" y="430371"/>
                    <a:pt x="600749" y="456334"/>
                  </a:cubicBezTo>
                  <a:cubicBezTo>
                    <a:pt x="617678" y="485923"/>
                    <a:pt x="625972" y="519666"/>
                    <a:pt x="624689" y="553731"/>
                  </a:cubicBezTo>
                  <a:cubicBezTo>
                    <a:pt x="624824" y="583789"/>
                    <a:pt x="618691" y="613546"/>
                    <a:pt x="606683" y="641101"/>
                  </a:cubicBezTo>
                  <a:cubicBezTo>
                    <a:pt x="594308" y="669372"/>
                    <a:pt x="575619" y="694431"/>
                    <a:pt x="552051" y="714354"/>
                  </a:cubicBezTo>
                  <a:cubicBezTo>
                    <a:pt x="524317" y="737128"/>
                    <a:pt x="492419" y="754293"/>
                    <a:pt x="458133" y="764893"/>
                  </a:cubicBezTo>
                  <a:cubicBezTo>
                    <a:pt x="414410" y="778778"/>
                    <a:pt x="368755" y="785616"/>
                    <a:pt x="322882" y="785150"/>
                  </a:cubicBezTo>
                  <a:close/>
                </a:path>
              </a:pathLst>
            </a:custGeom>
            <a:grpFill/>
            <a:ln w="204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E75E0214-C15C-6094-A350-DD1A90F8DF14}"/>
                </a:ext>
              </a:extLst>
            </p:cNvPr>
            <p:cNvSpPr/>
            <p:nvPr/>
          </p:nvSpPr>
          <p:spPr>
            <a:xfrm>
              <a:off x="3393446" y="2953679"/>
              <a:ext cx="694258" cy="760348"/>
            </a:xfrm>
            <a:custGeom>
              <a:avLst/>
              <a:gdLst>
                <a:gd name="connsiteX0" fmla="*/ 0 w 694258"/>
                <a:gd name="connsiteY0" fmla="*/ 760349 h 760348"/>
                <a:gd name="connsiteX1" fmla="*/ 267636 w 694258"/>
                <a:gd name="connsiteY1" fmla="*/ 0 h 760348"/>
                <a:gd name="connsiteX2" fmla="*/ 426622 w 694258"/>
                <a:gd name="connsiteY2" fmla="*/ 0 h 760348"/>
                <a:gd name="connsiteX3" fmla="*/ 694258 w 694258"/>
                <a:gd name="connsiteY3" fmla="*/ 760349 h 760348"/>
                <a:gd name="connsiteX4" fmla="*/ 525451 w 694258"/>
                <a:gd name="connsiteY4" fmla="*/ 760349 h 760348"/>
                <a:gd name="connsiteX5" fmla="*/ 469591 w 694258"/>
                <a:gd name="connsiteY5" fmla="*/ 591541 h 760348"/>
                <a:gd name="connsiteX6" fmla="*/ 211776 w 694258"/>
                <a:gd name="connsiteY6" fmla="*/ 591541 h 760348"/>
                <a:gd name="connsiteX7" fmla="*/ 153257 w 694258"/>
                <a:gd name="connsiteY7" fmla="*/ 760349 h 760348"/>
                <a:gd name="connsiteX8" fmla="*/ 252699 w 694258"/>
                <a:gd name="connsiteY8" fmla="*/ 470614 h 760348"/>
                <a:gd name="connsiteX9" fmla="*/ 430510 w 694258"/>
                <a:gd name="connsiteY9" fmla="*/ 470614 h 760348"/>
                <a:gd name="connsiteX10" fmla="*/ 343753 w 694258"/>
                <a:gd name="connsiteY10" fmla="*/ 212799 h 760348"/>
                <a:gd name="connsiteX11" fmla="*/ 341707 w 694258"/>
                <a:gd name="connsiteY11" fmla="*/ 212799 h 7603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94258" h="760348">
                  <a:moveTo>
                    <a:pt x="0" y="760349"/>
                  </a:moveTo>
                  <a:lnTo>
                    <a:pt x="267636" y="0"/>
                  </a:lnTo>
                  <a:lnTo>
                    <a:pt x="426622" y="0"/>
                  </a:lnTo>
                  <a:lnTo>
                    <a:pt x="694258" y="760349"/>
                  </a:lnTo>
                  <a:lnTo>
                    <a:pt x="525451" y="760349"/>
                  </a:lnTo>
                  <a:lnTo>
                    <a:pt x="469591" y="591541"/>
                  </a:lnTo>
                  <a:lnTo>
                    <a:pt x="211776" y="591541"/>
                  </a:lnTo>
                  <a:lnTo>
                    <a:pt x="153257" y="760349"/>
                  </a:lnTo>
                  <a:close/>
                  <a:moveTo>
                    <a:pt x="252699" y="470614"/>
                  </a:moveTo>
                  <a:lnTo>
                    <a:pt x="430510" y="470614"/>
                  </a:lnTo>
                  <a:lnTo>
                    <a:pt x="343753" y="212799"/>
                  </a:lnTo>
                  <a:lnTo>
                    <a:pt x="341707" y="212799"/>
                  </a:lnTo>
                  <a:close/>
                </a:path>
              </a:pathLst>
            </a:custGeom>
            <a:grpFill/>
            <a:ln w="204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F9D138F4-2E85-F570-8B24-64500C5E8E58}"/>
                </a:ext>
              </a:extLst>
            </p:cNvPr>
            <p:cNvSpPr/>
            <p:nvPr/>
          </p:nvSpPr>
          <p:spPr>
            <a:xfrm>
              <a:off x="4165663" y="2955110"/>
              <a:ext cx="584211" cy="757076"/>
            </a:xfrm>
            <a:custGeom>
              <a:avLst/>
              <a:gdLst>
                <a:gd name="connsiteX0" fmla="*/ 0 w 584211"/>
                <a:gd name="connsiteY0" fmla="*/ 757077 h 757076"/>
                <a:gd name="connsiteX1" fmla="*/ 0 w 584211"/>
                <a:gd name="connsiteY1" fmla="*/ 2 h 757076"/>
                <a:gd name="connsiteX2" fmla="*/ 275207 w 584211"/>
                <a:gd name="connsiteY2" fmla="*/ 2 h 757076"/>
                <a:gd name="connsiteX3" fmla="*/ 391019 w 584211"/>
                <a:gd name="connsiteY3" fmla="*/ 9824 h 757076"/>
                <a:gd name="connsiteX4" fmla="*/ 490053 w 584211"/>
                <a:gd name="connsiteY4" fmla="*/ 46654 h 757076"/>
                <a:gd name="connsiteX5" fmla="*/ 558394 w 584211"/>
                <a:gd name="connsiteY5" fmla="*/ 120929 h 757076"/>
                <a:gd name="connsiteX6" fmla="*/ 583971 w 584211"/>
                <a:gd name="connsiteY6" fmla="*/ 243698 h 757076"/>
                <a:gd name="connsiteX7" fmla="*/ 556961 w 584211"/>
                <a:gd name="connsiteY7" fmla="*/ 367695 h 757076"/>
                <a:gd name="connsiteX8" fmla="*/ 485346 w 584211"/>
                <a:gd name="connsiteY8" fmla="*/ 442379 h 757076"/>
                <a:gd name="connsiteX9" fmla="*/ 384880 w 584211"/>
                <a:gd name="connsiteY9" fmla="*/ 479210 h 757076"/>
                <a:gd name="connsiteX10" fmla="*/ 272751 w 584211"/>
                <a:gd name="connsiteY10" fmla="*/ 488827 h 757076"/>
                <a:gd name="connsiteX11" fmla="*/ 165329 w 584211"/>
                <a:gd name="connsiteY11" fmla="*/ 488827 h 757076"/>
                <a:gd name="connsiteX12" fmla="*/ 165329 w 584211"/>
                <a:gd name="connsiteY12" fmla="*/ 757077 h 757076"/>
                <a:gd name="connsiteX13" fmla="*/ 165329 w 584211"/>
                <a:gd name="connsiteY13" fmla="*/ 358896 h 757076"/>
                <a:gd name="connsiteX14" fmla="*/ 279095 w 584211"/>
                <a:gd name="connsiteY14" fmla="*/ 358896 h 757076"/>
                <a:gd name="connsiteX15" fmla="*/ 388768 w 584211"/>
                <a:gd name="connsiteY15" fmla="*/ 330455 h 757076"/>
                <a:gd name="connsiteX16" fmla="*/ 421097 w 584211"/>
                <a:gd name="connsiteY16" fmla="*/ 246563 h 757076"/>
                <a:gd name="connsiteX17" fmla="*/ 389382 w 584211"/>
                <a:gd name="connsiteY17" fmla="*/ 164717 h 757076"/>
                <a:gd name="connsiteX18" fmla="*/ 279095 w 584211"/>
                <a:gd name="connsiteY18" fmla="*/ 136071 h 757076"/>
                <a:gd name="connsiteX19" fmla="*/ 165329 w 584211"/>
                <a:gd name="connsiteY19" fmla="*/ 136071 h 757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584211" h="757076">
                  <a:moveTo>
                    <a:pt x="0" y="757077"/>
                  </a:moveTo>
                  <a:lnTo>
                    <a:pt x="0" y="2"/>
                  </a:lnTo>
                  <a:lnTo>
                    <a:pt x="275207" y="2"/>
                  </a:lnTo>
                  <a:cubicBezTo>
                    <a:pt x="314023" y="-94"/>
                    <a:pt x="352773" y="3193"/>
                    <a:pt x="391019" y="9824"/>
                  </a:cubicBezTo>
                  <a:cubicBezTo>
                    <a:pt x="426146" y="15413"/>
                    <a:pt x="459810" y="27933"/>
                    <a:pt x="490053" y="46654"/>
                  </a:cubicBezTo>
                  <a:cubicBezTo>
                    <a:pt x="518871" y="65088"/>
                    <a:pt x="542417" y="90679"/>
                    <a:pt x="558394" y="120929"/>
                  </a:cubicBezTo>
                  <a:cubicBezTo>
                    <a:pt x="577025" y="159079"/>
                    <a:pt x="585817" y="201283"/>
                    <a:pt x="583971" y="243698"/>
                  </a:cubicBezTo>
                  <a:cubicBezTo>
                    <a:pt x="585799" y="286667"/>
                    <a:pt x="576496" y="329379"/>
                    <a:pt x="556961" y="367695"/>
                  </a:cubicBezTo>
                  <a:cubicBezTo>
                    <a:pt x="540011" y="398409"/>
                    <a:pt x="515323" y="424156"/>
                    <a:pt x="485346" y="442379"/>
                  </a:cubicBezTo>
                  <a:cubicBezTo>
                    <a:pt x="454422" y="460761"/>
                    <a:pt x="420358" y="473249"/>
                    <a:pt x="384880" y="479210"/>
                  </a:cubicBezTo>
                  <a:cubicBezTo>
                    <a:pt x="347842" y="485575"/>
                    <a:pt x="310332" y="488792"/>
                    <a:pt x="272751" y="488827"/>
                  </a:cubicBezTo>
                  <a:lnTo>
                    <a:pt x="165329" y="488827"/>
                  </a:lnTo>
                  <a:lnTo>
                    <a:pt x="165329" y="757077"/>
                  </a:lnTo>
                  <a:close/>
                  <a:moveTo>
                    <a:pt x="165329" y="358896"/>
                  </a:moveTo>
                  <a:lnTo>
                    <a:pt x="279095" y="358896"/>
                  </a:lnTo>
                  <a:cubicBezTo>
                    <a:pt x="330862" y="358896"/>
                    <a:pt x="367284" y="349484"/>
                    <a:pt x="388768" y="330455"/>
                  </a:cubicBezTo>
                  <a:cubicBezTo>
                    <a:pt x="411483" y="308689"/>
                    <a:pt x="423331" y="277943"/>
                    <a:pt x="421097" y="246563"/>
                  </a:cubicBezTo>
                  <a:cubicBezTo>
                    <a:pt x="422988" y="215958"/>
                    <a:pt x="411401" y="186057"/>
                    <a:pt x="389382" y="164717"/>
                  </a:cubicBezTo>
                  <a:cubicBezTo>
                    <a:pt x="368921" y="145483"/>
                    <a:pt x="331476" y="136071"/>
                    <a:pt x="279095" y="136071"/>
                  </a:cubicBezTo>
                  <a:lnTo>
                    <a:pt x="165329" y="136071"/>
                  </a:lnTo>
                  <a:close/>
                </a:path>
              </a:pathLst>
            </a:custGeom>
            <a:grpFill/>
            <a:ln w="204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03C7AA6B-EF7B-3446-A760-ECAAC179F55B}"/>
                </a:ext>
              </a:extLst>
            </p:cNvPr>
            <p:cNvSpPr/>
            <p:nvPr/>
          </p:nvSpPr>
          <p:spPr>
            <a:xfrm>
              <a:off x="5091341" y="2941022"/>
              <a:ext cx="624818" cy="785719"/>
            </a:xfrm>
            <a:custGeom>
              <a:avLst/>
              <a:gdLst>
                <a:gd name="connsiteX0" fmla="*/ 322064 w 624818"/>
                <a:gd name="connsiteY0" fmla="*/ 785692 h 785719"/>
                <a:gd name="connsiteX1" fmla="*/ 210549 w 624818"/>
                <a:gd name="connsiteY1" fmla="*/ 771779 h 785719"/>
                <a:gd name="connsiteX2" fmla="*/ 120518 w 624818"/>
                <a:gd name="connsiteY2" fmla="*/ 733311 h 785719"/>
                <a:gd name="connsiteX3" fmla="*/ 51154 w 624818"/>
                <a:gd name="connsiteY3" fmla="*/ 674587 h 785719"/>
                <a:gd name="connsiteX4" fmla="*/ 0 w 624818"/>
                <a:gd name="connsiteY4" fmla="*/ 599288 h 785719"/>
                <a:gd name="connsiteX5" fmla="*/ 125838 w 624818"/>
                <a:gd name="connsiteY5" fmla="*/ 524399 h 785719"/>
                <a:gd name="connsiteX6" fmla="*/ 210958 w 624818"/>
                <a:gd name="connsiteY6" fmla="*/ 620159 h 785719"/>
                <a:gd name="connsiteX7" fmla="*/ 330044 w 624818"/>
                <a:gd name="connsiteY7" fmla="*/ 653307 h 785719"/>
                <a:gd name="connsiteX8" fmla="*/ 425395 w 624818"/>
                <a:gd name="connsiteY8" fmla="*/ 632845 h 785719"/>
                <a:gd name="connsiteX9" fmla="*/ 462020 w 624818"/>
                <a:gd name="connsiteY9" fmla="*/ 567368 h 785719"/>
                <a:gd name="connsiteX10" fmla="*/ 422734 w 624818"/>
                <a:gd name="connsiteY10" fmla="*/ 501482 h 785719"/>
                <a:gd name="connsiteX11" fmla="*/ 308559 w 624818"/>
                <a:gd name="connsiteY11" fmla="*/ 458104 h 785719"/>
                <a:gd name="connsiteX12" fmla="*/ 208502 w 624818"/>
                <a:gd name="connsiteY12" fmla="*/ 428639 h 785719"/>
                <a:gd name="connsiteX13" fmla="*/ 120109 w 624818"/>
                <a:gd name="connsiteY13" fmla="*/ 387716 h 785719"/>
                <a:gd name="connsiteX14" fmla="*/ 56678 w 624818"/>
                <a:gd name="connsiteY14" fmla="*/ 324286 h 785719"/>
                <a:gd name="connsiteX15" fmla="*/ 32738 w 624818"/>
                <a:gd name="connsiteY15" fmla="*/ 225662 h 785719"/>
                <a:gd name="connsiteX16" fmla="*/ 53199 w 624818"/>
                <a:gd name="connsiteY16" fmla="*/ 130720 h 785719"/>
                <a:gd name="connsiteX17" fmla="*/ 108855 w 624818"/>
                <a:gd name="connsiteY17" fmla="*/ 59719 h 785719"/>
                <a:gd name="connsiteX18" fmla="*/ 194793 w 624818"/>
                <a:gd name="connsiteY18" fmla="*/ 15113 h 785719"/>
                <a:gd name="connsiteX19" fmla="*/ 411275 w 624818"/>
                <a:gd name="connsiteY19" fmla="*/ 12658 h 785719"/>
                <a:gd name="connsiteX20" fmla="*/ 494758 w 624818"/>
                <a:gd name="connsiteY20" fmla="*/ 46828 h 785719"/>
                <a:gd name="connsiteX21" fmla="*/ 559212 w 624818"/>
                <a:gd name="connsiteY21" fmla="*/ 96550 h 785719"/>
                <a:gd name="connsiteX22" fmla="*/ 605660 w 624818"/>
                <a:gd name="connsiteY22" fmla="*/ 155274 h 785719"/>
                <a:gd name="connsiteX23" fmla="*/ 491075 w 624818"/>
                <a:gd name="connsiteY23" fmla="*/ 242440 h 785719"/>
                <a:gd name="connsiteX24" fmla="*/ 410457 w 624818"/>
                <a:gd name="connsiteY24" fmla="*/ 164277 h 785719"/>
                <a:gd name="connsiteX25" fmla="*/ 304671 w 624818"/>
                <a:gd name="connsiteY25" fmla="*/ 135017 h 785719"/>
                <a:gd name="connsiteX26" fmla="*/ 222825 w 624818"/>
                <a:gd name="connsiteY26" fmla="*/ 155479 h 785719"/>
                <a:gd name="connsiteX27" fmla="*/ 194588 w 624818"/>
                <a:gd name="connsiteY27" fmla="*/ 210520 h 785719"/>
                <a:gd name="connsiteX28" fmla="*/ 235511 w 624818"/>
                <a:gd name="connsiteY28" fmla="*/ 277429 h 785719"/>
                <a:gd name="connsiteX29" fmla="*/ 350300 w 624818"/>
                <a:gd name="connsiteY29" fmla="*/ 319989 h 785719"/>
                <a:gd name="connsiteX30" fmla="*/ 449743 w 624818"/>
                <a:gd name="connsiteY30" fmla="*/ 349658 h 785719"/>
                <a:gd name="connsiteX31" fmla="*/ 537728 w 624818"/>
                <a:gd name="connsiteY31" fmla="*/ 391809 h 785719"/>
                <a:gd name="connsiteX32" fmla="*/ 600749 w 624818"/>
                <a:gd name="connsiteY32" fmla="*/ 456876 h 785719"/>
                <a:gd name="connsiteX33" fmla="*/ 624689 w 624818"/>
                <a:gd name="connsiteY33" fmla="*/ 554273 h 785719"/>
                <a:gd name="connsiteX34" fmla="*/ 606683 w 624818"/>
                <a:gd name="connsiteY34" fmla="*/ 641643 h 785719"/>
                <a:gd name="connsiteX35" fmla="*/ 552051 w 624818"/>
                <a:gd name="connsiteY35" fmla="*/ 714895 h 785719"/>
                <a:gd name="connsiteX36" fmla="*/ 458133 w 624818"/>
                <a:gd name="connsiteY36" fmla="*/ 765435 h 785719"/>
                <a:gd name="connsiteX37" fmla="*/ 322064 w 624818"/>
                <a:gd name="connsiteY37" fmla="*/ 785692 h 785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624818" h="785719">
                  <a:moveTo>
                    <a:pt x="322064" y="785692"/>
                  </a:moveTo>
                  <a:cubicBezTo>
                    <a:pt x="284436" y="786082"/>
                    <a:pt x="246927" y="781402"/>
                    <a:pt x="210549" y="771779"/>
                  </a:cubicBezTo>
                  <a:cubicBezTo>
                    <a:pt x="178890" y="763221"/>
                    <a:pt x="148586" y="750273"/>
                    <a:pt x="120518" y="733311"/>
                  </a:cubicBezTo>
                  <a:cubicBezTo>
                    <a:pt x="94596" y="717307"/>
                    <a:pt x="71216" y="697513"/>
                    <a:pt x="51154" y="674587"/>
                  </a:cubicBezTo>
                  <a:cubicBezTo>
                    <a:pt x="31225" y="651568"/>
                    <a:pt x="14057" y="626296"/>
                    <a:pt x="0" y="599288"/>
                  </a:cubicBezTo>
                  <a:lnTo>
                    <a:pt x="125838" y="524399"/>
                  </a:lnTo>
                  <a:cubicBezTo>
                    <a:pt x="144587" y="563725"/>
                    <a:pt x="174102" y="596929"/>
                    <a:pt x="210958" y="620159"/>
                  </a:cubicBezTo>
                  <a:cubicBezTo>
                    <a:pt x="246719" y="642249"/>
                    <a:pt x="288012" y="653743"/>
                    <a:pt x="330044" y="653307"/>
                  </a:cubicBezTo>
                  <a:cubicBezTo>
                    <a:pt x="363076" y="655019"/>
                    <a:pt x="395973" y="647960"/>
                    <a:pt x="425395" y="632845"/>
                  </a:cubicBezTo>
                  <a:cubicBezTo>
                    <a:pt x="449115" y="619814"/>
                    <a:pt x="463330" y="594400"/>
                    <a:pt x="462020" y="567368"/>
                  </a:cubicBezTo>
                  <a:cubicBezTo>
                    <a:pt x="462584" y="539706"/>
                    <a:pt x="447339" y="514139"/>
                    <a:pt x="422734" y="501482"/>
                  </a:cubicBezTo>
                  <a:cubicBezTo>
                    <a:pt x="386680" y="482216"/>
                    <a:pt x="348311" y="467639"/>
                    <a:pt x="308559" y="458104"/>
                  </a:cubicBezTo>
                  <a:cubicBezTo>
                    <a:pt x="274593" y="448692"/>
                    <a:pt x="241241" y="438870"/>
                    <a:pt x="208502" y="428639"/>
                  </a:cubicBezTo>
                  <a:cubicBezTo>
                    <a:pt x="177407" y="418841"/>
                    <a:pt x="147699" y="405087"/>
                    <a:pt x="120109" y="387716"/>
                  </a:cubicBezTo>
                  <a:cubicBezTo>
                    <a:pt x="94534" y="371525"/>
                    <a:pt x="72869" y="349861"/>
                    <a:pt x="56678" y="324286"/>
                  </a:cubicBezTo>
                  <a:cubicBezTo>
                    <a:pt x="39471" y="294361"/>
                    <a:pt x="31166" y="260145"/>
                    <a:pt x="32738" y="225662"/>
                  </a:cubicBezTo>
                  <a:cubicBezTo>
                    <a:pt x="32371" y="192882"/>
                    <a:pt x="39364" y="160439"/>
                    <a:pt x="53199" y="130720"/>
                  </a:cubicBezTo>
                  <a:cubicBezTo>
                    <a:pt x="66238" y="103207"/>
                    <a:pt x="85252" y="78951"/>
                    <a:pt x="108855" y="59719"/>
                  </a:cubicBezTo>
                  <a:cubicBezTo>
                    <a:pt x="134298" y="39357"/>
                    <a:pt x="163498" y="24201"/>
                    <a:pt x="194793" y="15113"/>
                  </a:cubicBezTo>
                  <a:cubicBezTo>
                    <a:pt x="265561" y="-4169"/>
                    <a:pt x="340088" y="-5014"/>
                    <a:pt x="411275" y="12658"/>
                  </a:cubicBezTo>
                  <a:cubicBezTo>
                    <a:pt x="440492" y="20304"/>
                    <a:pt x="468565" y="31795"/>
                    <a:pt x="494758" y="46828"/>
                  </a:cubicBezTo>
                  <a:cubicBezTo>
                    <a:pt x="518450" y="60325"/>
                    <a:pt x="540144" y="77060"/>
                    <a:pt x="559212" y="96550"/>
                  </a:cubicBezTo>
                  <a:cubicBezTo>
                    <a:pt x="576466" y="114656"/>
                    <a:pt x="592014" y="134314"/>
                    <a:pt x="605660" y="155274"/>
                  </a:cubicBezTo>
                  <a:lnTo>
                    <a:pt x="491075" y="242440"/>
                  </a:lnTo>
                  <a:cubicBezTo>
                    <a:pt x="471287" y="209954"/>
                    <a:pt x="443540" y="183051"/>
                    <a:pt x="410457" y="164277"/>
                  </a:cubicBezTo>
                  <a:cubicBezTo>
                    <a:pt x="378493" y="145129"/>
                    <a:pt x="341932" y="135016"/>
                    <a:pt x="304671" y="135017"/>
                  </a:cubicBezTo>
                  <a:cubicBezTo>
                    <a:pt x="275903" y="132908"/>
                    <a:pt x="247216" y="140079"/>
                    <a:pt x="222825" y="155479"/>
                  </a:cubicBezTo>
                  <a:cubicBezTo>
                    <a:pt x="204793" y="167942"/>
                    <a:pt x="194194" y="188603"/>
                    <a:pt x="194588" y="210520"/>
                  </a:cubicBezTo>
                  <a:cubicBezTo>
                    <a:pt x="193718" y="238974"/>
                    <a:pt x="209784" y="265242"/>
                    <a:pt x="235511" y="277429"/>
                  </a:cubicBezTo>
                  <a:cubicBezTo>
                    <a:pt x="272108" y="295759"/>
                    <a:pt x="310600" y="310030"/>
                    <a:pt x="350300" y="319989"/>
                  </a:cubicBezTo>
                  <a:cubicBezTo>
                    <a:pt x="383994" y="328992"/>
                    <a:pt x="417141" y="338882"/>
                    <a:pt x="449743" y="349658"/>
                  </a:cubicBezTo>
                  <a:cubicBezTo>
                    <a:pt x="480811" y="359745"/>
                    <a:pt x="510399" y="373919"/>
                    <a:pt x="537728" y="391809"/>
                  </a:cubicBezTo>
                  <a:cubicBezTo>
                    <a:pt x="563220" y="408653"/>
                    <a:pt x="584728" y="430859"/>
                    <a:pt x="600749" y="456876"/>
                  </a:cubicBezTo>
                  <a:cubicBezTo>
                    <a:pt x="617678" y="486465"/>
                    <a:pt x="625972" y="520208"/>
                    <a:pt x="624689" y="554273"/>
                  </a:cubicBezTo>
                  <a:cubicBezTo>
                    <a:pt x="624824" y="584331"/>
                    <a:pt x="618692" y="614088"/>
                    <a:pt x="606683" y="641643"/>
                  </a:cubicBezTo>
                  <a:cubicBezTo>
                    <a:pt x="594167" y="669831"/>
                    <a:pt x="575499" y="694861"/>
                    <a:pt x="552051" y="714895"/>
                  </a:cubicBezTo>
                  <a:cubicBezTo>
                    <a:pt x="524316" y="737670"/>
                    <a:pt x="492419" y="754835"/>
                    <a:pt x="458133" y="765435"/>
                  </a:cubicBezTo>
                  <a:cubicBezTo>
                    <a:pt x="414139" y="779369"/>
                    <a:pt x="368208" y="786207"/>
                    <a:pt x="322064" y="785692"/>
                  </a:cubicBezTo>
                  <a:close/>
                </a:path>
              </a:pathLst>
            </a:custGeom>
            <a:grpFill/>
            <a:ln w="204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ADA66BAA-A695-6E08-8EA6-ADFEC2EBA751}"/>
                </a:ext>
              </a:extLst>
            </p:cNvPr>
            <p:cNvSpPr/>
            <p:nvPr/>
          </p:nvSpPr>
          <p:spPr>
            <a:xfrm>
              <a:off x="5767561" y="3155816"/>
              <a:ext cx="521799" cy="564420"/>
            </a:xfrm>
            <a:custGeom>
              <a:avLst/>
              <a:gdLst>
                <a:gd name="connsiteX0" fmla="*/ 155743 w 521799"/>
                <a:gd name="connsiteY0" fmla="*/ 564351 h 564420"/>
                <a:gd name="connsiteX1" fmla="*/ 95586 w 521799"/>
                <a:gd name="connsiteY1" fmla="*/ 554734 h 564420"/>
                <a:gd name="connsiteX2" fmla="*/ 45865 w 521799"/>
                <a:gd name="connsiteY2" fmla="*/ 526292 h 564420"/>
                <a:gd name="connsiteX3" fmla="*/ 12308 w 521799"/>
                <a:gd name="connsiteY3" fmla="*/ 479640 h 564420"/>
                <a:gd name="connsiteX4" fmla="*/ 31 w 521799"/>
                <a:gd name="connsiteY4" fmla="*/ 417028 h 564420"/>
                <a:gd name="connsiteX5" fmla="*/ 82900 w 521799"/>
                <a:gd name="connsiteY5" fmla="*/ 269910 h 564420"/>
                <a:gd name="connsiteX6" fmla="*/ 345626 w 521799"/>
                <a:gd name="connsiteY6" fmla="*/ 202182 h 564420"/>
                <a:gd name="connsiteX7" fmla="*/ 345626 w 521799"/>
                <a:gd name="connsiteY7" fmla="*/ 189292 h 564420"/>
                <a:gd name="connsiteX8" fmla="*/ 328847 w 521799"/>
                <a:gd name="connsiteY8" fmla="*/ 141616 h 564420"/>
                <a:gd name="connsiteX9" fmla="*/ 272169 w 521799"/>
                <a:gd name="connsiteY9" fmla="*/ 123815 h 564420"/>
                <a:gd name="connsiteX10" fmla="*/ 175590 w 521799"/>
                <a:gd name="connsiteY10" fmla="*/ 142639 h 564420"/>
                <a:gd name="connsiteX11" fmla="*/ 93131 w 521799"/>
                <a:gd name="connsiteY11" fmla="*/ 191338 h 564420"/>
                <a:gd name="connsiteX12" fmla="*/ 23153 w 521799"/>
                <a:gd name="connsiteY12" fmla="*/ 96806 h 564420"/>
                <a:gd name="connsiteX13" fmla="*/ 70009 w 521799"/>
                <a:gd name="connsiteY13" fmla="*/ 61407 h 564420"/>
                <a:gd name="connsiteX14" fmla="*/ 128939 w 521799"/>
                <a:gd name="connsiteY14" fmla="*/ 30101 h 564420"/>
                <a:gd name="connsiteX15" fmla="*/ 203009 w 521799"/>
                <a:gd name="connsiteY15" fmla="*/ 8207 h 564420"/>
                <a:gd name="connsiteX16" fmla="*/ 295495 w 521799"/>
                <a:gd name="connsiteY16" fmla="*/ 23 h 564420"/>
                <a:gd name="connsiteX17" fmla="*/ 457141 w 521799"/>
                <a:gd name="connsiteY17" fmla="*/ 54041 h 564420"/>
                <a:gd name="connsiteX18" fmla="*/ 506248 w 521799"/>
                <a:gd name="connsiteY18" fmla="*/ 213641 h 564420"/>
                <a:gd name="connsiteX19" fmla="*/ 506248 w 521799"/>
                <a:gd name="connsiteY19" fmla="*/ 423576 h 564420"/>
                <a:gd name="connsiteX20" fmla="*/ 509727 w 521799"/>
                <a:gd name="connsiteY20" fmla="*/ 504194 h 564420"/>
                <a:gd name="connsiteX21" fmla="*/ 521799 w 521799"/>
                <a:gd name="connsiteY21" fmla="*/ 556371 h 564420"/>
                <a:gd name="connsiteX22" fmla="*/ 358107 w 521799"/>
                <a:gd name="connsiteY22" fmla="*/ 556371 h 564420"/>
                <a:gd name="connsiteX23" fmla="*/ 349309 w 521799"/>
                <a:gd name="connsiteY23" fmla="*/ 519540 h 564420"/>
                <a:gd name="connsiteX24" fmla="*/ 345626 w 521799"/>
                <a:gd name="connsiteY24" fmla="*/ 476571 h 564420"/>
                <a:gd name="connsiteX25" fmla="*/ 262552 w 521799"/>
                <a:gd name="connsiteY25" fmla="*/ 541843 h 564420"/>
                <a:gd name="connsiteX26" fmla="*/ 155743 w 521799"/>
                <a:gd name="connsiteY26" fmla="*/ 564351 h 564420"/>
                <a:gd name="connsiteX27" fmla="*/ 221220 w 521799"/>
                <a:gd name="connsiteY27" fmla="*/ 441582 h 564420"/>
                <a:gd name="connsiteX28" fmla="*/ 294881 w 521799"/>
                <a:gd name="connsiteY28" fmla="*/ 428077 h 564420"/>
                <a:gd name="connsiteX29" fmla="*/ 345626 w 521799"/>
                <a:gd name="connsiteY29" fmla="*/ 394111 h 564420"/>
                <a:gd name="connsiteX30" fmla="*/ 345626 w 521799"/>
                <a:gd name="connsiteY30" fmla="*/ 293645 h 564420"/>
                <a:gd name="connsiteX31" fmla="*/ 204237 w 521799"/>
                <a:gd name="connsiteY31" fmla="*/ 327611 h 564420"/>
                <a:gd name="connsiteX32" fmla="*/ 160858 w 521799"/>
                <a:gd name="connsiteY32" fmla="*/ 388996 h 564420"/>
                <a:gd name="connsiteX33" fmla="*/ 177637 w 521799"/>
                <a:gd name="connsiteY33" fmla="*/ 428486 h 564420"/>
                <a:gd name="connsiteX34" fmla="*/ 221220 w 521799"/>
                <a:gd name="connsiteY34" fmla="*/ 440968 h 5644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521799" h="564420">
                  <a:moveTo>
                    <a:pt x="155743" y="564351"/>
                  </a:moveTo>
                  <a:cubicBezTo>
                    <a:pt x="135293" y="564553"/>
                    <a:pt x="114954" y="561302"/>
                    <a:pt x="95586" y="554734"/>
                  </a:cubicBezTo>
                  <a:cubicBezTo>
                    <a:pt x="77333" y="548550"/>
                    <a:pt x="60449" y="538892"/>
                    <a:pt x="45865" y="526292"/>
                  </a:cubicBezTo>
                  <a:cubicBezTo>
                    <a:pt x="31322" y="513455"/>
                    <a:pt x="19853" y="497511"/>
                    <a:pt x="12308" y="479640"/>
                  </a:cubicBezTo>
                  <a:cubicBezTo>
                    <a:pt x="3851" y="459867"/>
                    <a:pt x="-333" y="438530"/>
                    <a:pt x="31" y="417028"/>
                  </a:cubicBezTo>
                  <a:cubicBezTo>
                    <a:pt x="-1137" y="356572"/>
                    <a:pt x="30592" y="300244"/>
                    <a:pt x="82900" y="269910"/>
                  </a:cubicBezTo>
                  <a:cubicBezTo>
                    <a:pt x="137464" y="234580"/>
                    <a:pt x="225039" y="212004"/>
                    <a:pt x="345626" y="202182"/>
                  </a:cubicBezTo>
                  <a:lnTo>
                    <a:pt x="345626" y="189292"/>
                  </a:lnTo>
                  <a:cubicBezTo>
                    <a:pt x="346593" y="171801"/>
                    <a:pt x="340555" y="154646"/>
                    <a:pt x="328847" y="141616"/>
                  </a:cubicBezTo>
                  <a:cubicBezTo>
                    <a:pt x="313193" y="128165"/>
                    <a:pt x="292703" y="121730"/>
                    <a:pt x="272169" y="123815"/>
                  </a:cubicBezTo>
                  <a:cubicBezTo>
                    <a:pt x="239030" y="123452"/>
                    <a:pt x="206167" y="129857"/>
                    <a:pt x="175590" y="142639"/>
                  </a:cubicBezTo>
                  <a:cubicBezTo>
                    <a:pt x="145941" y="154894"/>
                    <a:pt x="118178" y="171290"/>
                    <a:pt x="93131" y="191338"/>
                  </a:cubicBezTo>
                  <a:lnTo>
                    <a:pt x="23153" y="96806"/>
                  </a:lnTo>
                  <a:cubicBezTo>
                    <a:pt x="37999" y="84017"/>
                    <a:pt x="53650" y="72193"/>
                    <a:pt x="70009" y="61407"/>
                  </a:cubicBezTo>
                  <a:cubicBezTo>
                    <a:pt x="88604" y="49108"/>
                    <a:pt x="108338" y="38624"/>
                    <a:pt x="128939" y="30101"/>
                  </a:cubicBezTo>
                  <a:cubicBezTo>
                    <a:pt x="152825" y="20317"/>
                    <a:pt x="177642" y="12981"/>
                    <a:pt x="203009" y="8207"/>
                  </a:cubicBezTo>
                  <a:cubicBezTo>
                    <a:pt x="233496" y="2460"/>
                    <a:pt x="264473" y="-282"/>
                    <a:pt x="295495" y="23"/>
                  </a:cubicBezTo>
                  <a:cubicBezTo>
                    <a:pt x="370384" y="23"/>
                    <a:pt x="424266" y="18029"/>
                    <a:pt x="457141" y="54041"/>
                  </a:cubicBezTo>
                  <a:cubicBezTo>
                    <a:pt x="490016" y="90054"/>
                    <a:pt x="506385" y="143253"/>
                    <a:pt x="506248" y="213641"/>
                  </a:cubicBezTo>
                  <a:lnTo>
                    <a:pt x="506248" y="423576"/>
                  </a:lnTo>
                  <a:cubicBezTo>
                    <a:pt x="506022" y="450490"/>
                    <a:pt x="507183" y="477399"/>
                    <a:pt x="509727" y="504194"/>
                  </a:cubicBezTo>
                  <a:cubicBezTo>
                    <a:pt x="511301" y="522064"/>
                    <a:pt x="515364" y="539626"/>
                    <a:pt x="521799" y="556371"/>
                  </a:cubicBezTo>
                  <a:lnTo>
                    <a:pt x="358107" y="556371"/>
                  </a:lnTo>
                  <a:cubicBezTo>
                    <a:pt x="354833" y="544708"/>
                    <a:pt x="351969" y="532431"/>
                    <a:pt x="349309" y="519540"/>
                  </a:cubicBezTo>
                  <a:cubicBezTo>
                    <a:pt x="346758" y="505361"/>
                    <a:pt x="345525" y="490977"/>
                    <a:pt x="345626" y="476571"/>
                  </a:cubicBezTo>
                  <a:cubicBezTo>
                    <a:pt x="322605" y="503692"/>
                    <a:pt x="294350" y="525892"/>
                    <a:pt x="262552" y="541843"/>
                  </a:cubicBezTo>
                  <a:cubicBezTo>
                    <a:pt x="229181" y="557542"/>
                    <a:pt x="192612" y="565248"/>
                    <a:pt x="155743" y="564351"/>
                  </a:cubicBezTo>
                  <a:close/>
                  <a:moveTo>
                    <a:pt x="221220" y="441582"/>
                  </a:moveTo>
                  <a:cubicBezTo>
                    <a:pt x="246444" y="442232"/>
                    <a:pt x="271528" y="437633"/>
                    <a:pt x="294881" y="428077"/>
                  </a:cubicBezTo>
                  <a:cubicBezTo>
                    <a:pt x="313837" y="420149"/>
                    <a:pt x="331071" y="408614"/>
                    <a:pt x="345626" y="394111"/>
                  </a:cubicBezTo>
                  <a:lnTo>
                    <a:pt x="345626" y="293645"/>
                  </a:lnTo>
                  <a:cubicBezTo>
                    <a:pt x="296805" y="296155"/>
                    <a:pt x="248870" y="307671"/>
                    <a:pt x="204237" y="327611"/>
                  </a:cubicBezTo>
                  <a:cubicBezTo>
                    <a:pt x="179212" y="338074"/>
                    <a:pt x="162365" y="361914"/>
                    <a:pt x="160858" y="388996"/>
                  </a:cubicBezTo>
                  <a:cubicBezTo>
                    <a:pt x="159707" y="404103"/>
                    <a:pt x="165963" y="418828"/>
                    <a:pt x="177637" y="428486"/>
                  </a:cubicBezTo>
                  <a:cubicBezTo>
                    <a:pt x="190343" y="437440"/>
                    <a:pt x="205701" y="441839"/>
                    <a:pt x="221220" y="440968"/>
                  </a:cubicBezTo>
                  <a:close/>
                </a:path>
              </a:pathLst>
            </a:custGeom>
            <a:grpFill/>
            <a:ln w="204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7DDDF3D6-7C42-41AB-60B4-5B74265204B6}"/>
                </a:ext>
              </a:extLst>
            </p:cNvPr>
            <p:cNvSpPr/>
            <p:nvPr/>
          </p:nvSpPr>
          <p:spPr>
            <a:xfrm>
              <a:off x="6378163" y="3155714"/>
              <a:ext cx="542023" cy="761291"/>
            </a:xfrm>
            <a:custGeom>
              <a:avLst/>
              <a:gdLst>
                <a:gd name="connsiteX0" fmla="*/ 0 w 542023"/>
                <a:gd name="connsiteY0" fmla="*/ 761292 h 761291"/>
                <a:gd name="connsiteX1" fmla="*/ 0 w 542023"/>
                <a:gd name="connsiteY1" fmla="*/ 10969 h 761291"/>
                <a:gd name="connsiteX2" fmla="*/ 164920 w 542023"/>
                <a:gd name="connsiteY2" fmla="*/ 10969 h 761291"/>
                <a:gd name="connsiteX3" fmla="*/ 164920 w 542023"/>
                <a:gd name="connsiteY3" fmla="*/ 94043 h 761291"/>
                <a:gd name="connsiteX4" fmla="*/ 231829 w 542023"/>
                <a:gd name="connsiteY4" fmla="*/ 28771 h 761291"/>
                <a:gd name="connsiteX5" fmla="*/ 332704 w 542023"/>
                <a:gd name="connsiteY5" fmla="*/ 124 h 761291"/>
                <a:gd name="connsiteX6" fmla="*/ 417415 w 542023"/>
                <a:gd name="connsiteY6" fmla="*/ 17926 h 761291"/>
                <a:gd name="connsiteX7" fmla="*/ 483914 w 542023"/>
                <a:gd name="connsiteY7" fmla="*/ 71126 h 761291"/>
                <a:gd name="connsiteX8" fmla="*/ 526884 w 542023"/>
                <a:gd name="connsiteY8" fmla="*/ 159724 h 761291"/>
                <a:gd name="connsiteX9" fmla="*/ 526884 w 542023"/>
                <a:gd name="connsiteY9" fmla="*/ 406489 h 761291"/>
                <a:gd name="connsiteX10" fmla="*/ 483301 w 542023"/>
                <a:gd name="connsiteY10" fmla="*/ 494678 h 761291"/>
                <a:gd name="connsiteX11" fmla="*/ 416391 w 542023"/>
                <a:gd name="connsiteY11" fmla="*/ 547264 h 761291"/>
                <a:gd name="connsiteX12" fmla="*/ 330248 w 542023"/>
                <a:gd name="connsiteY12" fmla="*/ 564452 h 761291"/>
                <a:gd name="connsiteX13" fmla="*/ 235307 w 542023"/>
                <a:gd name="connsiteY13" fmla="*/ 545832 h 761291"/>
                <a:gd name="connsiteX14" fmla="*/ 164920 w 542023"/>
                <a:gd name="connsiteY14" fmla="*/ 492018 h 761291"/>
                <a:gd name="connsiteX15" fmla="*/ 164920 w 542023"/>
                <a:gd name="connsiteY15" fmla="*/ 761292 h 761291"/>
                <a:gd name="connsiteX16" fmla="*/ 274389 w 542023"/>
                <a:gd name="connsiteY16" fmla="*/ 441069 h 761291"/>
                <a:gd name="connsiteX17" fmla="*/ 351938 w 542023"/>
                <a:gd name="connsiteY17" fmla="*/ 400146 h 761291"/>
                <a:gd name="connsiteX18" fmla="*/ 377719 w 542023"/>
                <a:gd name="connsiteY18" fmla="*/ 284334 h 761291"/>
                <a:gd name="connsiteX19" fmla="*/ 352551 w 542023"/>
                <a:gd name="connsiteY19" fmla="*/ 175888 h 761291"/>
                <a:gd name="connsiteX20" fmla="*/ 272342 w 542023"/>
                <a:gd name="connsiteY20" fmla="*/ 135989 h 761291"/>
                <a:gd name="connsiteX21" fmla="*/ 212799 w 542023"/>
                <a:gd name="connsiteY21" fmla="*/ 152358 h 761291"/>
                <a:gd name="connsiteX22" fmla="*/ 164920 w 542023"/>
                <a:gd name="connsiteY22" fmla="*/ 189393 h 761291"/>
                <a:gd name="connsiteX23" fmla="*/ 164920 w 542023"/>
                <a:gd name="connsiteY23" fmla="*/ 390734 h 761291"/>
                <a:gd name="connsiteX24" fmla="*/ 216278 w 542023"/>
                <a:gd name="connsiteY24" fmla="*/ 428588 h 761291"/>
                <a:gd name="connsiteX25" fmla="*/ 274389 w 542023"/>
                <a:gd name="connsiteY25" fmla="*/ 441069 h 761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542023" h="761291">
                  <a:moveTo>
                    <a:pt x="0" y="761292"/>
                  </a:moveTo>
                  <a:lnTo>
                    <a:pt x="0" y="10969"/>
                  </a:lnTo>
                  <a:lnTo>
                    <a:pt x="164920" y="10969"/>
                  </a:lnTo>
                  <a:lnTo>
                    <a:pt x="164920" y="94043"/>
                  </a:lnTo>
                  <a:cubicBezTo>
                    <a:pt x="183499" y="68769"/>
                    <a:pt x="206103" y="46718"/>
                    <a:pt x="231829" y="28771"/>
                  </a:cubicBezTo>
                  <a:cubicBezTo>
                    <a:pt x="261572" y="8781"/>
                    <a:pt x="296894" y="-1249"/>
                    <a:pt x="332704" y="124"/>
                  </a:cubicBezTo>
                  <a:cubicBezTo>
                    <a:pt x="361901" y="-193"/>
                    <a:pt x="390815" y="5883"/>
                    <a:pt x="417415" y="17926"/>
                  </a:cubicBezTo>
                  <a:cubicBezTo>
                    <a:pt x="443433" y="30220"/>
                    <a:pt x="466209" y="48440"/>
                    <a:pt x="483914" y="71126"/>
                  </a:cubicBezTo>
                  <a:cubicBezTo>
                    <a:pt x="503805" y="97618"/>
                    <a:pt x="518395" y="127701"/>
                    <a:pt x="526884" y="159724"/>
                  </a:cubicBezTo>
                  <a:cubicBezTo>
                    <a:pt x="547071" y="240740"/>
                    <a:pt x="547071" y="325473"/>
                    <a:pt x="526884" y="406489"/>
                  </a:cubicBezTo>
                  <a:cubicBezTo>
                    <a:pt x="518194" y="438427"/>
                    <a:pt x="503393" y="468376"/>
                    <a:pt x="483301" y="494678"/>
                  </a:cubicBezTo>
                  <a:cubicBezTo>
                    <a:pt x="465589" y="517370"/>
                    <a:pt x="442626" y="535417"/>
                    <a:pt x="416391" y="547264"/>
                  </a:cubicBezTo>
                  <a:cubicBezTo>
                    <a:pt x="389214" y="559016"/>
                    <a:pt x="359855" y="564874"/>
                    <a:pt x="330248" y="564452"/>
                  </a:cubicBezTo>
                  <a:cubicBezTo>
                    <a:pt x="297617" y="565300"/>
                    <a:pt x="265200" y="558943"/>
                    <a:pt x="235307" y="545832"/>
                  </a:cubicBezTo>
                  <a:cubicBezTo>
                    <a:pt x="208319" y="533047"/>
                    <a:pt x="184334" y="514709"/>
                    <a:pt x="164920" y="492018"/>
                  </a:cubicBezTo>
                  <a:lnTo>
                    <a:pt x="164920" y="761292"/>
                  </a:lnTo>
                  <a:close/>
                  <a:moveTo>
                    <a:pt x="274389" y="441069"/>
                  </a:moveTo>
                  <a:cubicBezTo>
                    <a:pt x="305816" y="442816"/>
                    <a:pt x="335643" y="427077"/>
                    <a:pt x="351938" y="400146"/>
                  </a:cubicBezTo>
                  <a:cubicBezTo>
                    <a:pt x="371108" y="364681"/>
                    <a:pt x="380035" y="324583"/>
                    <a:pt x="377719" y="284334"/>
                  </a:cubicBezTo>
                  <a:cubicBezTo>
                    <a:pt x="379645" y="246543"/>
                    <a:pt x="370925" y="208969"/>
                    <a:pt x="352551" y="175888"/>
                  </a:cubicBezTo>
                  <a:cubicBezTo>
                    <a:pt x="335064" y="148988"/>
                    <a:pt x="304346" y="133707"/>
                    <a:pt x="272342" y="135989"/>
                  </a:cubicBezTo>
                  <a:cubicBezTo>
                    <a:pt x="251364" y="135840"/>
                    <a:pt x="230754" y="141506"/>
                    <a:pt x="212799" y="152358"/>
                  </a:cubicBezTo>
                  <a:cubicBezTo>
                    <a:pt x="195410" y="162735"/>
                    <a:pt x="179334" y="175170"/>
                    <a:pt x="164920" y="189393"/>
                  </a:cubicBezTo>
                  <a:lnTo>
                    <a:pt x="164920" y="390734"/>
                  </a:lnTo>
                  <a:cubicBezTo>
                    <a:pt x="180009" y="405897"/>
                    <a:pt x="197328" y="418663"/>
                    <a:pt x="216278" y="428588"/>
                  </a:cubicBezTo>
                  <a:cubicBezTo>
                    <a:pt x="234399" y="437254"/>
                    <a:pt x="254307" y="441530"/>
                    <a:pt x="274389" y="441069"/>
                  </a:cubicBezTo>
                  <a:close/>
                </a:path>
              </a:pathLst>
            </a:custGeom>
            <a:grpFill/>
            <a:ln w="204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4959A7EF-607D-2CD5-0004-E4A52D2C6D36}"/>
                </a:ext>
              </a:extLst>
            </p:cNvPr>
            <p:cNvSpPr/>
            <p:nvPr/>
          </p:nvSpPr>
          <p:spPr>
            <a:xfrm>
              <a:off x="7003262" y="3155714"/>
              <a:ext cx="542023" cy="761291"/>
            </a:xfrm>
            <a:custGeom>
              <a:avLst/>
              <a:gdLst>
                <a:gd name="connsiteX0" fmla="*/ 0 w 542023"/>
                <a:gd name="connsiteY0" fmla="*/ 761292 h 761291"/>
                <a:gd name="connsiteX1" fmla="*/ 0 w 542023"/>
                <a:gd name="connsiteY1" fmla="*/ 10969 h 761291"/>
                <a:gd name="connsiteX2" fmla="*/ 164920 w 542023"/>
                <a:gd name="connsiteY2" fmla="*/ 10969 h 761291"/>
                <a:gd name="connsiteX3" fmla="*/ 164920 w 542023"/>
                <a:gd name="connsiteY3" fmla="*/ 94043 h 761291"/>
                <a:gd name="connsiteX4" fmla="*/ 231828 w 542023"/>
                <a:gd name="connsiteY4" fmla="*/ 28771 h 761291"/>
                <a:gd name="connsiteX5" fmla="*/ 332703 w 542023"/>
                <a:gd name="connsiteY5" fmla="*/ 124 h 761291"/>
                <a:gd name="connsiteX6" fmla="*/ 417414 w 542023"/>
                <a:gd name="connsiteY6" fmla="*/ 17926 h 761291"/>
                <a:gd name="connsiteX7" fmla="*/ 483914 w 542023"/>
                <a:gd name="connsiteY7" fmla="*/ 71126 h 761291"/>
                <a:gd name="connsiteX8" fmla="*/ 526883 w 542023"/>
                <a:gd name="connsiteY8" fmla="*/ 159724 h 761291"/>
                <a:gd name="connsiteX9" fmla="*/ 526883 w 542023"/>
                <a:gd name="connsiteY9" fmla="*/ 406489 h 761291"/>
                <a:gd name="connsiteX10" fmla="*/ 483300 w 542023"/>
                <a:gd name="connsiteY10" fmla="*/ 494678 h 761291"/>
                <a:gd name="connsiteX11" fmla="*/ 416391 w 542023"/>
                <a:gd name="connsiteY11" fmla="*/ 547264 h 761291"/>
                <a:gd name="connsiteX12" fmla="*/ 330249 w 542023"/>
                <a:gd name="connsiteY12" fmla="*/ 564452 h 761291"/>
                <a:gd name="connsiteX13" fmla="*/ 235307 w 542023"/>
                <a:gd name="connsiteY13" fmla="*/ 545832 h 761291"/>
                <a:gd name="connsiteX14" fmla="*/ 164920 w 542023"/>
                <a:gd name="connsiteY14" fmla="*/ 492018 h 761291"/>
                <a:gd name="connsiteX15" fmla="*/ 164920 w 542023"/>
                <a:gd name="connsiteY15" fmla="*/ 761292 h 761291"/>
                <a:gd name="connsiteX16" fmla="*/ 274389 w 542023"/>
                <a:gd name="connsiteY16" fmla="*/ 441069 h 761291"/>
                <a:gd name="connsiteX17" fmla="*/ 351938 w 542023"/>
                <a:gd name="connsiteY17" fmla="*/ 400146 h 761291"/>
                <a:gd name="connsiteX18" fmla="*/ 377720 w 542023"/>
                <a:gd name="connsiteY18" fmla="*/ 284334 h 761291"/>
                <a:gd name="connsiteX19" fmla="*/ 352552 w 542023"/>
                <a:gd name="connsiteY19" fmla="*/ 175888 h 761291"/>
                <a:gd name="connsiteX20" fmla="*/ 272342 w 542023"/>
                <a:gd name="connsiteY20" fmla="*/ 135989 h 761291"/>
                <a:gd name="connsiteX21" fmla="*/ 212799 w 542023"/>
                <a:gd name="connsiteY21" fmla="*/ 152358 h 761291"/>
                <a:gd name="connsiteX22" fmla="*/ 164920 w 542023"/>
                <a:gd name="connsiteY22" fmla="*/ 189393 h 761291"/>
                <a:gd name="connsiteX23" fmla="*/ 164920 w 542023"/>
                <a:gd name="connsiteY23" fmla="*/ 390734 h 761291"/>
                <a:gd name="connsiteX24" fmla="*/ 216482 w 542023"/>
                <a:gd name="connsiteY24" fmla="*/ 428588 h 761291"/>
                <a:gd name="connsiteX25" fmla="*/ 274388 w 542023"/>
                <a:gd name="connsiteY25" fmla="*/ 441069 h 761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542023" h="761291">
                  <a:moveTo>
                    <a:pt x="0" y="761292"/>
                  </a:moveTo>
                  <a:lnTo>
                    <a:pt x="0" y="10969"/>
                  </a:lnTo>
                  <a:lnTo>
                    <a:pt x="164920" y="10969"/>
                  </a:lnTo>
                  <a:lnTo>
                    <a:pt x="164920" y="94043"/>
                  </a:lnTo>
                  <a:cubicBezTo>
                    <a:pt x="183498" y="68769"/>
                    <a:pt x="206102" y="46718"/>
                    <a:pt x="231828" y="28771"/>
                  </a:cubicBezTo>
                  <a:cubicBezTo>
                    <a:pt x="261572" y="8781"/>
                    <a:pt x="296893" y="-1249"/>
                    <a:pt x="332703" y="124"/>
                  </a:cubicBezTo>
                  <a:cubicBezTo>
                    <a:pt x="361901" y="-193"/>
                    <a:pt x="390814" y="5883"/>
                    <a:pt x="417414" y="17926"/>
                  </a:cubicBezTo>
                  <a:cubicBezTo>
                    <a:pt x="443433" y="30220"/>
                    <a:pt x="466209" y="48440"/>
                    <a:pt x="483914" y="71126"/>
                  </a:cubicBezTo>
                  <a:cubicBezTo>
                    <a:pt x="503805" y="97618"/>
                    <a:pt x="518395" y="127701"/>
                    <a:pt x="526883" y="159724"/>
                  </a:cubicBezTo>
                  <a:cubicBezTo>
                    <a:pt x="547071" y="240740"/>
                    <a:pt x="547071" y="325473"/>
                    <a:pt x="526883" y="406489"/>
                  </a:cubicBezTo>
                  <a:cubicBezTo>
                    <a:pt x="518194" y="438427"/>
                    <a:pt x="503393" y="468376"/>
                    <a:pt x="483300" y="494678"/>
                  </a:cubicBezTo>
                  <a:cubicBezTo>
                    <a:pt x="465588" y="517370"/>
                    <a:pt x="442626" y="535417"/>
                    <a:pt x="416391" y="547264"/>
                  </a:cubicBezTo>
                  <a:cubicBezTo>
                    <a:pt x="389214" y="559016"/>
                    <a:pt x="359854" y="564874"/>
                    <a:pt x="330249" y="564452"/>
                  </a:cubicBezTo>
                  <a:cubicBezTo>
                    <a:pt x="297618" y="565300"/>
                    <a:pt x="265201" y="558943"/>
                    <a:pt x="235307" y="545832"/>
                  </a:cubicBezTo>
                  <a:cubicBezTo>
                    <a:pt x="208319" y="533047"/>
                    <a:pt x="184334" y="514709"/>
                    <a:pt x="164920" y="492018"/>
                  </a:cubicBezTo>
                  <a:lnTo>
                    <a:pt x="164920" y="761292"/>
                  </a:lnTo>
                  <a:close/>
                  <a:moveTo>
                    <a:pt x="274389" y="441069"/>
                  </a:moveTo>
                  <a:cubicBezTo>
                    <a:pt x="305826" y="442862"/>
                    <a:pt x="335675" y="427111"/>
                    <a:pt x="351938" y="400146"/>
                  </a:cubicBezTo>
                  <a:cubicBezTo>
                    <a:pt x="371108" y="364681"/>
                    <a:pt x="380035" y="324583"/>
                    <a:pt x="377720" y="284334"/>
                  </a:cubicBezTo>
                  <a:cubicBezTo>
                    <a:pt x="379645" y="246543"/>
                    <a:pt x="370925" y="208969"/>
                    <a:pt x="352552" y="175888"/>
                  </a:cubicBezTo>
                  <a:cubicBezTo>
                    <a:pt x="335125" y="148920"/>
                    <a:pt x="304364" y="133617"/>
                    <a:pt x="272342" y="135989"/>
                  </a:cubicBezTo>
                  <a:cubicBezTo>
                    <a:pt x="251364" y="135840"/>
                    <a:pt x="230754" y="141506"/>
                    <a:pt x="212799" y="152358"/>
                  </a:cubicBezTo>
                  <a:cubicBezTo>
                    <a:pt x="195409" y="162735"/>
                    <a:pt x="179334" y="175170"/>
                    <a:pt x="164920" y="189393"/>
                  </a:cubicBezTo>
                  <a:lnTo>
                    <a:pt x="164920" y="390734"/>
                  </a:lnTo>
                  <a:cubicBezTo>
                    <a:pt x="180038" y="405952"/>
                    <a:pt x="197434" y="418723"/>
                    <a:pt x="216482" y="428588"/>
                  </a:cubicBezTo>
                  <a:cubicBezTo>
                    <a:pt x="234524" y="437274"/>
                    <a:pt x="254370" y="441552"/>
                    <a:pt x="274388" y="441069"/>
                  </a:cubicBezTo>
                  <a:close/>
                </a:path>
              </a:pathLst>
            </a:custGeom>
            <a:grpFill/>
            <a:ln w="204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884D0E97-FB69-6A5B-2B9B-5602DB428A2D}"/>
                </a:ext>
              </a:extLst>
            </p:cNvPr>
            <p:cNvSpPr/>
            <p:nvPr/>
          </p:nvSpPr>
          <p:spPr>
            <a:xfrm>
              <a:off x="7630611" y="2955112"/>
              <a:ext cx="513022" cy="757074"/>
            </a:xfrm>
            <a:custGeom>
              <a:avLst/>
              <a:gdLst>
                <a:gd name="connsiteX0" fmla="*/ 0 w 513022"/>
                <a:gd name="connsiteY0" fmla="*/ 757075 h 757074"/>
                <a:gd name="connsiteX1" fmla="*/ 0 w 513022"/>
                <a:gd name="connsiteY1" fmla="*/ 0 h 757074"/>
                <a:gd name="connsiteX2" fmla="*/ 164920 w 513022"/>
                <a:gd name="connsiteY2" fmla="*/ 0 h 757074"/>
                <a:gd name="connsiteX3" fmla="*/ 164920 w 513022"/>
                <a:gd name="connsiteY3" fmla="*/ 297510 h 757074"/>
                <a:gd name="connsiteX4" fmla="*/ 194384 w 513022"/>
                <a:gd name="connsiteY4" fmla="*/ 264567 h 757074"/>
                <a:gd name="connsiteX5" fmla="*/ 235307 w 513022"/>
                <a:gd name="connsiteY5" fmla="*/ 233465 h 757074"/>
                <a:gd name="connsiteX6" fmla="*/ 288097 w 513022"/>
                <a:gd name="connsiteY6" fmla="*/ 209935 h 757074"/>
                <a:gd name="connsiteX7" fmla="*/ 352756 w 513022"/>
                <a:gd name="connsiteY7" fmla="*/ 200727 h 757074"/>
                <a:gd name="connsiteX8" fmla="*/ 416800 w 513022"/>
                <a:gd name="connsiteY8" fmla="*/ 209935 h 757074"/>
                <a:gd name="connsiteX9" fmla="*/ 467545 w 513022"/>
                <a:gd name="connsiteY9" fmla="*/ 238172 h 757074"/>
                <a:gd name="connsiteX10" fmla="*/ 501306 w 513022"/>
                <a:gd name="connsiteY10" fmla="*/ 287074 h 757074"/>
                <a:gd name="connsiteX11" fmla="*/ 512970 w 513022"/>
                <a:gd name="connsiteY11" fmla="*/ 358894 h 757074"/>
                <a:gd name="connsiteX12" fmla="*/ 512970 w 513022"/>
                <a:gd name="connsiteY12" fmla="*/ 757075 h 757074"/>
                <a:gd name="connsiteX13" fmla="*/ 348050 w 513022"/>
                <a:gd name="connsiteY13" fmla="*/ 757075 h 757074"/>
                <a:gd name="connsiteX14" fmla="*/ 348050 w 513022"/>
                <a:gd name="connsiteY14" fmla="*/ 412503 h 757074"/>
                <a:gd name="connsiteX15" fmla="*/ 333318 w 513022"/>
                <a:gd name="connsiteY15" fmla="*/ 356439 h 757074"/>
                <a:gd name="connsiteX16" fmla="*/ 284619 w 513022"/>
                <a:gd name="connsiteY16" fmla="*/ 337615 h 757074"/>
                <a:gd name="connsiteX17" fmla="*/ 222007 w 513022"/>
                <a:gd name="connsiteY17" fmla="*/ 352961 h 757074"/>
                <a:gd name="connsiteX18" fmla="*/ 164920 w 513022"/>
                <a:gd name="connsiteY18" fmla="*/ 392042 h 757074"/>
                <a:gd name="connsiteX19" fmla="*/ 164920 w 513022"/>
                <a:gd name="connsiteY19" fmla="*/ 757075 h 7570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513022" h="757074">
                  <a:moveTo>
                    <a:pt x="0" y="757075"/>
                  </a:moveTo>
                  <a:lnTo>
                    <a:pt x="0" y="0"/>
                  </a:lnTo>
                  <a:lnTo>
                    <a:pt x="164920" y="0"/>
                  </a:lnTo>
                  <a:lnTo>
                    <a:pt x="164920" y="297510"/>
                  </a:lnTo>
                  <a:cubicBezTo>
                    <a:pt x="173853" y="285766"/>
                    <a:pt x="183705" y="274750"/>
                    <a:pt x="194384" y="264567"/>
                  </a:cubicBezTo>
                  <a:cubicBezTo>
                    <a:pt x="206785" y="252663"/>
                    <a:pt x="220517" y="242227"/>
                    <a:pt x="235307" y="233465"/>
                  </a:cubicBezTo>
                  <a:cubicBezTo>
                    <a:pt x="251848" y="223439"/>
                    <a:pt x="269584" y="215533"/>
                    <a:pt x="288097" y="209935"/>
                  </a:cubicBezTo>
                  <a:cubicBezTo>
                    <a:pt x="309051" y="203569"/>
                    <a:pt x="330858" y="200464"/>
                    <a:pt x="352756" y="200727"/>
                  </a:cubicBezTo>
                  <a:cubicBezTo>
                    <a:pt x="374450" y="200494"/>
                    <a:pt x="396050" y="203600"/>
                    <a:pt x="416800" y="209935"/>
                  </a:cubicBezTo>
                  <a:cubicBezTo>
                    <a:pt x="435540" y="215609"/>
                    <a:pt x="452844" y="225238"/>
                    <a:pt x="467545" y="238172"/>
                  </a:cubicBezTo>
                  <a:cubicBezTo>
                    <a:pt x="482536" y="251549"/>
                    <a:pt x="494111" y="268316"/>
                    <a:pt x="501306" y="287074"/>
                  </a:cubicBezTo>
                  <a:cubicBezTo>
                    <a:pt x="509582" y="310092"/>
                    <a:pt x="513536" y="334441"/>
                    <a:pt x="512970" y="358894"/>
                  </a:cubicBezTo>
                  <a:lnTo>
                    <a:pt x="512970" y="757075"/>
                  </a:lnTo>
                  <a:lnTo>
                    <a:pt x="348050" y="757075"/>
                  </a:lnTo>
                  <a:lnTo>
                    <a:pt x="348050" y="412503"/>
                  </a:lnTo>
                  <a:cubicBezTo>
                    <a:pt x="349439" y="392704"/>
                    <a:pt x="344261" y="372998"/>
                    <a:pt x="333318" y="356439"/>
                  </a:cubicBezTo>
                  <a:cubicBezTo>
                    <a:pt x="320958" y="342842"/>
                    <a:pt x="302912" y="335866"/>
                    <a:pt x="284619" y="337615"/>
                  </a:cubicBezTo>
                  <a:cubicBezTo>
                    <a:pt x="262803" y="337493"/>
                    <a:pt x="241295" y="342764"/>
                    <a:pt x="222007" y="352961"/>
                  </a:cubicBezTo>
                  <a:cubicBezTo>
                    <a:pt x="201588" y="363831"/>
                    <a:pt x="182441" y="376939"/>
                    <a:pt x="164920" y="392042"/>
                  </a:cubicBezTo>
                  <a:lnTo>
                    <a:pt x="164920" y="757075"/>
                  </a:lnTo>
                  <a:close/>
                </a:path>
              </a:pathLst>
            </a:custGeom>
            <a:grpFill/>
            <a:ln w="204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D736FA8B-6B55-465F-B4FD-04B6FBB8363B}"/>
                </a:ext>
              </a:extLst>
            </p:cNvPr>
            <p:cNvSpPr/>
            <p:nvPr/>
          </p:nvSpPr>
          <p:spPr>
            <a:xfrm>
              <a:off x="8250594" y="2960432"/>
              <a:ext cx="165738" cy="751754"/>
            </a:xfrm>
            <a:custGeom>
              <a:avLst/>
              <a:gdLst>
                <a:gd name="connsiteX0" fmla="*/ 0 w 165738"/>
                <a:gd name="connsiteY0" fmla="*/ 131772 h 751754"/>
                <a:gd name="connsiteX1" fmla="*/ 0 w 165738"/>
                <a:gd name="connsiteY1" fmla="*/ 0 h 751754"/>
                <a:gd name="connsiteX2" fmla="*/ 165738 w 165738"/>
                <a:gd name="connsiteY2" fmla="*/ 0 h 751754"/>
                <a:gd name="connsiteX3" fmla="*/ 165738 w 165738"/>
                <a:gd name="connsiteY3" fmla="*/ 131772 h 751754"/>
                <a:gd name="connsiteX4" fmla="*/ 1023 w 165738"/>
                <a:gd name="connsiteY4" fmla="*/ 751755 h 751754"/>
                <a:gd name="connsiteX5" fmla="*/ 1023 w 165738"/>
                <a:gd name="connsiteY5" fmla="*/ 206252 h 751754"/>
                <a:gd name="connsiteX6" fmla="*/ 164715 w 165738"/>
                <a:gd name="connsiteY6" fmla="*/ 206252 h 751754"/>
                <a:gd name="connsiteX7" fmla="*/ 164715 w 165738"/>
                <a:gd name="connsiteY7" fmla="*/ 751755 h 751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5738" h="751754">
                  <a:moveTo>
                    <a:pt x="0" y="131772"/>
                  </a:moveTo>
                  <a:lnTo>
                    <a:pt x="0" y="0"/>
                  </a:lnTo>
                  <a:lnTo>
                    <a:pt x="165738" y="0"/>
                  </a:lnTo>
                  <a:lnTo>
                    <a:pt x="165738" y="131772"/>
                  </a:lnTo>
                  <a:close/>
                  <a:moveTo>
                    <a:pt x="1023" y="751755"/>
                  </a:moveTo>
                  <a:lnTo>
                    <a:pt x="1023" y="206252"/>
                  </a:lnTo>
                  <a:lnTo>
                    <a:pt x="164715" y="206252"/>
                  </a:lnTo>
                  <a:lnTo>
                    <a:pt x="164715" y="751755"/>
                  </a:lnTo>
                  <a:close/>
                </a:path>
              </a:pathLst>
            </a:custGeom>
            <a:grpFill/>
            <a:ln w="204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BD72A53A-5634-FE5C-179E-78CE10A6D581}"/>
                </a:ext>
              </a:extLst>
            </p:cNvPr>
            <p:cNvSpPr/>
            <p:nvPr/>
          </p:nvSpPr>
          <p:spPr>
            <a:xfrm>
              <a:off x="8532144" y="3155795"/>
              <a:ext cx="355620" cy="556391"/>
            </a:xfrm>
            <a:custGeom>
              <a:avLst/>
              <a:gdLst>
                <a:gd name="connsiteX0" fmla="*/ 0 w 355620"/>
                <a:gd name="connsiteY0" fmla="*/ 556391 h 556391"/>
                <a:gd name="connsiteX1" fmla="*/ 0 w 355620"/>
                <a:gd name="connsiteY1" fmla="*/ 10888 h 556391"/>
                <a:gd name="connsiteX2" fmla="*/ 164920 w 355620"/>
                <a:gd name="connsiteY2" fmla="*/ 10888 h 556391"/>
                <a:gd name="connsiteX3" fmla="*/ 164920 w 355620"/>
                <a:gd name="connsiteY3" fmla="*/ 102351 h 556391"/>
                <a:gd name="connsiteX4" fmla="*/ 165943 w 355620"/>
                <a:gd name="connsiteY4" fmla="*/ 102351 h 556391"/>
                <a:gd name="connsiteX5" fmla="*/ 193156 w 355620"/>
                <a:gd name="connsiteY5" fmla="*/ 66953 h 556391"/>
                <a:gd name="connsiteX6" fmla="*/ 231215 w 355620"/>
                <a:gd name="connsiteY6" fmla="*/ 34214 h 556391"/>
                <a:gd name="connsiteX7" fmla="*/ 282368 w 355620"/>
                <a:gd name="connsiteY7" fmla="*/ 9660 h 556391"/>
                <a:gd name="connsiteX8" fmla="*/ 350096 w 355620"/>
                <a:gd name="connsiteY8" fmla="*/ 44 h 556391"/>
                <a:gd name="connsiteX9" fmla="*/ 355621 w 355620"/>
                <a:gd name="connsiteY9" fmla="*/ 44 h 556391"/>
                <a:gd name="connsiteX10" fmla="*/ 353165 w 355620"/>
                <a:gd name="connsiteY10" fmla="*/ 146343 h 556391"/>
                <a:gd name="connsiteX11" fmla="*/ 332704 w 355620"/>
                <a:gd name="connsiteY11" fmla="*/ 144297 h 556391"/>
                <a:gd name="connsiteX12" fmla="*/ 309582 w 355620"/>
                <a:gd name="connsiteY12" fmla="*/ 144297 h 556391"/>
                <a:gd name="connsiteX13" fmla="*/ 224258 w 355620"/>
                <a:gd name="connsiteY13" fmla="*/ 166805 h 556391"/>
                <a:gd name="connsiteX14" fmla="*/ 164715 w 355620"/>
                <a:gd name="connsiteY14" fmla="*/ 218777 h 556391"/>
                <a:gd name="connsiteX15" fmla="*/ 164715 w 355620"/>
                <a:gd name="connsiteY15" fmla="*/ 556391 h 556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55620" h="556391">
                  <a:moveTo>
                    <a:pt x="0" y="556391"/>
                  </a:moveTo>
                  <a:lnTo>
                    <a:pt x="0" y="10888"/>
                  </a:lnTo>
                  <a:lnTo>
                    <a:pt x="164920" y="10888"/>
                  </a:lnTo>
                  <a:lnTo>
                    <a:pt x="164920" y="102351"/>
                  </a:lnTo>
                  <a:lnTo>
                    <a:pt x="165943" y="102351"/>
                  </a:lnTo>
                  <a:cubicBezTo>
                    <a:pt x="173933" y="89758"/>
                    <a:pt x="183041" y="77911"/>
                    <a:pt x="193156" y="66953"/>
                  </a:cubicBezTo>
                  <a:cubicBezTo>
                    <a:pt x="204408" y="54475"/>
                    <a:pt x="217195" y="43474"/>
                    <a:pt x="231215" y="34214"/>
                  </a:cubicBezTo>
                  <a:cubicBezTo>
                    <a:pt x="247111" y="23815"/>
                    <a:pt x="264311" y="15559"/>
                    <a:pt x="282368" y="9660"/>
                  </a:cubicBezTo>
                  <a:cubicBezTo>
                    <a:pt x="304278" y="2827"/>
                    <a:pt x="327149" y="-421"/>
                    <a:pt x="350096" y="44"/>
                  </a:cubicBezTo>
                  <a:lnTo>
                    <a:pt x="355621" y="44"/>
                  </a:lnTo>
                  <a:lnTo>
                    <a:pt x="353165" y="146343"/>
                  </a:lnTo>
                  <a:cubicBezTo>
                    <a:pt x="346386" y="145298"/>
                    <a:pt x="339556" y="144615"/>
                    <a:pt x="332704" y="144297"/>
                  </a:cubicBezTo>
                  <a:cubicBezTo>
                    <a:pt x="322882" y="144297"/>
                    <a:pt x="315107" y="144297"/>
                    <a:pt x="309582" y="144297"/>
                  </a:cubicBezTo>
                  <a:cubicBezTo>
                    <a:pt x="279590" y="143620"/>
                    <a:pt x="250014" y="151422"/>
                    <a:pt x="224258" y="166805"/>
                  </a:cubicBezTo>
                  <a:cubicBezTo>
                    <a:pt x="201575" y="180583"/>
                    <a:pt x="181433" y="198164"/>
                    <a:pt x="164715" y="218777"/>
                  </a:cubicBezTo>
                  <a:lnTo>
                    <a:pt x="164715" y="556391"/>
                  </a:lnTo>
                  <a:close/>
                </a:path>
              </a:pathLst>
            </a:custGeom>
            <a:grpFill/>
            <a:ln w="204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C571C422-CA2D-C99C-B46E-FE051FDEDBAE}"/>
                </a:ext>
              </a:extLst>
            </p:cNvPr>
            <p:cNvSpPr/>
            <p:nvPr/>
          </p:nvSpPr>
          <p:spPr>
            <a:xfrm>
              <a:off x="8912191" y="3156248"/>
              <a:ext cx="524991" cy="567569"/>
            </a:xfrm>
            <a:custGeom>
              <a:avLst/>
              <a:gdLst>
                <a:gd name="connsiteX0" fmla="*/ 278404 w 524991"/>
                <a:gd name="connsiteY0" fmla="*/ 567397 h 567569"/>
                <a:gd name="connsiteX1" fmla="*/ 174868 w 524991"/>
                <a:gd name="connsiteY1" fmla="*/ 552460 h 567569"/>
                <a:gd name="connsiteX2" fmla="*/ 23658 w 524991"/>
                <a:gd name="connsiteY2" fmla="*/ 415982 h 567569"/>
                <a:gd name="connsiteX3" fmla="*/ 127 w 524991"/>
                <a:gd name="connsiteY3" fmla="*/ 282982 h 567569"/>
                <a:gd name="connsiteX4" fmla="*/ 27136 w 524991"/>
                <a:gd name="connsiteY4" fmla="*/ 149983 h 567569"/>
                <a:gd name="connsiteX5" fmla="*/ 95069 w 524991"/>
                <a:gd name="connsiteY5" fmla="*/ 62612 h 567569"/>
                <a:gd name="connsiteX6" fmla="*/ 184076 w 524991"/>
                <a:gd name="connsiteY6" fmla="*/ 14732 h 567569"/>
                <a:gd name="connsiteX7" fmla="*/ 273903 w 524991"/>
                <a:gd name="connsiteY7" fmla="*/ 0 h 567569"/>
                <a:gd name="connsiteX8" fmla="*/ 360659 w 524991"/>
                <a:gd name="connsiteY8" fmla="*/ 12686 h 567569"/>
                <a:gd name="connsiteX9" fmla="*/ 441482 w 524991"/>
                <a:gd name="connsiteY9" fmla="*/ 59134 h 567569"/>
                <a:gd name="connsiteX10" fmla="*/ 501230 w 524991"/>
                <a:gd name="connsiteY10" fmla="*/ 151824 h 567569"/>
                <a:gd name="connsiteX11" fmla="*/ 524761 w 524991"/>
                <a:gd name="connsiteY11" fmla="*/ 303648 h 567569"/>
                <a:gd name="connsiteX12" fmla="*/ 524760 w 524991"/>
                <a:gd name="connsiteY12" fmla="*/ 328202 h 567569"/>
                <a:gd name="connsiteX13" fmla="*/ 163615 w 524991"/>
                <a:gd name="connsiteY13" fmla="*/ 328202 h 567569"/>
                <a:gd name="connsiteX14" fmla="*/ 204538 w 524991"/>
                <a:gd name="connsiteY14" fmla="*/ 424371 h 567569"/>
                <a:gd name="connsiteX15" fmla="*/ 290681 w 524991"/>
                <a:gd name="connsiteY15" fmla="*/ 453017 h 567569"/>
                <a:gd name="connsiteX16" fmla="*/ 382143 w 524991"/>
                <a:gd name="connsiteY16" fmla="*/ 432556 h 567569"/>
                <a:gd name="connsiteX17" fmla="*/ 452531 w 524991"/>
                <a:gd name="connsiteY17" fmla="*/ 387131 h 567569"/>
                <a:gd name="connsiteX18" fmla="*/ 515962 w 524991"/>
                <a:gd name="connsiteY18" fmla="*/ 485551 h 567569"/>
                <a:gd name="connsiteX19" fmla="*/ 278404 w 524991"/>
                <a:gd name="connsiteY19" fmla="*/ 567397 h 567569"/>
                <a:gd name="connsiteX20" fmla="*/ 377437 w 524991"/>
                <a:gd name="connsiteY20" fmla="*/ 231829 h 567569"/>
                <a:gd name="connsiteX21" fmla="*/ 272879 w 524991"/>
                <a:gd name="connsiteY21" fmla="*/ 117858 h 567569"/>
                <a:gd name="connsiteX22" fmla="*/ 204743 w 524991"/>
                <a:gd name="connsiteY22" fmla="*/ 144663 h 567569"/>
                <a:gd name="connsiteX23" fmla="*/ 165456 w 524991"/>
                <a:gd name="connsiteY23" fmla="*/ 231829 h 567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24991" h="567569">
                  <a:moveTo>
                    <a:pt x="278404" y="567397"/>
                  </a:moveTo>
                  <a:cubicBezTo>
                    <a:pt x="243346" y="567516"/>
                    <a:pt x="208462" y="562483"/>
                    <a:pt x="174868" y="552460"/>
                  </a:cubicBezTo>
                  <a:cubicBezTo>
                    <a:pt x="105953" y="533013"/>
                    <a:pt x="50043" y="482550"/>
                    <a:pt x="23658" y="415982"/>
                  </a:cubicBezTo>
                  <a:cubicBezTo>
                    <a:pt x="6881" y="373702"/>
                    <a:pt x="-1125" y="328452"/>
                    <a:pt x="127" y="282982"/>
                  </a:cubicBezTo>
                  <a:cubicBezTo>
                    <a:pt x="-1170" y="237166"/>
                    <a:pt x="8070" y="191663"/>
                    <a:pt x="27136" y="149983"/>
                  </a:cubicBezTo>
                  <a:cubicBezTo>
                    <a:pt x="43271" y="116336"/>
                    <a:pt x="66437" y="86542"/>
                    <a:pt x="95069" y="62612"/>
                  </a:cubicBezTo>
                  <a:cubicBezTo>
                    <a:pt x="121406" y="41111"/>
                    <a:pt x="151620" y="24857"/>
                    <a:pt x="184076" y="14732"/>
                  </a:cubicBezTo>
                  <a:cubicBezTo>
                    <a:pt x="213119" y="5384"/>
                    <a:pt x="243395" y="419"/>
                    <a:pt x="273903" y="0"/>
                  </a:cubicBezTo>
                  <a:cubicBezTo>
                    <a:pt x="303274" y="130"/>
                    <a:pt x="332480" y="4401"/>
                    <a:pt x="360659" y="12686"/>
                  </a:cubicBezTo>
                  <a:cubicBezTo>
                    <a:pt x="390965" y="21391"/>
                    <a:pt x="418702" y="37331"/>
                    <a:pt x="441482" y="59134"/>
                  </a:cubicBezTo>
                  <a:cubicBezTo>
                    <a:pt x="468038" y="85207"/>
                    <a:pt x="488448" y="116872"/>
                    <a:pt x="501230" y="151824"/>
                  </a:cubicBezTo>
                  <a:cubicBezTo>
                    <a:pt x="518508" y="200513"/>
                    <a:pt x="526489" y="252014"/>
                    <a:pt x="524761" y="303648"/>
                  </a:cubicBezTo>
                  <a:lnTo>
                    <a:pt x="524760" y="328202"/>
                  </a:lnTo>
                  <a:lnTo>
                    <a:pt x="163615" y="328202"/>
                  </a:lnTo>
                  <a:cubicBezTo>
                    <a:pt x="167844" y="372945"/>
                    <a:pt x="181484" y="405001"/>
                    <a:pt x="204538" y="424371"/>
                  </a:cubicBezTo>
                  <a:cubicBezTo>
                    <a:pt x="228874" y="443967"/>
                    <a:pt x="259456" y="454137"/>
                    <a:pt x="290681" y="453017"/>
                  </a:cubicBezTo>
                  <a:cubicBezTo>
                    <a:pt x="322308" y="453058"/>
                    <a:pt x="353549" y="446069"/>
                    <a:pt x="382143" y="432556"/>
                  </a:cubicBezTo>
                  <a:cubicBezTo>
                    <a:pt x="407735" y="421001"/>
                    <a:pt x="431459" y="405691"/>
                    <a:pt x="452531" y="387131"/>
                  </a:cubicBezTo>
                  <a:lnTo>
                    <a:pt x="515962" y="485551"/>
                  </a:lnTo>
                  <a:cubicBezTo>
                    <a:pt x="449457" y="540981"/>
                    <a:pt x="364937" y="570101"/>
                    <a:pt x="278404" y="567397"/>
                  </a:cubicBezTo>
                  <a:close/>
                  <a:moveTo>
                    <a:pt x="377437" y="231829"/>
                  </a:moveTo>
                  <a:cubicBezTo>
                    <a:pt x="369457" y="155916"/>
                    <a:pt x="334468" y="117858"/>
                    <a:pt x="272879" y="117858"/>
                  </a:cubicBezTo>
                  <a:cubicBezTo>
                    <a:pt x="247581" y="117781"/>
                    <a:pt x="223208" y="127369"/>
                    <a:pt x="204743" y="144663"/>
                  </a:cubicBezTo>
                  <a:cubicBezTo>
                    <a:pt x="182050" y="168361"/>
                    <a:pt x="168181" y="199131"/>
                    <a:pt x="165456" y="231829"/>
                  </a:cubicBezTo>
                  <a:close/>
                </a:path>
              </a:pathLst>
            </a:custGeom>
            <a:grpFill/>
            <a:ln w="204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3" name="Graphic 2">
            <a:extLst>
              <a:ext uri="{FF2B5EF4-FFF2-40B4-BE49-F238E27FC236}">
                <a16:creationId xmlns:a16="http://schemas.microsoft.com/office/drawing/2014/main" id="{8149D27D-25E3-643C-0E04-AB15D69A5DF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941180" y="6219255"/>
            <a:ext cx="718164" cy="3434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671825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in Title Slide with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59475E4-F250-91E0-BB72-F27930DDEA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/>
          <a:stretch/>
        </p:blipFill>
        <p:spPr>
          <a:xfrm>
            <a:off x="0" y="-1"/>
            <a:ext cx="12192000" cy="3427445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4200" y="4058301"/>
            <a:ext cx="9144000" cy="553998"/>
          </a:xfrm>
          <a:noFill/>
        </p:spPr>
        <p:txBody>
          <a:bodyPr anchor="t" anchorCtr="0">
            <a:noAutofit/>
          </a:bodyPr>
          <a:lstStyle>
            <a:lvl1pPr>
              <a:defRPr sz="3600" b="0" i="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0" scaled="1"/>
                </a:gradFill>
                <a:latin typeface="72" panose="020B0503030000000003" pitchFamily="34" charset="0"/>
                <a:cs typeface="72" panose="020B05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4200" y="5103881"/>
            <a:ext cx="9144000" cy="338554"/>
          </a:xfrm>
          <a:noFill/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="0" i="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0" scaled="1"/>
                </a:gradFill>
                <a:latin typeface="72" panose="020B0503030000000003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  <a:br>
              <a:rPr lang="en-US"/>
            </a:br>
            <a:endParaRPr lang="en-US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1D7C6100-A398-4EE7-94CC-C67D14D1DF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941180" y="6219255"/>
            <a:ext cx="718164" cy="343470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0E079EBE-5B45-4D74-948C-D1D11FEF557D}"/>
              </a:ext>
            </a:extLst>
          </p:cNvPr>
          <p:cNvGrpSpPr/>
          <p:nvPr userDrawn="1"/>
        </p:nvGrpSpPr>
        <p:grpSpPr>
          <a:xfrm rot="5400000">
            <a:off x="9612314" y="2620254"/>
            <a:ext cx="6858001" cy="1617496"/>
            <a:chOff x="877887" y="-2293771"/>
            <a:chExt cx="6858001" cy="1617496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05FD9E93-11C1-45CE-8416-3F93AF600702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F75A8FAA-9235-4B84-941E-D3A4C0BE5AE6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 b="1">
                    <a:gradFill>
                      <a:gsLst>
                        <a:gs pos="0">
                          <a:schemeClr val="bg1"/>
                        </a:gs>
                        <a:gs pos="100000">
                          <a:schemeClr val="bg1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>
                    <a:gradFill>
                      <a:gsLst>
                        <a:gs pos="0">
                          <a:schemeClr val="bg1"/>
                        </a:gs>
                        <a:gs pos="100000">
                          <a:schemeClr val="bg1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DF0A577D-9F60-4D0E-90A8-4AFDCBD96125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 b="1">
                    <a:gradFill>
                      <a:gsLst>
                        <a:gs pos="0">
                          <a:schemeClr val="bg1"/>
                        </a:gs>
                        <a:gs pos="100000">
                          <a:schemeClr val="bg1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>
                    <a:gradFill>
                      <a:gsLst>
                        <a:gs pos="0">
                          <a:schemeClr val="bg1"/>
                        </a:gs>
                        <a:gs pos="100000">
                          <a:schemeClr val="bg1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DD5B9740-4DFB-415E-8AEA-5FD72AC9461B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 b="1">
                    <a:gradFill>
                      <a:gsLst>
                        <a:gs pos="0">
                          <a:schemeClr val="bg1"/>
                        </a:gs>
                        <a:gs pos="100000">
                          <a:schemeClr val="bg1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>
                    <a:gradFill>
                      <a:gsLst>
                        <a:gs pos="0">
                          <a:schemeClr val="bg1"/>
                        </a:gs>
                        <a:gs pos="100000">
                          <a:schemeClr val="bg1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37FFCF61-298C-46D7-B8BB-9071D9772841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 b="1">
                    <a:gradFill>
                      <a:gsLst>
                        <a:gs pos="0">
                          <a:schemeClr val="bg1"/>
                        </a:gs>
                        <a:gs pos="100000">
                          <a:schemeClr val="bg1"/>
                        </a:gs>
                      </a:gsLst>
                      <a:lin ang="5400000" scaled="1"/>
                    </a:gradFill>
                    <a:cs typeface="Segoe UI" pitchFamily="34" charset="0"/>
                  </a:rPr>
                  <a:t>Green</a:t>
                </a:r>
                <a:r>
                  <a:rPr lang="en-US" sz="800" b="1">
                    <a:gradFill>
                      <a:gsLst>
                        <a:gs pos="0">
                          <a:schemeClr val="bg1"/>
                        </a:gs>
                        <a:gs pos="100000">
                          <a:schemeClr val="bg1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>
                    <a:gradFill>
                      <a:gsLst>
                        <a:gs pos="0">
                          <a:schemeClr val="bg1"/>
                        </a:gs>
                        <a:gs pos="100000">
                          <a:schemeClr val="bg1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988A5B33-61D6-4D35-B71E-88EA3E7D7E4C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 b="1">
                    <a:gradFill>
                      <a:gsLst>
                        <a:gs pos="0">
                          <a:schemeClr val="bg1"/>
                        </a:gs>
                        <a:gs pos="100000">
                          <a:schemeClr val="bg1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>
                    <a:gradFill>
                      <a:gsLst>
                        <a:gs pos="0">
                          <a:schemeClr val="bg1"/>
                        </a:gs>
                        <a:gs pos="100000">
                          <a:schemeClr val="bg1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C35500</a:t>
                </a:r>
                <a:endParaRPr lang="en-US" sz="800" b="1">
                  <a:gradFill>
                    <a:gsLst>
                      <a:gs pos="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1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132B27F8-C98D-48C3-8E7C-F035285A797D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 b="1">
                    <a:gradFill>
                      <a:gsLst>
                        <a:gs pos="0">
                          <a:schemeClr val="bg1"/>
                        </a:gs>
                        <a:gs pos="100000">
                          <a:schemeClr val="bg1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defTabSz="932472"/>
                <a:r>
                  <a:rPr lang="en-US" sz="800">
                    <a:gradFill>
                      <a:gsLst>
                        <a:gs pos="0">
                          <a:schemeClr val="bg1"/>
                        </a:gs>
                        <a:gs pos="100000">
                          <a:schemeClr val="bg1"/>
                        </a:gs>
                      </a:gsLst>
                      <a:lin ang="5400000" scaled="1"/>
                    </a:gradFill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A63E277F-BA7E-449B-AAD2-42FFD9285B51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 b="1">
                    <a:gradFill>
                      <a:gsLst>
                        <a:gs pos="0">
                          <a:schemeClr val="bg1"/>
                        </a:gs>
                        <a:gs pos="100000">
                          <a:schemeClr val="bg1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>
                    <a:gradFill>
                      <a:gsLst>
                        <a:gs pos="0">
                          <a:schemeClr val="bg1"/>
                        </a:gs>
                        <a:gs pos="100000">
                          <a:schemeClr val="bg1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id="{10AF24F2-915C-4D6B-8603-D0E26B3EDD25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 b="1">
                    <a:gradFill>
                      <a:gsLst>
                        <a:gs pos="0">
                          <a:schemeClr val="bg1"/>
                        </a:gs>
                        <a:gs pos="100000">
                          <a:schemeClr val="bg1"/>
                        </a:gs>
                      </a:gsLst>
                      <a:lin ang="5400000" scaled="1"/>
                    </a:gradFill>
                    <a:cs typeface="Segoe UI" pitchFamily="34" charset="0"/>
                  </a:rPr>
                  <a:t>Indigo</a:t>
                </a:r>
                <a:r>
                  <a:rPr lang="en-US" sz="800" b="1">
                    <a:gradFill>
                      <a:gsLst>
                        <a:gs pos="0">
                          <a:schemeClr val="bg1"/>
                        </a:gs>
                        <a:gs pos="100000">
                          <a:schemeClr val="bg1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>
                    <a:gradFill>
                      <a:gsLst>
                        <a:gs pos="0">
                          <a:schemeClr val="bg1"/>
                        </a:gs>
                        <a:gs pos="100000">
                          <a:schemeClr val="bg1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47B7F9CF-819C-4408-8888-6A62F83613D0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B8681487-421E-4004-B0B3-EDF47FBAE50D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 b="1"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F1E9BD7D-FC3F-4ABC-BED4-5A6C1734ED84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 b="1"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A6F9ED06-E641-427C-BF75-49A8D98FAA37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 b="1"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5B92A2C6-A006-4403-AC2B-8FC08BBBB5AA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 b="1"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87FB07D9-8BC9-4646-8ACE-F1DF9A358E8A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 b="1"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E335A4D1-FAD4-42F4-8690-0A4BC50752B2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 b="1"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1F5602E7-0D57-408B-8887-D4ECDBAC7250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 b="1"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2B572EB7-8481-4875-888F-4BB5BAB66111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 b="1"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861CF7AD-BB0A-4249-BE2F-1FDA11C28A17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749B71A3-946F-4DF8-A274-D3A4742EEF22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 b="1"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269591E3-FE9B-465F-AF66-A448C07BC7C5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 b="1"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F4B34E60-AE54-40D4-8FD1-3C5BFB40914F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 b="1"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23983A70-F7D0-4A46-9D9B-DDBA484C1C7B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 b="1"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62D6E9E4-0D41-45F2-A016-9152BDF7C892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 b="1"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D71903A4-38C1-4CA6-8116-0E4F9A22C59B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 b="1"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E21D383C-F340-4297-B534-8292E3676CC3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 b="1"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07F065F3-96CB-4A78-B8AB-3A3E36104198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 b="1"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A74C32EF-9A08-4922-BA16-6697195F4B2E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FA41817D-367D-49E4-B1B6-F0C4484F8C05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 b="1">
                    <a:gradFill>
                      <a:gsLst>
                        <a:gs pos="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>
                    <a:gradFill>
                      <a:gsLst>
                        <a:gs pos="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3C86C19D-B47E-4897-A534-5B98C4EA5F12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 b="1">
                    <a:gradFill>
                      <a:gsLst>
                        <a:gs pos="0">
                          <a:schemeClr val="bg1"/>
                        </a:gs>
                        <a:gs pos="100000">
                          <a:schemeClr val="bg1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>
                    <a:gradFill>
                      <a:gsLst>
                        <a:gs pos="0">
                          <a:schemeClr val="bg1"/>
                        </a:gs>
                        <a:gs pos="100000">
                          <a:schemeClr val="bg1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grpSp>
        <p:nvGrpSpPr>
          <p:cNvPr id="4" name="Graphic 11">
            <a:extLst>
              <a:ext uri="{FF2B5EF4-FFF2-40B4-BE49-F238E27FC236}">
                <a16:creationId xmlns:a16="http://schemas.microsoft.com/office/drawing/2014/main" id="{7802F121-B163-2000-4D07-8C84789F1ADE}"/>
              </a:ext>
            </a:extLst>
          </p:cNvPr>
          <p:cNvGrpSpPr/>
          <p:nvPr userDrawn="1"/>
        </p:nvGrpSpPr>
        <p:grpSpPr>
          <a:xfrm>
            <a:off x="568873" y="1391848"/>
            <a:ext cx="4407453" cy="643746"/>
            <a:chOff x="2755048" y="2941022"/>
            <a:chExt cx="6682134" cy="975983"/>
          </a:xfrm>
          <a:solidFill>
            <a:schemeClr val="bg1"/>
          </a:solidFill>
        </p:grpSpPr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055B6EDD-E533-C312-19AC-00F0937E83D9}"/>
                </a:ext>
              </a:extLst>
            </p:cNvPr>
            <p:cNvSpPr/>
            <p:nvPr/>
          </p:nvSpPr>
          <p:spPr>
            <a:xfrm>
              <a:off x="2755048" y="2941564"/>
              <a:ext cx="624818" cy="785172"/>
            </a:xfrm>
            <a:custGeom>
              <a:avLst/>
              <a:gdLst>
                <a:gd name="connsiteX0" fmla="*/ 322882 w 624818"/>
                <a:gd name="connsiteY0" fmla="*/ 785150 h 785172"/>
                <a:gd name="connsiteX1" fmla="*/ 211163 w 624818"/>
                <a:gd name="connsiteY1" fmla="*/ 771237 h 785172"/>
                <a:gd name="connsiteX2" fmla="*/ 120723 w 624818"/>
                <a:gd name="connsiteY2" fmla="*/ 732974 h 785172"/>
                <a:gd name="connsiteX3" fmla="*/ 51154 w 624818"/>
                <a:gd name="connsiteY3" fmla="*/ 674249 h 785172"/>
                <a:gd name="connsiteX4" fmla="*/ 0 w 624818"/>
                <a:gd name="connsiteY4" fmla="*/ 598951 h 785172"/>
                <a:gd name="connsiteX5" fmla="*/ 125838 w 624818"/>
                <a:gd name="connsiteY5" fmla="*/ 524062 h 785172"/>
                <a:gd name="connsiteX6" fmla="*/ 211162 w 624818"/>
                <a:gd name="connsiteY6" fmla="*/ 619822 h 785172"/>
                <a:gd name="connsiteX7" fmla="*/ 330248 w 624818"/>
                <a:gd name="connsiteY7" fmla="*/ 652969 h 785172"/>
                <a:gd name="connsiteX8" fmla="*/ 425190 w 624818"/>
                <a:gd name="connsiteY8" fmla="*/ 630666 h 785172"/>
                <a:gd name="connsiteX9" fmla="*/ 461816 w 624818"/>
                <a:gd name="connsiteY9" fmla="*/ 565190 h 785172"/>
                <a:gd name="connsiteX10" fmla="*/ 422734 w 624818"/>
                <a:gd name="connsiteY10" fmla="*/ 499304 h 785172"/>
                <a:gd name="connsiteX11" fmla="*/ 308559 w 624818"/>
                <a:gd name="connsiteY11" fmla="*/ 455925 h 785172"/>
                <a:gd name="connsiteX12" fmla="*/ 208298 w 624818"/>
                <a:gd name="connsiteY12" fmla="*/ 426460 h 785172"/>
                <a:gd name="connsiteX13" fmla="*/ 119904 w 624818"/>
                <a:gd name="connsiteY13" fmla="*/ 385538 h 785172"/>
                <a:gd name="connsiteX14" fmla="*/ 56883 w 624818"/>
                <a:gd name="connsiteY14" fmla="*/ 323744 h 785172"/>
                <a:gd name="connsiteX15" fmla="*/ 32738 w 624818"/>
                <a:gd name="connsiteY15" fmla="*/ 225733 h 785172"/>
                <a:gd name="connsiteX16" fmla="*/ 53200 w 624818"/>
                <a:gd name="connsiteY16" fmla="*/ 130792 h 785172"/>
                <a:gd name="connsiteX17" fmla="*/ 109060 w 624818"/>
                <a:gd name="connsiteY17" fmla="*/ 59791 h 785172"/>
                <a:gd name="connsiteX18" fmla="*/ 194998 w 624818"/>
                <a:gd name="connsiteY18" fmla="*/ 15185 h 785172"/>
                <a:gd name="connsiteX19" fmla="*/ 306513 w 624818"/>
                <a:gd name="connsiteY19" fmla="*/ 43 h 785172"/>
                <a:gd name="connsiteX20" fmla="*/ 411480 w 624818"/>
                <a:gd name="connsiteY20" fmla="*/ 12729 h 785172"/>
                <a:gd name="connsiteX21" fmla="*/ 494963 w 624818"/>
                <a:gd name="connsiteY21" fmla="*/ 46900 h 785172"/>
                <a:gd name="connsiteX22" fmla="*/ 559417 w 624818"/>
                <a:gd name="connsiteY22" fmla="*/ 96621 h 785172"/>
                <a:gd name="connsiteX23" fmla="*/ 607297 w 624818"/>
                <a:gd name="connsiteY23" fmla="*/ 155346 h 785172"/>
                <a:gd name="connsiteX24" fmla="*/ 491076 w 624818"/>
                <a:gd name="connsiteY24" fmla="*/ 241898 h 785172"/>
                <a:gd name="connsiteX25" fmla="*/ 410662 w 624818"/>
                <a:gd name="connsiteY25" fmla="*/ 163735 h 785172"/>
                <a:gd name="connsiteX26" fmla="*/ 304672 w 624818"/>
                <a:gd name="connsiteY26" fmla="*/ 134475 h 785172"/>
                <a:gd name="connsiteX27" fmla="*/ 222826 w 624818"/>
                <a:gd name="connsiteY27" fmla="*/ 154937 h 785172"/>
                <a:gd name="connsiteX28" fmla="*/ 194589 w 624818"/>
                <a:gd name="connsiteY28" fmla="*/ 209978 h 785172"/>
                <a:gd name="connsiteX29" fmla="*/ 235512 w 624818"/>
                <a:gd name="connsiteY29" fmla="*/ 276887 h 785172"/>
                <a:gd name="connsiteX30" fmla="*/ 350505 w 624818"/>
                <a:gd name="connsiteY30" fmla="*/ 319447 h 785172"/>
                <a:gd name="connsiteX31" fmla="*/ 449948 w 624818"/>
                <a:gd name="connsiteY31" fmla="*/ 349116 h 785172"/>
                <a:gd name="connsiteX32" fmla="*/ 537933 w 624818"/>
                <a:gd name="connsiteY32" fmla="*/ 391267 h 785172"/>
                <a:gd name="connsiteX33" fmla="*/ 600749 w 624818"/>
                <a:gd name="connsiteY33" fmla="*/ 456334 h 785172"/>
                <a:gd name="connsiteX34" fmla="*/ 624689 w 624818"/>
                <a:gd name="connsiteY34" fmla="*/ 553731 h 785172"/>
                <a:gd name="connsiteX35" fmla="*/ 606683 w 624818"/>
                <a:gd name="connsiteY35" fmla="*/ 641101 h 785172"/>
                <a:gd name="connsiteX36" fmla="*/ 552051 w 624818"/>
                <a:gd name="connsiteY36" fmla="*/ 714354 h 785172"/>
                <a:gd name="connsiteX37" fmla="*/ 458133 w 624818"/>
                <a:gd name="connsiteY37" fmla="*/ 764893 h 785172"/>
                <a:gd name="connsiteX38" fmla="*/ 322882 w 624818"/>
                <a:gd name="connsiteY38" fmla="*/ 785150 h 785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624818" h="785172">
                  <a:moveTo>
                    <a:pt x="322882" y="785150"/>
                  </a:moveTo>
                  <a:cubicBezTo>
                    <a:pt x="285188" y="785527"/>
                    <a:pt x="247613" y="780847"/>
                    <a:pt x="211163" y="771237"/>
                  </a:cubicBezTo>
                  <a:cubicBezTo>
                    <a:pt x="179367" y="762797"/>
                    <a:pt x="148921" y="749916"/>
                    <a:pt x="120723" y="732974"/>
                  </a:cubicBezTo>
                  <a:cubicBezTo>
                    <a:pt x="94699" y="717027"/>
                    <a:pt x="71243" y="697227"/>
                    <a:pt x="51154" y="674249"/>
                  </a:cubicBezTo>
                  <a:cubicBezTo>
                    <a:pt x="31225" y="651230"/>
                    <a:pt x="14057" y="625959"/>
                    <a:pt x="0" y="598951"/>
                  </a:cubicBezTo>
                  <a:lnTo>
                    <a:pt x="125838" y="524062"/>
                  </a:lnTo>
                  <a:cubicBezTo>
                    <a:pt x="144727" y="563358"/>
                    <a:pt x="174296" y="596544"/>
                    <a:pt x="211162" y="619822"/>
                  </a:cubicBezTo>
                  <a:cubicBezTo>
                    <a:pt x="246924" y="641912"/>
                    <a:pt x="288217" y="653406"/>
                    <a:pt x="330248" y="652969"/>
                  </a:cubicBezTo>
                  <a:cubicBezTo>
                    <a:pt x="363310" y="654053"/>
                    <a:pt x="396069" y="646357"/>
                    <a:pt x="425190" y="630666"/>
                  </a:cubicBezTo>
                  <a:cubicBezTo>
                    <a:pt x="448946" y="617672"/>
                    <a:pt x="463175" y="592233"/>
                    <a:pt x="461816" y="565190"/>
                  </a:cubicBezTo>
                  <a:cubicBezTo>
                    <a:pt x="462369" y="537585"/>
                    <a:pt x="447225" y="512053"/>
                    <a:pt x="422734" y="499304"/>
                  </a:cubicBezTo>
                  <a:cubicBezTo>
                    <a:pt x="386663" y="480074"/>
                    <a:pt x="348299" y="465498"/>
                    <a:pt x="308559" y="455925"/>
                  </a:cubicBezTo>
                  <a:cubicBezTo>
                    <a:pt x="274593" y="446513"/>
                    <a:pt x="241173" y="436691"/>
                    <a:pt x="208298" y="426460"/>
                  </a:cubicBezTo>
                  <a:cubicBezTo>
                    <a:pt x="177202" y="416662"/>
                    <a:pt x="147494" y="402908"/>
                    <a:pt x="119904" y="385538"/>
                  </a:cubicBezTo>
                  <a:cubicBezTo>
                    <a:pt x="94684" y="369728"/>
                    <a:pt x="73185" y="348648"/>
                    <a:pt x="56883" y="323744"/>
                  </a:cubicBezTo>
                  <a:cubicBezTo>
                    <a:pt x="39718" y="294018"/>
                    <a:pt x="31346" y="260031"/>
                    <a:pt x="32738" y="225733"/>
                  </a:cubicBezTo>
                  <a:cubicBezTo>
                    <a:pt x="32365" y="192954"/>
                    <a:pt x="39358" y="160508"/>
                    <a:pt x="53200" y="130792"/>
                  </a:cubicBezTo>
                  <a:cubicBezTo>
                    <a:pt x="66327" y="103277"/>
                    <a:pt x="85407" y="79025"/>
                    <a:pt x="109060" y="59791"/>
                  </a:cubicBezTo>
                  <a:cubicBezTo>
                    <a:pt x="134461" y="39365"/>
                    <a:pt x="163675" y="24202"/>
                    <a:pt x="194998" y="15185"/>
                  </a:cubicBezTo>
                  <a:cubicBezTo>
                    <a:pt x="231233" y="4727"/>
                    <a:pt x="268802" y="-374"/>
                    <a:pt x="306513" y="43"/>
                  </a:cubicBezTo>
                  <a:cubicBezTo>
                    <a:pt x="341914" y="-482"/>
                    <a:pt x="377224" y="3785"/>
                    <a:pt x="411480" y="12729"/>
                  </a:cubicBezTo>
                  <a:cubicBezTo>
                    <a:pt x="440673" y="20448"/>
                    <a:pt x="468737" y="31935"/>
                    <a:pt x="494963" y="46900"/>
                  </a:cubicBezTo>
                  <a:cubicBezTo>
                    <a:pt x="518585" y="60502"/>
                    <a:pt x="540265" y="77226"/>
                    <a:pt x="559417" y="96621"/>
                  </a:cubicBezTo>
                  <a:cubicBezTo>
                    <a:pt x="577050" y="114770"/>
                    <a:pt x="593070" y="134419"/>
                    <a:pt x="607297" y="155346"/>
                  </a:cubicBezTo>
                  <a:lnTo>
                    <a:pt x="491076" y="241898"/>
                  </a:lnTo>
                  <a:cubicBezTo>
                    <a:pt x="471295" y="209476"/>
                    <a:pt x="443632" y="182588"/>
                    <a:pt x="410662" y="163735"/>
                  </a:cubicBezTo>
                  <a:cubicBezTo>
                    <a:pt x="378622" y="144590"/>
                    <a:pt x="341996" y="134478"/>
                    <a:pt x="304672" y="134475"/>
                  </a:cubicBezTo>
                  <a:cubicBezTo>
                    <a:pt x="275902" y="132351"/>
                    <a:pt x="247211" y="139524"/>
                    <a:pt x="222826" y="154937"/>
                  </a:cubicBezTo>
                  <a:cubicBezTo>
                    <a:pt x="204793" y="167401"/>
                    <a:pt x="194194" y="188061"/>
                    <a:pt x="194589" y="209978"/>
                  </a:cubicBezTo>
                  <a:cubicBezTo>
                    <a:pt x="193772" y="238418"/>
                    <a:pt x="209822" y="264659"/>
                    <a:pt x="235512" y="276887"/>
                  </a:cubicBezTo>
                  <a:cubicBezTo>
                    <a:pt x="272167" y="295246"/>
                    <a:pt x="310730" y="309518"/>
                    <a:pt x="350505" y="319447"/>
                  </a:cubicBezTo>
                  <a:cubicBezTo>
                    <a:pt x="384062" y="328450"/>
                    <a:pt x="417210" y="338340"/>
                    <a:pt x="449948" y="349116"/>
                  </a:cubicBezTo>
                  <a:cubicBezTo>
                    <a:pt x="480998" y="359247"/>
                    <a:pt x="510580" y="373419"/>
                    <a:pt x="537933" y="391267"/>
                  </a:cubicBezTo>
                  <a:cubicBezTo>
                    <a:pt x="563317" y="408175"/>
                    <a:pt x="584745" y="430371"/>
                    <a:pt x="600749" y="456334"/>
                  </a:cubicBezTo>
                  <a:cubicBezTo>
                    <a:pt x="617678" y="485923"/>
                    <a:pt x="625972" y="519666"/>
                    <a:pt x="624689" y="553731"/>
                  </a:cubicBezTo>
                  <a:cubicBezTo>
                    <a:pt x="624824" y="583789"/>
                    <a:pt x="618691" y="613546"/>
                    <a:pt x="606683" y="641101"/>
                  </a:cubicBezTo>
                  <a:cubicBezTo>
                    <a:pt x="594308" y="669372"/>
                    <a:pt x="575619" y="694431"/>
                    <a:pt x="552051" y="714354"/>
                  </a:cubicBezTo>
                  <a:cubicBezTo>
                    <a:pt x="524317" y="737128"/>
                    <a:pt x="492419" y="754293"/>
                    <a:pt x="458133" y="764893"/>
                  </a:cubicBezTo>
                  <a:cubicBezTo>
                    <a:pt x="414410" y="778778"/>
                    <a:pt x="368755" y="785616"/>
                    <a:pt x="322882" y="785150"/>
                  </a:cubicBezTo>
                  <a:close/>
                </a:path>
              </a:pathLst>
            </a:custGeom>
            <a:grpFill/>
            <a:ln w="204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0D62D1A6-A004-BC79-4A97-62492BD864B0}"/>
                </a:ext>
              </a:extLst>
            </p:cNvPr>
            <p:cNvSpPr/>
            <p:nvPr/>
          </p:nvSpPr>
          <p:spPr>
            <a:xfrm>
              <a:off x="3393446" y="2953679"/>
              <a:ext cx="694258" cy="760348"/>
            </a:xfrm>
            <a:custGeom>
              <a:avLst/>
              <a:gdLst>
                <a:gd name="connsiteX0" fmla="*/ 0 w 694258"/>
                <a:gd name="connsiteY0" fmla="*/ 760349 h 760348"/>
                <a:gd name="connsiteX1" fmla="*/ 267636 w 694258"/>
                <a:gd name="connsiteY1" fmla="*/ 0 h 760348"/>
                <a:gd name="connsiteX2" fmla="*/ 426622 w 694258"/>
                <a:gd name="connsiteY2" fmla="*/ 0 h 760348"/>
                <a:gd name="connsiteX3" fmla="*/ 694258 w 694258"/>
                <a:gd name="connsiteY3" fmla="*/ 760349 h 760348"/>
                <a:gd name="connsiteX4" fmla="*/ 525451 w 694258"/>
                <a:gd name="connsiteY4" fmla="*/ 760349 h 760348"/>
                <a:gd name="connsiteX5" fmla="*/ 469591 w 694258"/>
                <a:gd name="connsiteY5" fmla="*/ 591541 h 760348"/>
                <a:gd name="connsiteX6" fmla="*/ 211776 w 694258"/>
                <a:gd name="connsiteY6" fmla="*/ 591541 h 760348"/>
                <a:gd name="connsiteX7" fmla="*/ 153257 w 694258"/>
                <a:gd name="connsiteY7" fmla="*/ 760349 h 760348"/>
                <a:gd name="connsiteX8" fmla="*/ 252699 w 694258"/>
                <a:gd name="connsiteY8" fmla="*/ 470614 h 760348"/>
                <a:gd name="connsiteX9" fmla="*/ 430510 w 694258"/>
                <a:gd name="connsiteY9" fmla="*/ 470614 h 760348"/>
                <a:gd name="connsiteX10" fmla="*/ 343753 w 694258"/>
                <a:gd name="connsiteY10" fmla="*/ 212799 h 760348"/>
                <a:gd name="connsiteX11" fmla="*/ 341707 w 694258"/>
                <a:gd name="connsiteY11" fmla="*/ 212799 h 7603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94258" h="760348">
                  <a:moveTo>
                    <a:pt x="0" y="760349"/>
                  </a:moveTo>
                  <a:lnTo>
                    <a:pt x="267636" y="0"/>
                  </a:lnTo>
                  <a:lnTo>
                    <a:pt x="426622" y="0"/>
                  </a:lnTo>
                  <a:lnTo>
                    <a:pt x="694258" y="760349"/>
                  </a:lnTo>
                  <a:lnTo>
                    <a:pt x="525451" y="760349"/>
                  </a:lnTo>
                  <a:lnTo>
                    <a:pt x="469591" y="591541"/>
                  </a:lnTo>
                  <a:lnTo>
                    <a:pt x="211776" y="591541"/>
                  </a:lnTo>
                  <a:lnTo>
                    <a:pt x="153257" y="760349"/>
                  </a:lnTo>
                  <a:close/>
                  <a:moveTo>
                    <a:pt x="252699" y="470614"/>
                  </a:moveTo>
                  <a:lnTo>
                    <a:pt x="430510" y="470614"/>
                  </a:lnTo>
                  <a:lnTo>
                    <a:pt x="343753" y="212799"/>
                  </a:lnTo>
                  <a:lnTo>
                    <a:pt x="341707" y="212799"/>
                  </a:lnTo>
                  <a:close/>
                </a:path>
              </a:pathLst>
            </a:custGeom>
            <a:grpFill/>
            <a:ln w="204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616428DA-DBAA-78DA-2FEF-DB68AE22D6FA}"/>
                </a:ext>
              </a:extLst>
            </p:cNvPr>
            <p:cNvSpPr/>
            <p:nvPr/>
          </p:nvSpPr>
          <p:spPr>
            <a:xfrm>
              <a:off x="4165663" y="2955110"/>
              <a:ext cx="584211" cy="757076"/>
            </a:xfrm>
            <a:custGeom>
              <a:avLst/>
              <a:gdLst>
                <a:gd name="connsiteX0" fmla="*/ 0 w 584211"/>
                <a:gd name="connsiteY0" fmla="*/ 757077 h 757076"/>
                <a:gd name="connsiteX1" fmla="*/ 0 w 584211"/>
                <a:gd name="connsiteY1" fmla="*/ 2 h 757076"/>
                <a:gd name="connsiteX2" fmla="*/ 275207 w 584211"/>
                <a:gd name="connsiteY2" fmla="*/ 2 h 757076"/>
                <a:gd name="connsiteX3" fmla="*/ 391019 w 584211"/>
                <a:gd name="connsiteY3" fmla="*/ 9824 h 757076"/>
                <a:gd name="connsiteX4" fmla="*/ 490053 w 584211"/>
                <a:gd name="connsiteY4" fmla="*/ 46654 h 757076"/>
                <a:gd name="connsiteX5" fmla="*/ 558394 w 584211"/>
                <a:gd name="connsiteY5" fmla="*/ 120929 h 757076"/>
                <a:gd name="connsiteX6" fmla="*/ 583971 w 584211"/>
                <a:gd name="connsiteY6" fmla="*/ 243698 h 757076"/>
                <a:gd name="connsiteX7" fmla="*/ 556961 w 584211"/>
                <a:gd name="connsiteY7" fmla="*/ 367695 h 757076"/>
                <a:gd name="connsiteX8" fmla="*/ 485346 w 584211"/>
                <a:gd name="connsiteY8" fmla="*/ 442379 h 757076"/>
                <a:gd name="connsiteX9" fmla="*/ 384880 w 584211"/>
                <a:gd name="connsiteY9" fmla="*/ 479210 h 757076"/>
                <a:gd name="connsiteX10" fmla="*/ 272751 w 584211"/>
                <a:gd name="connsiteY10" fmla="*/ 488827 h 757076"/>
                <a:gd name="connsiteX11" fmla="*/ 165329 w 584211"/>
                <a:gd name="connsiteY11" fmla="*/ 488827 h 757076"/>
                <a:gd name="connsiteX12" fmla="*/ 165329 w 584211"/>
                <a:gd name="connsiteY12" fmla="*/ 757077 h 757076"/>
                <a:gd name="connsiteX13" fmla="*/ 165329 w 584211"/>
                <a:gd name="connsiteY13" fmla="*/ 358896 h 757076"/>
                <a:gd name="connsiteX14" fmla="*/ 279095 w 584211"/>
                <a:gd name="connsiteY14" fmla="*/ 358896 h 757076"/>
                <a:gd name="connsiteX15" fmla="*/ 388768 w 584211"/>
                <a:gd name="connsiteY15" fmla="*/ 330455 h 757076"/>
                <a:gd name="connsiteX16" fmla="*/ 421097 w 584211"/>
                <a:gd name="connsiteY16" fmla="*/ 246563 h 757076"/>
                <a:gd name="connsiteX17" fmla="*/ 389382 w 584211"/>
                <a:gd name="connsiteY17" fmla="*/ 164717 h 757076"/>
                <a:gd name="connsiteX18" fmla="*/ 279095 w 584211"/>
                <a:gd name="connsiteY18" fmla="*/ 136071 h 757076"/>
                <a:gd name="connsiteX19" fmla="*/ 165329 w 584211"/>
                <a:gd name="connsiteY19" fmla="*/ 136071 h 757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584211" h="757076">
                  <a:moveTo>
                    <a:pt x="0" y="757077"/>
                  </a:moveTo>
                  <a:lnTo>
                    <a:pt x="0" y="2"/>
                  </a:lnTo>
                  <a:lnTo>
                    <a:pt x="275207" y="2"/>
                  </a:lnTo>
                  <a:cubicBezTo>
                    <a:pt x="314023" y="-94"/>
                    <a:pt x="352773" y="3193"/>
                    <a:pt x="391019" y="9824"/>
                  </a:cubicBezTo>
                  <a:cubicBezTo>
                    <a:pt x="426146" y="15413"/>
                    <a:pt x="459810" y="27933"/>
                    <a:pt x="490053" y="46654"/>
                  </a:cubicBezTo>
                  <a:cubicBezTo>
                    <a:pt x="518871" y="65088"/>
                    <a:pt x="542417" y="90679"/>
                    <a:pt x="558394" y="120929"/>
                  </a:cubicBezTo>
                  <a:cubicBezTo>
                    <a:pt x="577025" y="159079"/>
                    <a:pt x="585817" y="201283"/>
                    <a:pt x="583971" y="243698"/>
                  </a:cubicBezTo>
                  <a:cubicBezTo>
                    <a:pt x="585799" y="286667"/>
                    <a:pt x="576496" y="329379"/>
                    <a:pt x="556961" y="367695"/>
                  </a:cubicBezTo>
                  <a:cubicBezTo>
                    <a:pt x="540011" y="398409"/>
                    <a:pt x="515323" y="424156"/>
                    <a:pt x="485346" y="442379"/>
                  </a:cubicBezTo>
                  <a:cubicBezTo>
                    <a:pt x="454422" y="460761"/>
                    <a:pt x="420358" y="473249"/>
                    <a:pt x="384880" y="479210"/>
                  </a:cubicBezTo>
                  <a:cubicBezTo>
                    <a:pt x="347842" y="485575"/>
                    <a:pt x="310332" y="488792"/>
                    <a:pt x="272751" y="488827"/>
                  </a:cubicBezTo>
                  <a:lnTo>
                    <a:pt x="165329" y="488827"/>
                  </a:lnTo>
                  <a:lnTo>
                    <a:pt x="165329" y="757077"/>
                  </a:lnTo>
                  <a:close/>
                  <a:moveTo>
                    <a:pt x="165329" y="358896"/>
                  </a:moveTo>
                  <a:lnTo>
                    <a:pt x="279095" y="358896"/>
                  </a:lnTo>
                  <a:cubicBezTo>
                    <a:pt x="330862" y="358896"/>
                    <a:pt x="367284" y="349484"/>
                    <a:pt x="388768" y="330455"/>
                  </a:cubicBezTo>
                  <a:cubicBezTo>
                    <a:pt x="411483" y="308689"/>
                    <a:pt x="423331" y="277943"/>
                    <a:pt x="421097" y="246563"/>
                  </a:cubicBezTo>
                  <a:cubicBezTo>
                    <a:pt x="422988" y="215958"/>
                    <a:pt x="411401" y="186057"/>
                    <a:pt x="389382" y="164717"/>
                  </a:cubicBezTo>
                  <a:cubicBezTo>
                    <a:pt x="368921" y="145483"/>
                    <a:pt x="331476" y="136071"/>
                    <a:pt x="279095" y="136071"/>
                  </a:cubicBezTo>
                  <a:lnTo>
                    <a:pt x="165329" y="136071"/>
                  </a:lnTo>
                  <a:close/>
                </a:path>
              </a:pathLst>
            </a:custGeom>
            <a:grpFill/>
            <a:ln w="204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E5BA2E29-2B1E-D4A7-9AD1-C1A647DB3DE5}"/>
                </a:ext>
              </a:extLst>
            </p:cNvPr>
            <p:cNvSpPr/>
            <p:nvPr/>
          </p:nvSpPr>
          <p:spPr>
            <a:xfrm>
              <a:off x="5091341" y="2941022"/>
              <a:ext cx="624818" cy="785719"/>
            </a:xfrm>
            <a:custGeom>
              <a:avLst/>
              <a:gdLst>
                <a:gd name="connsiteX0" fmla="*/ 322064 w 624818"/>
                <a:gd name="connsiteY0" fmla="*/ 785692 h 785719"/>
                <a:gd name="connsiteX1" fmla="*/ 210549 w 624818"/>
                <a:gd name="connsiteY1" fmla="*/ 771779 h 785719"/>
                <a:gd name="connsiteX2" fmla="*/ 120518 w 624818"/>
                <a:gd name="connsiteY2" fmla="*/ 733311 h 785719"/>
                <a:gd name="connsiteX3" fmla="*/ 51154 w 624818"/>
                <a:gd name="connsiteY3" fmla="*/ 674587 h 785719"/>
                <a:gd name="connsiteX4" fmla="*/ 0 w 624818"/>
                <a:gd name="connsiteY4" fmla="*/ 599288 h 785719"/>
                <a:gd name="connsiteX5" fmla="*/ 125838 w 624818"/>
                <a:gd name="connsiteY5" fmla="*/ 524399 h 785719"/>
                <a:gd name="connsiteX6" fmla="*/ 210958 w 624818"/>
                <a:gd name="connsiteY6" fmla="*/ 620159 h 785719"/>
                <a:gd name="connsiteX7" fmla="*/ 330044 w 624818"/>
                <a:gd name="connsiteY7" fmla="*/ 653307 h 785719"/>
                <a:gd name="connsiteX8" fmla="*/ 425395 w 624818"/>
                <a:gd name="connsiteY8" fmla="*/ 632845 h 785719"/>
                <a:gd name="connsiteX9" fmla="*/ 462020 w 624818"/>
                <a:gd name="connsiteY9" fmla="*/ 567368 h 785719"/>
                <a:gd name="connsiteX10" fmla="*/ 422734 w 624818"/>
                <a:gd name="connsiteY10" fmla="*/ 501482 h 785719"/>
                <a:gd name="connsiteX11" fmla="*/ 308559 w 624818"/>
                <a:gd name="connsiteY11" fmla="*/ 458104 h 785719"/>
                <a:gd name="connsiteX12" fmla="*/ 208502 w 624818"/>
                <a:gd name="connsiteY12" fmla="*/ 428639 h 785719"/>
                <a:gd name="connsiteX13" fmla="*/ 120109 w 624818"/>
                <a:gd name="connsiteY13" fmla="*/ 387716 h 785719"/>
                <a:gd name="connsiteX14" fmla="*/ 56678 w 624818"/>
                <a:gd name="connsiteY14" fmla="*/ 324286 h 785719"/>
                <a:gd name="connsiteX15" fmla="*/ 32738 w 624818"/>
                <a:gd name="connsiteY15" fmla="*/ 225662 h 785719"/>
                <a:gd name="connsiteX16" fmla="*/ 53199 w 624818"/>
                <a:gd name="connsiteY16" fmla="*/ 130720 h 785719"/>
                <a:gd name="connsiteX17" fmla="*/ 108855 w 624818"/>
                <a:gd name="connsiteY17" fmla="*/ 59719 h 785719"/>
                <a:gd name="connsiteX18" fmla="*/ 194793 w 624818"/>
                <a:gd name="connsiteY18" fmla="*/ 15113 h 785719"/>
                <a:gd name="connsiteX19" fmla="*/ 411275 w 624818"/>
                <a:gd name="connsiteY19" fmla="*/ 12658 h 785719"/>
                <a:gd name="connsiteX20" fmla="*/ 494758 w 624818"/>
                <a:gd name="connsiteY20" fmla="*/ 46828 h 785719"/>
                <a:gd name="connsiteX21" fmla="*/ 559212 w 624818"/>
                <a:gd name="connsiteY21" fmla="*/ 96550 h 785719"/>
                <a:gd name="connsiteX22" fmla="*/ 605660 w 624818"/>
                <a:gd name="connsiteY22" fmla="*/ 155274 h 785719"/>
                <a:gd name="connsiteX23" fmla="*/ 491075 w 624818"/>
                <a:gd name="connsiteY23" fmla="*/ 242440 h 785719"/>
                <a:gd name="connsiteX24" fmla="*/ 410457 w 624818"/>
                <a:gd name="connsiteY24" fmla="*/ 164277 h 785719"/>
                <a:gd name="connsiteX25" fmla="*/ 304671 w 624818"/>
                <a:gd name="connsiteY25" fmla="*/ 135017 h 785719"/>
                <a:gd name="connsiteX26" fmla="*/ 222825 w 624818"/>
                <a:gd name="connsiteY26" fmla="*/ 155479 h 785719"/>
                <a:gd name="connsiteX27" fmla="*/ 194588 w 624818"/>
                <a:gd name="connsiteY27" fmla="*/ 210520 h 785719"/>
                <a:gd name="connsiteX28" fmla="*/ 235511 w 624818"/>
                <a:gd name="connsiteY28" fmla="*/ 277429 h 785719"/>
                <a:gd name="connsiteX29" fmla="*/ 350300 w 624818"/>
                <a:gd name="connsiteY29" fmla="*/ 319989 h 785719"/>
                <a:gd name="connsiteX30" fmla="*/ 449743 w 624818"/>
                <a:gd name="connsiteY30" fmla="*/ 349658 h 785719"/>
                <a:gd name="connsiteX31" fmla="*/ 537728 w 624818"/>
                <a:gd name="connsiteY31" fmla="*/ 391809 h 785719"/>
                <a:gd name="connsiteX32" fmla="*/ 600749 w 624818"/>
                <a:gd name="connsiteY32" fmla="*/ 456876 h 785719"/>
                <a:gd name="connsiteX33" fmla="*/ 624689 w 624818"/>
                <a:gd name="connsiteY33" fmla="*/ 554273 h 785719"/>
                <a:gd name="connsiteX34" fmla="*/ 606683 w 624818"/>
                <a:gd name="connsiteY34" fmla="*/ 641643 h 785719"/>
                <a:gd name="connsiteX35" fmla="*/ 552051 w 624818"/>
                <a:gd name="connsiteY35" fmla="*/ 714895 h 785719"/>
                <a:gd name="connsiteX36" fmla="*/ 458133 w 624818"/>
                <a:gd name="connsiteY36" fmla="*/ 765435 h 785719"/>
                <a:gd name="connsiteX37" fmla="*/ 322064 w 624818"/>
                <a:gd name="connsiteY37" fmla="*/ 785692 h 785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624818" h="785719">
                  <a:moveTo>
                    <a:pt x="322064" y="785692"/>
                  </a:moveTo>
                  <a:cubicBezTo>
                    <a:pt x="284436" y="786082"/>
                    <a:pt x="246927" y="781402"/>
                    <a:pt x="210549" y="771779"/>
                  </a:cubicBezTo>
                  <a:cubicBezTo>
                    <a:pt x="178890" y="763221"/>
                    <a:pt x="148586" y="750273"/>
                    <a:pt x="120518" y="733311"/>
                  </a:cubicBezTo>
                  <a:cubicBezTo>
                    <a:pt x="94596" y="717307"/>
                    <a:pt x="71216" y="697513"/>
                    <a:pt x="51154" y="674587"/>
                  </a:cubicBezTo>
                  <a:cubicBezTo>
                    <a:pt x="31225" y="651568"/>
                    <a:pt x="14057" y="626296"/>
                    <a:pt x="0" y="599288"/>
                  </a:cubicBezTo>
                  <a:lnTo>
                    <a:pt x="125838" y="524399"/>
                  </a:lnTo>
                  <a:cubicBezTo>
                    <a:pt x="144587" y="563725"/>
                    <a:pt x="174102" y="596929"/>
                    <a:pt x="210958" y="620159"/>
                  </a:cubicBezTo>
                  <a:cubicBezTo>
                    <a:pt x="246719" y="642249"/>
                    <a:pt x="288012" y="653743"/>
                    <a:pt x="330044" y="653307"/>
                  </a:cubicBezTo>
                  <a:cubicBezTo>
                    <a:pt x="363076" y="655019"/>
                    <a:pt x="395973" y="647960"/>
                    <a:pt x="425395" y="632845"/>
                  </a:cubicBezTo>
                  <a:cubicBezTo>
                    <a:pt x="449115" y="619814"/>
                    <a:pt x="463330" y="594400"/>
                    <a:pt x="462020" y="567368"/>
                  </a:cubicBezTo>
                  <a:cubicBezTo>
                    <a:pt x="462584" y="539706"/>
                    <a:pt x="447339" y="514139"/>
                    <a:pt x="422734" y="501482"/>
                  </a:cubicBezTo>
                  <a:cubicBezTo>
                    <a:pt x="386680" y="482216"/>
                    <a:pt x="348311" y="467639"/>
                    <a:pt x="308559" y="458104"/>
                  </a:cubicBezTo>
                  <a:cubicBezTo>
                    <a:pt x="274593" y="448692"/>
                    <a:pt x="241241" y="438870"/>
                    <a:pt x="208502" y="428639"/>
                  </a:cubicBezTo>
                  <a:cubicBezTo>
                    <a:pt x="177407" y="418841"/>
                    <a:pt x="147699" y="405087"/>
                    <a:pt x="120109" y="387716"/>
                  </a:cubicBezTo>
                  <a:cubicBezTo>
                    <a:pt x="94534" y="371525"/>
                    <a:pt x="72869" y="349861"/>
                    <a:pt x="56678" y="324286"/>
                  </a:cubicBezTo>
                  <a:cubicBezTo>
                    <a:pt x="39471" y="294361"/>
                    <a:pt x="31166" y="260145"/>
                    <a:pt x="32738" y="225662"/>
                  </a:cubicBezTo>
                  <a:cubicBezTo>
                    <a:pt x="32371" y="192882"/>
                    <a:pt x="39364" y="160439"/>
                    <a:pt x="53199" y="130720"/>
                  </a:cubicBezTo>
                  <a:cubicBezTo>
                    <a:pt x="66238" y="103207"/>
                    <a:pt x="85252" y="78951"/>
                    <a:pt x="108855" y="59719"/>
                  </a:cubicBezTo>
                  <a:cubicBezTo>
                    <a:pt x="134298" y="39357"/>
                    <a:pt x="163498" y="24201"/>
                    <a:pt x="194793" y="15113"/>
                  </a:cubicBezTo>
                  <a:cubicBezTo>
                    <a:pt x="265561" y="-4169"/>
                    <a:pt x="340088" y="-5014"/>
                    <a:pt x="411275" y="12658"/>
                  </a:cubicBezTo>
                  <a:cubicBezTo>
                    <a:pt x="440492" y="20304"/>
                    <a:pt x="468565" y="31795"/>
                    <a:pt x="494758" y="46828"/>
                  </a:cubicBezTo>
                  <a:cubicBezTo>
                    <a:pt x="518450" y="60325"/>
                    <a:pt x="540144" y="77060"/>
                    <a:pt x="559212" y="96550"/>
                  </a:cubicBezTo>
                  <a:cubicBezTo>
                    <a:pt x="576466" y="114656"/>
                    <a:pt x="592014" y="134314"/>
                    <a:pt x="605660" y="155274"/>
                  </a:cubicBezTo>
                  <a:lnTo>
                    <a:pt x="491075" y="242440"/>
                  </a:lnTo>
                  <a:cubicBezTo>
                    <a:pt x="471287" y="209954"/>
                    <a:pt x="443540" y="183051"/>
                    <a:pt x="410457" y="164277"/>
                  </a:cubicBezTo>
                  <a:cubicBezTo>
                    <a:pt x="378493" y="145129"/>
                    <a:pt x="341932" y="135016"/>
                    <a:pt x="304671" y="135017"/>
                  </a:cubicBezTo>
                  <a:cubicBezTo>
                    <a:pt x="275903" y="132908"/>
                    <a:pt x="247216" y="140079"/>
                    <a:pt x="222825" y="155479"/>
                  </a:cubicBezTo>
                  <a:cubicBezTo>
                    <a:pt x="204793" y="167942"/>
                    <a:pt x="194194" y="188603"/>
                    <a:pt x="194588" y="210520"/>
                  </a:cubicBezTo>
                  <a:cubicBezTo>
                    <a:pt x="193718" y="238974"/>
                    <a:pt x="209784" y="265242"/>
                    <a:pt x="235511" y="277429"/>
                  </a:cubicBezTo>
                  <a:cubicBezTo>
                    <a:pt x="272108" y="295759"/>
                    <a:pt x="310600" y="310030"/>
                    <a:pt x="350300" y="319989"/>
                  </a:cubicBezTo>
                  <a:cubicBezTo>
                    <a:pt x="383994" y="328992"/>
                    <a:pt x="417141" y="338882"/>
                    <a:pt x="449743" y="349658"/>
                  </a:cubicBezTo>
                  <a:cubicBezTo>
                    <a:pt x="480811" y="359745"/>
                    <a:pt x="510399" y="373919"/>
                    <a:pt x="537728" y="391809"/>
                  </a:cubicBezTo>
                  <a:cubicBezTo>
                    <a:pt x="563220" y="408653"/>
                    <a:pt x="584728" y="430859"/>
                    <a:pt x="600749" y="456876"/>
                  </a:cubicBezTo>
                  <a:cubicBezTo>
                    <a:pt x="617678" y="486465"/>
                    <a:pt x="625972" y="520208"/>
                    <a:pt x="624689" y="554273"/>
                  </a:cubicBezTo>
                  <a:cubicBezTo>
                    <a:pt x="624824" y="584331"/>
                    <a:pt x="618692" y="614088"/>
                    <a:pt x="606683" y="641643"/>
                  </a:cubicBezTo>
                  <a:cubicBezTo>
                    <a:pt x="594167" y="669831"/>
                    <a:pt x="575499" y="694861"/>
                    <a:pt x="552051" y="714895"/>
                  </a:cubicBezTo>
                  <a:cubicBezTo>
                    <a:pt x="524316" y="737670"/>
                    <a:pt x="492419" y="754835"/>
                    <a:pt x="458133" y="765435"/>
                  </a:cubicBezTo>
                  <a:cubicBezTo>
                    <a:pt x="414139" y="779369"/>
                    <a:pt x="368208" y="786207"/>
                    <a:pt x="322064" y="785692"/>
                  </a:cubicBezTo>
                  <a:close/>
                </a:path>
              </a:pathLst>
            </a:custGeom>
            <a:grpFill/>
            <a:ln w="204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D6EBD98D-EB2C-D7E0-7F7A-1783538F0FBE}"/>
                </a:ext>
              </a:extLst>
            </p:cNvPr>
            <p:cNvSpPr/>
            <p:nvPr/>
          </p:nvSpPr>
          <p:spPr>
            <a:xfrm>
              <a:off x="5767561" y="3155816"/>
              <a:ext cx="521799" cy="564420"/>
            </a:xfrm>
            <a:custGeom>
              <a:avLst/>
              <a:gdLst>
                <a:gd name="connsiteX0" fmla="*/ 155743 w 521799"/>
                <a:gd name="connsiteY0" fmla="*/ 564351 h 564420"/>
                <a:gd name="connsiteX1" fmla="*/ 95586 w 521799"/>
                <a:gd name="connsiteY1" fmla="*/ 554734 h 564420"/>
                <a:gd name="connsiteX2" fmla="*/ 45865 w 521799"/>
                <a:gd name="connsiteY2" fmla="*/ 526292 h 564420"/>
                <a:gd name="connsiteX3" fmla="*/ 12308 w 521799"/>
                <a:gd name="connsiteY3" fmla="*/ 479640 h 564420"/>
                <a:gd name="connsiteX4" fmla="*/ 31 w 521799"/>
                <a:gd name="connsiteY4" fmla="*/ 417028 h 564420"/>
                <a:gd name="connsiteX5" fmla="*/ 82900 w 521799"/>
                <a:gd name="connsiteY5" fmla="*/ 269910 h 564420"/>
                <a:gd name="connsiteX6" fmla="*/ 345626 w 521799"/>
                <a:gd name="connsiteY6" fmla="*/ 202182 h 564420"/>
                <a:gd name="connsiteX7" fmla="*/ 345626 w 521799"/>
                <a:gd name="connsiteY7" fmla="*/ 189292 h 564420"/>
                <a:gd name="connsiteX8" fmla="*/ 328847 w 521799"/>
                <a:gd name="connsiteY8" fmla="*/ 141616 h 564420"/>
                <a:gd name="connsiteX9" fmla="*/ 272169 w 521799"/>
                <a:gd name="connsiteY9" fmla="*/ 123815 h 564420"/>
                <a:gd name="connsiteX10" fmla="*/ 175590 w 521799"/>
                <a:gd name="connsiteY10" fmla="*/ 142639 h 564420"/>
                <a:gd name="connsiteX11" fmla="*/ 93131 w 521799"/>
                <a:gd name="connsiteY11" fmla="*/ 191338 h 564420"/>
                <a:gd name="connsiteX12" fmla="*/ 23153 w 521799"/>
                <a:gd name="connsiteY12" fmla="*/ 96806 h 564420"/>
                <a:gd name="connsiteX13" fmla="*/ 70009 w 521799"/>
                <a:gd name="connsiteY13" fmla="*/ 61407 h 564420"/>
                <a:gd name="connsiteX14" fmla="*/ 128939 w 521799"/>
                <a:gd name="connsiteY14" fmla="*/ 30101 h 564420"/>
                <a:gd name="connsiteX15" fmla="*/ 203009 w 521799"/>
                <a:gd name="connsiteY15" fmla="*/ 8207 h 564420"/>
                <a:gd name="connsiteX16" fmla="*/ 295495 w 521799"/>
                <a:gd name="connsiteY16" fmla="*/ 23 h 564420"/>
                <a:gd name="connsiteX17" fmla="*/ 457141 w 521799"/>
                <a:gd name="connsiteY17" fmla="*/ 54041 h 564420"/>
                <a:gd name="connsiteX18" fmla="*/ 506248 w 521799"/>
                <a:gd name="connsiteY18" fmla="*/ 213641 h 564420"/>
                <a:gd name="connsiteX19" fmla="*/ 506248 w 521799"/>
                <a:gd name="connsiteY19" fmla="*/ 423576 h 564420"/>
                <a:gd name="connsiteX20" fmla="*/ 509727 w 521799"/>
                <a:gd name="connsiteY20" fmla="*/ 504194 h 564420"/>
                <a:gd name="connsiteX21" fmla="*/ 521799 w 521799"/>
                <a:gd name="connsiteY21" fmla="*/ 556371 h 564420"/>
                <a:gd name="connsiteX22" fmla="*/ 358107 w 521799"/>
                <a:gd name="connsiteY22" fmla="*/ 556371 h 564420"/>
                <a:gd name="connsiteX23" fmla="*/ 349309 w 521799"/>
                <a:gd name="connsiteY23" fmla="*/ 519540 h 564420"/>
                <a:gd name="connsiteX24" fmla="*/ 345626 w 521799"/>
                <a:gd name="connsiteY24" fmla="*/ 476571 h 564420"/>
                <a:gd name="connsiteX25" fmla="*/ 262552 w 521799"/>
                <a:gd name="connsiteY25" fmla="*/ 541843 h 564420"/>
                <a:gd name="connsiteX26" fmla="*/ 155743 w 521799"/>
                <a:gd name="connsiteY26" fmla="*/ 564351 h 564420"/>
                <a:gd name="connsiteX27" fmla="*/ 221220 w 521799"/>
                <a:gd name="connsiteY27" fmla="*/ 441582 h 564420"/>
                <a:gd name="connsiteX28" fmla="*/ 294881 w 521799"/>
                <a:gd name="connsiteY28" fmla="*/ 428077 h 564420"/>
                <a:gd name="connsiteX29" fmla="*/ 345626 w 521799"/>
                <a:gd name="connsiteY29" fmla="*/ 394111 h 564420"/>
                <a:gd name="connsiteX30" fmla="*/ 345626 w 521799"/>
                <a:gd name="connsiteY30" fmla="*/ 293645 h 564420"/>
                <a:gd name="connsiteX31" fmla="*/ 204237 w 521799"/>
                <a:gd name="connsiteY31" fmla="*/ 327611 h 564420"/>
                <a:gd name="connsiteX32" fmla="*/ 160858 w 521799"/>
                <a:gd name="connsiteY32" fmla="*/ 388996 h 564420"/>
                <a:gd name="connsiteX33" fmla="*/ 177637 w 521799"/>
                <a:gd name="connsiteY33" fmla="*/ 428486 h 564420"/>
                <a:gd name="connsiteX34" fmla="*/ 221220 w 521799"/>
                <a:gd name="connsiteY34" fmla="*/ 440968 h 5644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521799" h="564420">
                  <a:moveTo>
                    <a:pt x="155743" y="564351"/>
                  </a:moveTo>
                  <a:cubicBezTo>
                    <a:pt x="135293" y="564553"/>
                    <a:pt x="114954" y="561302"/>
                    <a:pt x="95586" y="554734"/>
                  </a:cubicBezTo>
                  <a:cubicBezTo>
                    <a:pt x="77333" y="548550"/>
                    <a:pt x="60449" y="538892"/>
                    <a:pt x="45865" y="526292"/>
                  </a:cubicBezTo>
                  <a:cubicBezTo>
                    <a:pt x="31322" y="513455"/>
                    <a:pt x="19853" y="497511"/>
                    <a:pt x="12308" y="479640"/>
                  </a:cubicBezTo>
                  <a:cubicBezTo>
                    <a:pt x="3851" y="459867"/>
                    <a:pt x="-333" y="438530"/>
                    <a:pt x="31" y="417028"/>
                  </a:cubicBezTo>
                  <a:cubicBezTo>
                    <a:pt x="-1137" y="356572"/>
                    <a:pt x="30592" y="300244"/>
                    <a:pt x="82900" y="269910"/>
                  </a:cubicBezTo>
                  <a:cubicBezTo>
                    <a:pt x="137464" y="234580"/>
                    <a:pt x="225039" y="212004"/>
                    <a:pt x="345626" y="202182"/>
                  </a:cubicBezTo>
                  <a:lnTo>
                    <a:pt x="345626" y="189292"/>
                  </a:lnTo>
                  <a:cubicBezTo>
                    <a:pt x="346593" y="171801"/>
                    <a:pt x="340555" y="154646"/>
                    <a:pt x="328847" y="141616"/>
                  </a:cubicBezTo>
                  <a:cubicBezTo>
                    <a:pt x="313193" y="128165"/>
                    <a:pt x="292703" y="121730"/>
                    <a:pt x="272169" y="123815"/>
                  </a:cubicBezTo>
                  <a:cubicBezTo>
                    <a:pt x="239030" y="123452"/>
                    <a:pt x="206167" y="129857"/>
                    <a:pt x="175590" y="142639"/>
                  </a:cubicBezTo>
                  <a:cubicBezTo>
                    <a:pt x="145941" y="154894"/>
                    <a:pt x="118178" y="171290"/>
                    <a:pt x="93131" y="191338"/>
                  </a:cubicBezTo>
                  <a:lnTo>
                    <a:pt x="23153" y="96806"/>
                  </a:lnTo>
                  <a:cubicBezTo>
                    <a:pt x="37999" y="84017"/>
                    <a:pt x="53650" y="72193"/>
                    <a:pt x="70009" y="61407"/>
                  </a:cubicBezTo>
                  <a:cubicBezTo>
                    <a:pt x="88604" y="49108"/>
                    <a:pt x="108338" y="38624"/>
                    <a:pt x="128939" y="30101"/>
                  </a:cubicBezTo>
                  <a:cubicBezTo>
                    <a:pt x="152825" y="20317"/>
                    <a:pt x="177642" y="12981"/>
                    <a:pt x="203009" y="8207"/>
                  </a:cubicBezTo>
                  <a:cubicBezTo>
                    <a:pt x="233496" y="2460"/>
                    <a:pt x="264473" y="-282"/>
                    <a:pt x="295495" y="23"/>
                  </a:cubicBezTo>
                  <a:cubicBezTo>
                    <a:pt x="370384" y="23"/>
                    <a:pt x="424266" y="18029"/>
                    <a:pt x="457141" y="54041"/>
                  </a:cubicBezTo>
                  <a:cubicBezTo>
                    <a:pt x="490016" y="90054"/>
                    <a:pt x="506385" y="143253"/>
                    <a:pt x="506248" y="213641"/>
                  </a:cubicBezTo>
                  <a:lnTo>
                    <a:pt x="506248" y="423576"/>
                  </a:lnTo>
                  <a:cubicBezTo>
                    <a:pt x="506022" y="450490"/>
                    <a:pt x="507183" y="477399"/>
                    <a:pt x="509727" y="504194"/>
                  </a:cubicBezTo>
                  <a:cubicBezTo>
                    <a:pt x="511301" y="522064"/>
                    <a:pt x="515364" y="539626"/>
                    <a:pt x="521799" y="556371"/>
                  </a:cubicBezTo>
                  <a:lnTo>
                    <a:pt x="358107" y="556371"/>
                  </a:lnTo>
                  <a:cubicBezTo>
                    <a:pt x="354833" y="544708"/>
                    <a:pt x="351969" y="532431"/>
                    <a:pt x="349309" y="519540"/>
                  </a:cubicBezTo>
                  <a:cubicBezTo>
                    <a:pt x="346758" y="505361"/>
                    <a:pt x="345525" y="490977"/>
                    <a:pt x="345626" y="476571"/>
                  </a:cubicBezTo>
                  <a:cubicBezTo>
                    <a:pt x="322605" y="503692"/>
                    <a:pt x="294350" y="525892"/>
                    <a:pt x="262552" y="541843"/>
                  </a:cubicBezTo>
                  <a:cubicBezTo>
                    <a:pt x="229181" y="557542"/>
                    <a:pt x="192612" y="565248"/>
                    <a:pt x="155743" y="564351"/>
                  </a:cubicBezTo>
                  <a:close/>
                  <a:moveTo>
                    <a:pt x="221220" y="441582"/>
                  </a:moveTo>
                  <a:cubicBezTo>
                    <a:pt x="246444" y="442232"/>
                    <a:pt x="271528" y="437633"/>
                    <a:pt x="294881" y="428077"/>
                  </a:cubicBezTo>
                  <a:cubicBezTo>
                    <a:pt x="313837" y="420149"/>
                    <a:pt x="331071" y="408614"/>
                    <a:pt x="345626" y="394111"/>
                  </a:cubicBezTo>
                  <a:lnTo>
                    <a:pt x="345626" y="293645"/>
                  </a:lnTo>
                  <a:cubicBezTo>
                    <a:pt x="296805" y="296155"/>
                    <a:pt x="248870" y="307671"/>
                    <a:pt x="204237" y="327611"/>
                  </a:cubicBezTo>
                  <a:cubicBezTo>
                    <a:pt x="179212" y="338074"/>
                    <a:pt x="162365" y="361914"/>
                    <a:pt x="160858" y="388996"/>
                  </a:cubicBezTo>
                  <a:cubicBezTo>
                    <a:pt x="159707" y="404103"/>
                    <a:pt x="165963" y="418828"/>
                    <a:pt x="177637" y="428486"/>
                  </a:cubicBezTo>
                  <a:cubicBezTo>
                    <a:pt x="190343" y="437440"/>
                    <a:pt x="205701" y="441839"/>
                    <a:pt x="221220" y="440968"/>
                  </a:cubicBezTo>
                  <a:close/>
                </a:path>
              </a:pathLst>
            </a:custGeom>
            <a:grpFill/>
            <a:ln w="204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960DE0F0-2A24-102B-0150-924C7932D538}"/>
                </a:ext>
              </a:extLst>
            </p:cNvPr>
            <p:cNvSpPr/>
            <p:nvPr/>
          </p:nvSpPr>
          <p:spPr>
            <a:xfrm>
              <a:off x="6378163" y="3155714"/>
              <a:ext cx="542023" cy="761291"/>
            </a:xfrm>
            <a:custGeom>
              <a:avLst/>
              <a:gdLst>
                <a:gd name="connsiteX0" fmla="*/ 0 w 542023"/>
                <a:gd name="connsiteY0" fmla="*/ 761292 h 761291"/>
                <a:gd name="connsiteX1" fmla="*/ 0 w 542023"/>
                <a:gd name="connsiteY1" fmla="*/ 10969 h 761291"/>
                <a:gd name="connsiteX2" fmla="*/ 164920 w 542023"/>
                <a:gd name="connsiteY2" fmla="*/ 10969 h 761291"/>
                <a:gd name="connsiteX3" fmla="*/ 164920 w 542023"/>
                <a:gd name="connsiteY3" fmla="*/ 94043 h 761291"/>
                <a:gd name="connsiteX4" fmla="*/ 231829 w 542023"/>
                <a:gd name="connsiteY4" fmla="*/ 28771 h 761291"/>
                <a:gd name="connsiteX5" fmla="*/ 332704 w 542023"/>
                <a:gd name="connsiteY5" fmla="*/ 124 h 761291"/>
                <a:gd name="connsiteX6" fmla="*/ 417415 w 542023"/>
                <a:gd name="connsiteY6" fmla="*/ 17926 h 761291"/>
                <a:gd name="connsiteX7" fmla="*/ 483914 w 542023"/>
                <a:gd name="connsiteY7" fmla="*/ 71126 h 761291"/>
                <a:gd name="connsiteX8" fmla="*/ 526884 w 542023"/>
                <a:gd name="connsiteY8" fmla="*/ 159724 h 761291"/>
                <a:gd name="connsiteX9" fmla="*/ 526884 w 542023"/>
                <a:gd name="connsiteY9" fmla="*/ 406489 h 761291"/>
                <a:gd name="connsiteX10" fmla="*/ 483301 w 542023"/>
                <a:gd name="connsiteY10" fmla="*/ 494678 h 761291"/>
                <a:gd name="connsiteX11" fmla="*/ 416391 w 542023"/>
                <a:gd name="connsiteY11" fmla="*/ 547264 h 761291"/>
                <a:gd name="connsiteX12" fmla="*/ 330248 w 542023"/>
                <a:gd name="connsiteY12" fmla="*/ 564452 h 761291"/>
                <a:gd name="connsiteX13" fmla="*/ 235307 w 542023"/>
                <a:gd name="connsiteY13" fmla="*/ 545832 h 761291"/>
                <a:gd name="connsiteX14" fmla="*/ 164920 w 542023"/>
                <a:gd name="connsiteY14" fmla="*/ 492018 h 761291"/>
                <a:gd name="connsiteX15" fmla="*/ 164920 w 542023"/>
                <a:gd name="connsiteY15" fmla="*/ 761292 h 761291"/>
                <a:gd name="connsiteX16" fmla="*/ 274389 w 542023"/>
                <a:gd name="connsiteY16" fmla="*/ 441069 h 761291"/>
                <a:gd name="connsiteX17" fmla="*/ 351938 w 542023"/>
                <a:gd name="connsiteY17" fmla="*/ 400146 h 761291"/>
                <a:gd name="connsiteX18" fmla="*/ 377719 w 542023"/>
                <a:gd name="connsiteY18" fmla="*/ 284334 h 761291"/>
                <a:gd name="connsiteX19" fmla="*/ 352551 w 542023"/>
                <a:gd name="connsiteY19" fmla="*/ 175888 h 761291"/>
                <a:gd name="connsiteX20" fmla="*/ 272342 w 542023"/>
                <a:gd name="connsiteY20" fmla="*/ 135989 h 761291"/>
                <a:gd name="connsiteX21" fmla="*/ 212799 w 542023"/>
                <a:gd name="connsiteY21" fmla="*/ 152358 h 761291"/>
                <a:gd name="connsiteX22" fmla="*/ 164920 w 542023"/>
                <a:gd name="connsiteY22" fmla="*/ 189393 h 761291"/>
                <a:gd name="connsiteX23" fmla="*/ 164920 w 542023"/>
                <a:gd name="connsiteY23" fmla="*/ 390734 h 761291"/>
                <a:gd name="connsiteX24" fmla="*/ 216278 w 542023"/>
                <a:gd name="connsiteY24" fmla="*/ 428588 h 761291"/>
                <a:gd name="connsiteX25" fmla="*/ 274389 w 542023"/>
                <a:gd name="connsiteY25" fmla="*/ 441069 h 761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542023" h="761291">
                  <a:moveTo>
                    <a:pt x="0" y="761292"/>
                  </a:moveTo>
                  <a:lnTo>
                    <a:pt x="0" y="10969"/>
                  </a:lnTo>
                  <a:lnTo>
                    <a:pt x="164920" y="10969"/>
                  </a:lnTo>
                  <a:lnTo>
                    <a:pt x="164920" y="94043"/>
                  </a:lnTo>
                  <a:cubicBezTo>
                    <a:pt x="183499" y="68769"/>
                    <a:pt x="206103" y="46718"/>
                    <a:pt x="231829" y="28771"/>
                  </a:cubicBezTo>
                  <a:cubicBezTo>
                    <a:pt x="261572" y="8781"/>
                    <a:pt x="296894" y="-1249"/>
                    <a:pt x="332704" y="124"/>
                  </a:cubicBezTo>
                  <a:cubicBezTo>
                    <a:pt x="361901" y="-193"/>
                    <a:pt x="390815" y="5883"/>
                    <a:pt x="417415" y="17926"/>
                  </a:cubicBezTo>
                  <a:cubicBezTo>
                    <a:pt x="443433" y="30220"/>
                    <a:pt x="466209" y="48440"/>
                    <a:pt x="483914" y="71126"/>
                  </a:cubicBezTo>
                  <a:cubicBezTo>
                    <a:pt x="503805" y="97618"/>
                    <a:pt x="518395" y="127701"/>
                    <a:pt x="526884" y="159724"/>
                  </a:cubicBezTo>
                  <a:cubicBezTo>
                    <a:pt x="547071" y="240740"/>
                    <a:pt x="547071" y="325473"/>
                    <a:pt x="526884" y="406489"/>
                  </a:cubicBezTo>
                  <a:cubicBezTo>
                    <a:pt x="518194" y="438427"/>
                    <a:pt x="503393" y="468376"/>
                    <a:pt x="483301" y="494678"/>
                  </a:cubicBezTo>
                  <a:cubicBezTo>
                    <a:pt x="465589" y="517370"/>
                    <a:pt x="442626" y="535417"/>
                    <a:pt x="416391" y="547264"/>
                  </a:cubicBezTo>
                  <a:cubicBezTo>
                    <a:pt x="389214" y="559016"/>
                    <a:pt x="359855" y="564874"/>
                    <a:pt x="330248" y="564452"/>
                  </a:cubicBezTo>
                  <a:cubicBezTo>
                    <a:pt x="297617" y="565300"/>
                    <a:pt x="265200" y="558943"/>
                    <a:pt x="235307" y="545832"/>
                  </a:cubicBezTo>
                  <a:cubicBezTo>
                    <a:pt x="208319" y="533047"/>
                    <a:pt x="184334" y="514709"/>
                    <a:pt x="164920" y="492018"/>
                  </a:cubicBezTo>
                  <a:lnTo>
                    <a:pt x="164920" y="761292"/>
                  </a:lnTo>
                  <a:close/>
                  <a:moveTo>
                    <a:pt x="274389" y="441069"/>
                  </a:moveTo>
                  <a:cubicBezTo>
                    <a:pt x="305816" y="442816"/>
                    <a:pt x="335643" y="427077"/>
                    <a:pt x="351938" y="400146"/>
                  </a:cubicBezTo>
                  <a:cubicBezTo>
                    <a:pt x="371108" y="364681"/>
                    <a:pt x="380035" y="324583"/>
                    <a:pt x="377719" y="284334"/>
                  </a:cubicBezTo>
                  <a:cubicBezTo>
                    <a:pt x="379645" y="246543"/>
                    <a:pt x="370925" y="208969"/>
                    <a:pt x="352551" y="175888"/>
                  </a:cubicBezTo>
                  <a:cubicBezTo>
                    <a:pt x="335064" y="148988"/>
                    <a:pt x="304346" y="133707"/>
                    <a:pt x="272342" y="135989"/>
                  </a:cubicBezTo>
                  <a:cubicBezTo>
                    <a:pt x="251364" y="135840"/>
                    <a:pt x="230754" y="141506"/>
                    <a:pt x="212799" y="152358"/>
                  </a:cubicBezTo>
                  <a:cubicBezTo>
                    <a:pt x="195410" y="162735"/>
                    <a:pt x="179334" y="175170"/>
                    <a:pt x="164920" y="189393"/>
                  </a:cubicBezTo>
                  <a:lnTo>
                    <a:pt x="164920" y="390734"/>
                  </a:lnTo>
                  <a:cubicBezTo>
                    <a:pt x="180009" y="405897"/>
                    <a:pt x="197328" y="418663"/>
                    <a:pt x="216278" y="428588"/>
                  </a:cubicBezTo>
                  <a:cubicBezTo>
                    <a:pt x="234399" y="437254"/>
                    <a:pt x="254307" y="441530"/>
                    <a:pt x="274389" y="441069"/>
                  </a:cubicBezTo>
                  <a:close/>
                </a:path>
              </a:pathLst>
            </a:custGeom>
            <a:grpFill/>
            <a:ln w="204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5E6C1EB7-E2AC-AF78-E937-B6A3CBF706BA}"/>
                </a:ext>
              </a:extLst>
            </p:cNvPr>
            <p:cNvSpPr/>
            <p:nvPr/>
          </p:nvSpPr>
          <p:spPr>
            <a:xfrm>
              <a:off x="7003262" y="3155714"/>
              <a:ext cx="542023" cy="761291"/>
            </a:xfrm>
            <a:custGeom>
              <a:avLst/>
              <a:gdLst>
                <a:gd name="connsiteX0" fmla="*/ 0 w 542023"/>
                <a:gd name="connsiteY0" fmla="*/ 761292 h 761291"/>
                <a:gd name="connsiteX1" fmla="*/ 0 w 542023"/>
                <a:gd name="connsiteY1" fmla="*/ 10969 h 761291"/>
                <a:gd name="connsiteX2" fmla="*/ 164920 w 542023"/>
                <a:gd name="connsiteY2" fmla="*/ 10969 h 761291"/>
                <a:gd name="connsiteX3" fmla="*/ 164920 w 542023"/>
                <a:gd name="connsiteY3" fmla="*/ 94043 h 761291"/>
                <a:gd name="connsiteX4" fmla="*/ 231828 w 542023"/>
                <a:gd name="connsiteY4" fmla="*/ 28771 h 761291"/>
                <a:gd name="connsiteX5" fmla="*/ 332703 w 542023"/>
                <a:gd name="connsiteY5" fmla="*/ 124 h 761291"/>
                <a:gd name="connsiteX6" fmla="*/ 417414 w 542023"/>
                <a:gd name="connsiteY6" fmla="*/ 17926 h 761291"/>
                <a:gd name="connsiteX7" fmla="*/ 483914 w 542023"/>
                <a:gd name="connsiteY7" fmla="*/ 71126 h 761291"/>
                <a:gd name="connsiteX8" fmla="*/ 526883 w 542023"/>
                <a:gd name="connsiteY8" fmla="*/ 159724 h 761291"/>
                <a:gd name="connsiteX9" fmla="*/ 526883 w 542023"/>
                <a:gd name="connsiteY9" fmla="*/ 406489 h 761291"/>
                <a:gd name="connsiteX10" fmla="*/ 483300 w 542023"/>
                <a:gd name="connsiteY10" fmla="*/ 494678 h 761291"/>
                <a:gd name="connsiteX11" fmla="*/ 416391 w 542023"/>
                <a:gd name="connsiteY11" fmla="*/ 547264 h 761291"/>
                <a:gd name="connsiteX12" fmla="*/ 330249 w 542023"/>
                <a:gd name="connsiteY12" fmla="*/ 564452 h 761291"/>
                <a:gd name="connsiteX13" fmla="*/ 235307 w 542023"/>
                <a:gd name="connsiteY13" fmla="*/ 545832 h 761291"/>
                <a:gd name="connsiteX14" fmla="*/ 164920 w 542023"/>
                <a:gd name="connsiteY14" fmla="*/ 492018 h 761291"/>
                <a:gd name="connsiteX15" fmla="*/ 164920 w 542023"/>
                <a:gd name="connsiteY15" fmla="*/ 761292 h 761291"/>
                <a:gd name="connsiteX16" fmla="*/ 274389 w 542023"/>
                <a:gd name="connsiteY16" fmla="*/ 441069 h 761291"/>
                <a:gd name="connsiteX17" fmla="*/ 351938 w 542023"/>
                <a:gd name="connsiteY17" fmla="*/ 400146 h 761291"/>
                <a:gd name="connsiteX18" fmla="*/ 377720 w 542023"/>
                <a:gd name="connsiteY18" fmla="*/ 284334 h 761291"/>
                <a:gd name="connsiteX19" fmla="*/ 352552 w 542023"/>
                <a:gd name="connsiteY19" fmla="*/ 175888 h 761291"/>
                <a:gd name="connsiteX20" fmla="*/ 272342 w 542023"/>
                <a:gd name="connsiteY20" fmla="*/ 135989 h 761291"/>
                <a:gd name="connsiteX21" fmla="*/ 212799 w 542023"/>
                <a:gd name="connsiteY21" fmla="*/ 152358 h 761291"/>
                <a:gd name="connsiteX22" fmla="*/ 164920 w 542023"/>
                <a:gd name="connsiteY22" fmla="*/ 189393 h 761291"/>
                <a:gd name="connsiteX23" fmla="*/ 164920 w 542023"/>
                <a:gd name="connsiteY23" fmla="*/ 390734 h 761291"/>
                <a:gd name="connsiteX24" fmla="*/ 216482 w 542023"/>
                <a:gd name="connsiteY24" fmla="*/ 428588 h 761291"/>
                <a:gd name="connsiteX25" fmla="*/ 274388 w 542023"/>
                <a:gd name="connsiteY25" fmla="*/ 441069 h 761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542023" h="761291">
                  <a:moveTo>
                    <a:pt x="0" y="761292"/>
                  </a:moveTo>
                  <a:lnTo>
                    <a:pt x="0" y="10969"/>
                  </a:lnTo>
                  <a:lnTo>
                    <a:pt x="164920" y="10969"/>
                  </a:lnTo>
                  <a:lnTo>
                    <a:pt x="164920" y="94043"/>
                  </a:lnTo>
                  <a:cubicBezTo>
                    <a:pt x="183498" y="68769"/>
                    <a:pt x="206102" y="46718"/>
                    <a:pt x="231828" y="28771"/>
                  </a:cubicBezTo>
                  <a:cubicBezTo>
                    <a:pt x="261572" y="8781"/>
                    <a:pt x="296893" y="-1249"/>
                    <a:pt x="332703" y="124"/>
                  </a:cubicBezTo>
                  <a:cubicBezTo>
                    <a:pt x="361901" y="-193"/>
                    <a:pt x="390814" y="5883"/>
                    <a:pt x="417414" y="17926"/>
                  </a:cubicBezTo>
                  <a:cubicBezTo>
                    <a:pt x="443433" y="30220"/>
                    <a:pt x="466209" y="48440"/>
                    <a:pt x="483914" y="71126"/>
                  </a:cubicBezTo>
                  <a:cubicBezTo>
                    <a:pt x="503805" y="97618"/>
                    <a:pt x="518395" y="127701"/>
                    <a:pt x="526883" y="159724"/>
                  </a:cubicBezTo>
                  <a:cubicBezTo>
                    <a:pt x="547071" y="240740"/>
                    <a:pt x="547071" y="325473"/>
                    <a:pt x="526883" y="406489"/>
                  </a:cubicBezTo>
                  <a:cubicBezTo>
                    <a:pt x="518194" y="438427"/>
                    <a:pt x="503393" y="468376"/>
                    <a:pt x="483300" y="494678"/>
                  </a:cubicBezTo>
                  <a:cubicBezTo>
                    <a:pt x="465588" y="517370"/>
                    <a:pt x="442626" y="535417"/>
                    <a:pt x="416391" y="547264"/>
                  </a:cubicBezTo>
                  <a:cubicBezTo>
                    <a:pt x="389214" y="559016"/>
                    <a:pt x="359854" y="564874"/>
                    <a:pt x="330249" y="564452"/>
                  </a:cubicBezTo>
                  <a:cubicBezTo>
                    <a:pt x="297618" y="565300"/>
                    <a:pt x="265201" y="558943"/>
                    <a:pt x="235307" y="545832"/>
                  </a:cubicBezTo>
                  <a:cubicBezTo>
                    <a:pt x="208319" y="533047"/>
                    <a:pt x="184334" y="514709"/>
                    <a:pt x="164920" y="492018"/>
                  </a:cubicBezTo>
                  <a:lnTo>
                    <a:pt x="164920" y="761292"/>
                  </a:lnTo>
                  <a:close/>
                  <a:moveTo>
                    <a:pt x="274389" y="441069"/>
                  </a:moveTo>
                  <a:cubicBezTo>
                    <a:pt x="305826" y="442862"/>
                    <a:pt x="335675" y="427111"/>
                    <a:pt x="351938" y="400146"/>
                  </a:cubicBezTo>
                  <a:cubicBezTo>
                    <a:pt x="371108" y="364681"/>
                    <a:pt x="380035" y="324583"/>
                    <a:pt x="377720" y="284334"/>
                  </a:cubicBezTo>
                  <a:cubicBezTo>
                    <a:pt x="379645" y="246543"/>
                    <a:pt x="370925" y="208969"/>
                    <a:pt x="352552" y="175888"/>
                  </a:cubicBezTo>
                  <a:cubicBezTo>
                    <a:pt x="335125" y="148920"/>
                    <a:pt x="304364" y="133617"/>
                    <a:pt x="272342" y="135989"/>
                  </a:cubicBezTo>
                  <a:cubicBezTo>
                    <a:pt x="251364" y="135840"/>
                    <a:pt x="230754" y="141506"/>
                    <a:pt x="212799" y="152358"/>
                  </a:cubicBezTo>
                  <a:cubicBezTo>
                    <a:pt x="195409" y="162735"/>
                    <a:pt x="179334" y="175170"/>
                    <a:pt x="164920" y="189393"/>
                  </a:cubicBezTo>
                  <a:lnTo>
                    <a:pt x="164920" y="390734"/>
                  </a:lnTo>
                  <a:cubicBezTo>
                    <a:pt x="180038" y="405952"/>
                    <a:pt x="197434" y="418723"/>
                    <a:pt x="216482" y="428588"/>
                  </a:cubicBezTo>
                  <a:cubicBezTo>
                    <a:pt x="234524" y="437274"/>
                    <a:pt x="254370" y="441552"/>
                    <a:pt x="274388" y="441069"/>
                  </a:cubicBezTo>
                  <a:close/>
                </a:path>
              </a:pathLst>
            </a:custGeom>
            <a:grpFill/>
            <a:ln w="204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B09C54C3-DBAB-2F3F-5CCA-4A4B39619532}"/>
                </a:ext>
              </a:extLst>
            </p:cNvPr>
            <p:cNvSpPr/>
            <p:nvPr/>
          </p:nvSpPr>
          <p:spPr>
            <a:xfrm>
              <a:off x="7630611" y="2955112"/>
              <a:ext cx="513022" cy="757074"/>
            </a:xfrm>
            <a:custGeom>
              <a:avLst/>
              <a:gdLst>
                <a:gd name="connsiteX0" fmla="*/ 0 w 513022"/>
                <a:gd name="connsiteY0" fmla="*/ 757075 h 757074"/>
                <a:gd name="connsiteX1" fmla="*/ 0 w 513022"/>
                <a:gd name="connsiteY1" fmla="*/ 0 h 757074"/>
                <a:gd name="connsiteX2" fmla="*/ 164920 w 513022"/>
                <a:gd name="connsiteY2" fmla="*/ 0 h 757074"/>
                <a:gd name="connsiteX3" fmla="*/ 164920 w 513022"/>
                <a:gd name="connsiteY3" fmla="*/ 297510 h 757074"/>
                <a:gd name="connsiteX4" fmla="*/ 194384 w 513022"/>
                <a:gd name="connsiteY4" fmla="*/ 264567 h 757074"/>
                <a:gd name="connsiteX5" fmla="*/ 235307 w 513022"/>
                <a:gd name="connsiteY5" fmla="*/ 233465 h 757074"/>
                <a:gd name="connsiteX6" fmla="*/ 288097 w 513022"/>
                <a:gd name="connsiteY6" fmla="*/ 209935 h 757074"/>
                <a:gd name="connsiteX7" fmla="*/ 352756 w 513022"/>
                <a:gd name="connsiteY7" fmla="*/ 200727 h 757074"/>
                <a:gd name="connsiteX8" fmla="*/ 416800 w 513022"/>
                <a:gd name="connsiteY8" fmla="*/ 209935 h 757074"/>
                <a:gd name="connsiteX9" fmla="*/ 467545 w 513022"/>
                <a:gd name="connsiteY9" fmla="*/ 238172 h 757074"/>
                <a:gd name="connsiteX10" fmla="*/ 501306 w 513022"/>
                <a:gd name="connsiteY10" fmla="*/ 287074 h 757074"/>
                <a:gd name="connsiteX11" fmla="*/ 512970 w 513022"/>
                <a:gd name="connsiteY11" fmla="*/ 358894 h 757074"/>
                <a:gd name="connsiteX12" fmla="*/ 512970 w 513022"/>
                <a:gd name="connsiteY12" fmla="*/ 757075 h 757074"/>
                <a:gd name="connsiteX13" fmla="*/ 348050 w 513022"/>
                <a:gd name="connsiteY13" fmla="*/ 757075 h 757074"/>
                <a:gd name="connsiteX14" fmla="*/ 348050 w 513022"/>
                <a:gd name="connsiteY14" fmla="*/ 412503 h 757074"/>
                <a:gd name="connsiteX15" fmla="*/ 333318 w 513022"/>
                <a:gd name="connsiteY15" fmla="*/ 356439 h 757074"/>
                <a:gd name="connsiteX16" fmla="*/ 284619 w 513022"/>
                <a:gd name="connsiteY16" fmla="*/ 337615 h 757074"/>
                <a:gd name="connsiteX17" fmla="*/ 222007 w 513022"/>
                <a:gd name="connsiteY17" fmla="*/ 352961 h 757074"/>
                <a:gd name="connsiteX18" fmla="*/ 164920 w 513022"/>
                <a:gd name="connsiteY18" fmla="*/ 392042 h 757074"/>
                <a:gd name="connsiteX19" fmla="*/ 164920 w 513022"/>
                <a:gd name="connsiteY19" fmla="*/ 757075 h 7570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513022" h="757074">
                  <a:moveTo>
                    <a:pt x="0" y="757075"/>
                  </a:moveTo>
                  <a:lnTo>
                    <a:pt x="0" y="0"/>
                  </a:lnTo>
                  <a:lnTo>
                    <a:pt x="164920" y="0"/>
                  </a:lnTo>
                  <a:lnTo>
                    <a:pt x="164920" y="297510"/>
                  </a:lnTo>
                  <a:cubicBezTo>
                    <a:pt x="173853" y="285766"/>
                    <a:pt x="183705" y="274750"/>
                    <a:pt x="194384" y="264567"/>
                  </a:cubicBezTo>
                  <a:cubicBezTo>
                    <a:pt x="206785" y="252663"/>
                    <a:pt x="220517" y="242227"/>
                    <a:pt x="235307" y="233465"/>
                  </a:cubicBezTo>
                  <a:cubicBezTo>
                    <a:pt x="251848" y="223439"/>
                    <a:pt x="269584" y="215533"/>
                    <a:pt x="288097" y="209935"/>
                  </a:cubicBezTo>
                  <a:cubicBezTo>
                    <a:pt x="309051" y="203569"/>
                    <a:pt x="330858" y="200464"/>
                    <a:pt x="352756" y="200727"/>
                  </a:cubicBezTo>
                  <a:cubicBezTo>
                    <a:pt x="374450" y="200494"/>
                    <a:pt x="396050" y="203600"/>
                    <a:pt x="416800" y="209935"/>
                  </a:cubicBezTo>
                  <a:cubicBezTo>
                    <a:pt x="435540" y="215609"/>
                    <a:pt x="452844" y="225238"/>
                    <a:pt x="467545" y="238172"/>
                  </a:cubicBezTo>
                  <a:cubicBezTo>
                    <a:pt x="482536" y="251549"/>
                    <a:pt x="494111" y="268316"/>
                    <a:pt x="501306" y="287074"/>
                  </a:cubicBezTo>
                  <a:cubicBezTo>
                    <a:pt x="509582" y="310092"/>
                    <a:pt x="513536" y="334441"/>
                    <a:pt x="512970" y="358894"/>
                  </a:cubicBezTo>
                  <a:lnTo>
                    <a:pt x="512970" y="757075"/>
                  </a:lnTo>
                  <a:lnTo>
                    <a:pt x="348050" y="757075"/>
                  </a:lnTo>
                  <a:lnTo>
                    <a:pt x="348050" y="412503"/>
                  </a:lnTo>
                  <a:cubicBezTo>
                    <a:pt x="349439" y="392704"/>
                    <a:pt x="344261" y="372998"/>
                    <a:pt x="333318" y="356439"/>
                  </a:cubicBezTo>
                  <a:cubicBezTo>
                    <a:pt x="320958" y="342842"/>
                    <a:pt x="302912" y="335866"/>
                    <a:pt x="284619" y="337615"/>
                  </a:cubicBezTo>
                  <a:cubicBezTo>
                    <a:pt x="262803" y="337493"/>
                    <a:pt x="241295" y="342764"/>
                    <a:pt x="222007" y="352961"/>
                  </a:cubicBezTo>
                  <a:cubicBezTo>
                    <a:pt x="201588" y="363831"/>
                    <a:pt x="182441" y="376939"/>
                    <a:pt x="164920" y="392042"/>
                  </a:cubicBezTo>
                  <a:lnTo>
                    <a:pt x="164920" y="757075"/>
                  </a:lnTo>
                  <a:close/>
                </a:path>
              </a:pathLst>
            </a:custGeom>
            <a:grpFill/>
            <a:ln w="204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B6337A0B-821B-A541-1C54-BE43FBF6CC55}"/>
                </a:ext>
              </a:extLst>
            </p:cNvPr>
            <p:cNvSpPr/>
            <p:nvPr/>
          </p:nvSpPr>
          <p:spPr>
            <a:xfrm>
              <a:off x="8250594" y="2960432"/>
              <a:ext cx="165738" cy="751754"/>
            </a:xfrm>
            <a:custGeom>
              <a:avLst/>
              <a:gdLst>
                <a:gd name="connsiteX0" fmla="*/ 0 w 165738"/>
                <a:gd name="connsiteY0" fmla="*/ 131772 h 751754"/>
                <a:gd name="connsiteX1" fmla="*/ 0 w 165738"/>
                <a:gd name="connsiteY1" fmla="*/ 0 h 751754"/>
                <a:gd name="connsiteX2" fmla="*/ 165738 w 165738"/>
                <a:gd name="connsiteY2" fmla="*/ 0 h 751754"/>
                <a:gd name="connsiteX3" fmla="*/ 165738 w 165738"/>
                <a:gd name="connsiteY3" fmla="*/ 131772 h 751754"/>
                <a:gd name="connsiteX4" fmla="*/ 1023 w 165738"/>
                <a:gd name="connsiteY4" fmla="*/ 751755 h 751754"/>
                <a:gd name="connsiteX5" fmla="*/ 1023 w 165738"/>
                <a:gd name="connsiteY5" fmla="*/ 206252 h 751754"/>
                <a:gd name="connsiteX6" fmla="*/ 164715 w 165738"/>
                <a:gd name="connsiteY6" fmla="*/ 206252 h 751754"/>
                <a:gd name="connsiteX7" fmla="*/ 164715 w 165738"/>
                <a:gd name="connsiteY7" fmla="*/ 751755 h 751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5738" h="751754">
                  <a:moveTo>
                    <a:pt x="0" y="131772"/>
                  </a:moveTo>
                  <a:lnTo>
                    <a:pt x="0" y="0"/>
                  </a:lnTo>
                  <a:lnTo>
                    <a:pt x="165738" y="0"/>
                  </a:lnTo>
                  <a:lnTo>
                    <a:pt x="165738" y="131772"/>
                  </a:lnTo>
                  <a:close/>
                  <a:moveTo>
                    <a:pt x="1023" y="751755"/>
                  </a:moveTo>
                  <a:lnTo>
                    <a:pt x="1023" y="206252"/>
                  </a:lnTo>
                  <a:lnTo>
                    <a:pt x="164715" y="206252"/>
                  </a:lnTo>
                  <a:lnTo>
                    <a:pt x="164715" y="751755"/>
                  </a:lnTo>
                  <a:close/>
                </a:path>
              </a:pathLst>
            </a:custGeom>
            <a:grpFill/>
            <a:ln w="204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AEE8F6D9-197D-6640-834F-5931CED02D3A}"/>
                </a:ext>
              </a:extLst>
            </p:cNvPr>
            <p:cNvSpPr/>
            <p:nvPr/>
          </p:nvSpPr>
          <p:spPr>
            <a:xfrm>
              <a:off x="8532144" y="3155795"/>
              <a:ext cx="355620" cy="556391"/>
            </a:xfrm>
            <a:custGeom>
              <a:avLst/>
              <a:gdLst>
                <a:gd name="connsiteX0" fmla="*/ 0 w 355620"/>
                <a:gd name="connsiteY0" fmla="*/ 556391 h 556391"/>
                <a:gd name="connsiteX1" fmla="*/ 0 w 355620"/>
                <a:gd name="connsiteY1" fmla="*/ 10888 h 556391"/>
                <a:gd name="connsiteX2" fmla="*/ 164920 w 355620"/>
                <a:gd name="connsiteY2" fmla="*/ 10888 h 556391"/>
                <a:gd name="connsiteX3" fmla="*/ 164920 w 355620"/>
                <a:gd name="connsiteY3" fmla="*/ 102351 h 556391"/>
                <a:gd name="connsiteX4" fmla="*/ 165943 w 355620"/>
                <a:gd name="connsiteY4" fmla="*/ 102351 h 556391"/>
                <a:gd name="connsiteX5" fmla="*/ 193156 w 355620"/>
                <a:gd name="connsiteY5" fmla="*/ 66953 h 556391"/>
                <a:gd name="connsiteX6" fmla="*/ 231215 w 355620"/>
                <a:gd name="connsiteY6" fmla="*/ 34214 h 556391"/>
                <a:gd name="connsiteX7" fmla="*/ 282368 w 355620"/>
                <a:gd name="connsiteY7" fmla="*/ 9660 h 556391"/>
                <a:gd name="connsiteX8" fmla="*/ 350096 w 355620"/>
                <a:gd name="connsiteY8" fmla="*/ 44 h 556391"/>
                <a:gd name="connsiteX9" fmla="*/ 355621 w 355620"/>
                <a:gd name="connsiteY9" fmla="*/ 44 h 556391"/>
                <a:gd name="connsiteX10" fmla="*/ 353165 w 355620"/>
                <a:gd name="connsiteY10" fmla="*/ 146343 h 556391"/>
                <a:gd name="connsiteX11" fmla="*/ 332704 w 355620"/>
                <a:gd name="connsiteY11" fmla="*/ 144297 h 556391"/>
                <a:gd name="connsiteX12" fmla="*/ 309582 w 355620"/>
                <a:gd name="connsiteY12" fmla="*/ 144297 h 556391"/>
                <a:gd name="connsiteX13" fmla="*/ 224258 w 355620"/>
                <a:gd name="connsiteY13" fmla="*/ 166805 h 556391"/>
                <a:gd name="connsiteX14" fmla="*/ 164715 w 355620"/>
                <a:gd name="connsiteY14" fmla="*/ 218777 h 556391"/>
                <a:gd name="connsiteX15" fmla="*/ 164715 w 355620"/>
                <a:gd name="connsiteY15" fmla="*/ 556391 h 556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55620" h="556391">
                  <a:moveTo>
                    <a:pt x="0" y="556391"/>
                  </a:moveTo>
                  <a:lnTo>
                    <a:pt x="0" y="10888"/>
                  </a:lnTo>
                  <a:lnTo>
                    <a:pt x="164920" y="10888"/>
                  </a:lnTo>
                  <a:lnTo>
                    <a:pt x="164920" y="102351"/>
                  </a:lnTo>
                  <a:lnTo>
                    <a:pt x="165943" y="102351"/>
                  </a:lnTo>
                  <a:cubicBezTo>
                    <a:pt x="173933" y="89758"/>
                    <a:pt x="183041" y="77911"/>
                    <a:pt x="193156" y="66953"/>
                  </a:cubicBezTo>
                  <a:cubicBezTo>
                    <a:pt x="204408" y="54475"/>
                    <a:pt x="217195" y="43474"/>
                    <a:pt x="231215" y="34214"/>
                  </a:cubicBezTo>
                  <a:cubicBezTo>
                    <a:pt x="247111" y="23815"/>
                    <a:pt x="264311" y="15559"/>
                    <a:pt x="282368" y="9660"/>
                  </a:cubicBezTo>
                  <a:cubicBezTo>
                    <a:pt x="304278" y="2827"/>
                    <a:pt x="327149" y="-421"/>
                    <a:pt x="350096" y="44"/>
                  </a:cubicBezTo>
                  <a:lnTo>
                    <a:pt x="355621" y="44"/>
                  </a:lnTo>
                  <a:lnTo>
                    <a:pt x="353165" y="146343"/>
                  </a:lnTo>
                  <a:cubicBezTo>
                    <a:pt x="346386" y="145298"/>
                    <a:pt x="339556" y="144615"/>
                    <a:pt x="332704" y="144297"/>
                  </a:cubicBezTo>
                  <a:cubicBezTo>
                    <a:pt x="322882" y="144297"/>
                    <a:pt x="315107" y="144297"/>
                    <a:pt x="309582" y="144297"/>
                  </a:cubicBezTo>
                  <a:cubicBezTo>
                    <a:pt x="279590" y="143620"/>
                    <a:pt x="250014" y="151422"/>
                    <a:pt x="224258" y="166805"/>
                  </a:cubicBezTo>
                  <a:cubicBezTo>
                    <a:pt x="201575" y="180583"/>
                    <a:pt x="181433" y="198164"/>
                    <a:pt x="164715" y="218777"/>
                  </a:cubicBezTo>
                  <a:lnTo>
                    <a:pt x="164715" y="556391"/>
                  </a:lnTo>
                  <a:close/>
                </a:path>
              </a:pathLst>
            </a:custGeom>
            <a:grpFill/>
            <a:ln w="204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2C6200A4-D87F-555F-67D2-AAE9984B62D2}"/>
                </a:ext>
              </a:extLst>
            </p:cNvPr>
            <p:cNvSpPr/>
            <p:nvPr/>
          </p:nvSpPr>
          <p:spPr>
            <a:xfrm>
              <a:off x="8912191" y="3156248"/>
              <a:ext cx="524991" cy="567569"/>
            </a:xfrm>
            <a:custGeom>
              <a:avLst/>
              <a:gdLst>
                <a:gd name="connsiteX0" fmla="*/ 278404 w 524991"/>
                <a:gd name="connsiteY0" fmla="*/ 567397 h 567569"/>
                <a:gd name="connsiteX1" fmla="*/ 174868 w 524991"/>
                <a:gd name="connsiteY1" fmla="*/ 552460 h 567569"/>
                <a:gd name="connsiteX2" fmla="*/ 23658 w 524991"/>
                <a:gd name="connsiteY2" fmla="*/ 415982 h 567569"/>
                <a:gd name="connsiteX3" fmla="*/ 127 w 524991"/>
                <a:gd name="connsiteY3" fmla="*/ 282982 h 567569"/>
                <a:gd name="connsiteX4" fmla="*/ 27136 w 524991"/>
                <a:gd name="connsiteY4" fmla="*/ 149983 h 567569"/>
                <a:gd name="connsiteX5" fmla="*/ 95069 w 524991"/>
                <a:gd name="connsiteY5" fmla="*/ 62612 h 567569"/>
                <a:gd name="connsiteX6" fmla="*/ 184076 w 524991"/>
                <a:gd name="connsiteY6" fmla="*/ 14732 h 567569"/>
                <a:gd name="connsiteX7" fmla="*/ 273903 w 524991"/>
                <a:gd name="connsiteY7" fmla="*/ 0 h 567569"/>
                <a:gd name="connsiteX8" fmla="*/ 360659 w 524991"/>
                <a:gd name="connsiteY8" fmla="*/ 12686 h 567569"/>
                <a:gd name="connsiteX9" fmla="*/ 441482 w 524991"/>
                <a:gd name="connsiteY9" fmla="*/ 59134 h 567569"/>
                <a:gd name="connsiteX10" fmla="*/ 501230 w 524991"/>
                <a:gd name="connsiteY10" fmla="*/ 151824 h 567569"/>
                <a:gd name="connsiteX11" fmla="*/ 524761 w 524991"/>
                <a:gd name="connsiteY11" fmla="*/ 303648 h 567569"/>
                <a:gd name="connsiteX12" fmla="*/ 524760 w 524991"/>
                <a:gd name="connsiteY12" fmla="*/ 328202 h 567569"/>
                <a:gd name="connsiteX13" fmla="*/ 163615 w 524991"/>
                <a:gd name="connsiteY13" fmla="*/ 328202 h 567569"/>
                <a:gd name="connsiteX14" fmla="*/ 204538 w 524991"/>
                <a:gd name="connsiteY14" fmla="*/ 424371 h 567569"/>
                <a:gd name="connsiteX15" fmla="*/ 290681 w 524991"/>
                <a:gd name="connsiteY15" fmla="*/ 453017 h 567569"/>
                <a:gd name="connsiteX16" fmla="*/ 382143 w 524991"/>
                <a:gd name="connsiteY16" fmla="*/ 432556 h 567569"/>
                <a:gd name="connsiteX17" fmla="*/ 452531 w 524991"/>
                <a:gd name="connsiteY17" fmla="*/ 387131 h 567569"/>
                <a:gd name="connsiteX18" fmla="*/ 515962 w 524991"/>
                <a:gd name="connsiteY18" fmla="*/ 485551 h 567569"/>
                <a:gd name="connsiteX19" fmla="*/ 278404 w 524991"/>
                <a:gd name="connsiteY19" fmla="*/ 567397 h 567569"/>
                <a:gd name="connsiteX20" fmla="*/ 377437 w 524991"/>
                <a:gd name="connsiteY20" fmla="*/ 231829 h 567569"/>
                <a:gd name="connsiteX21" fmla="*/ 272879 w 524991"/>
                <a:gd name="connsiteY21" fmla="*/ 117858 h 567569"/>
                <a:gd name="connsiteX22" fmla="*/ 204743 w 524991"/>
                <a:gd name="connsiteY22" fmla="*/ 144663 h 567569"/>
                <a:gd name="connsiteX23" fmla="*/ 165456 w 524991"/>
                <a:gd name="connsiteY23" fmla="*/ 231829 h 567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24991" h="567569">
                  <a:moveTo>
                    <a:pt x="278404" y="567397"/>
                  </a:moveTo>
                  <a:cubicBezTo>
                    <a:pt x="243346" y="567516"/>
                    <a:pt x="208462" y="562483"/>
                    <a:pt x="174868" y="552460"/>
                  </a:cubicBezTo>
                  <a:cubicBezTo>
                    <a:pt x="105953" y="533013"/>
                    <a:pt x="50043" y="482550"/>
                    <a:pt x="23658" y="415982"/>
                  </a:cubicBezTo>
                  <a:cubicBezTo>
                    <a:pt x="6881" y="373702"/>
                    <a:pt x="-1125" y="328452"/>
                    <a:pt x="127" y="282982"/>
                  </a:cubicBezTo>
                  <a:cubicBezTo>
                    <a:pt x="-1170" y="237166"/>
                    <a:pt x="8070" y="191663"/>
                    <a:pt x="27136" y="149983"/>
                  </a:cubicBezTo>
                  <a:cubicBezTo>
                    <a:pt x="43271" y="116336"/>
                    <a:pt x="66437" y="86542"/>
                    <a:pt x="95069" y="62612"/>
                  </a:cubicBezTo>
                  <a:cubicBezTo>
                    <a:pt x="121406" y="41111"/>
                    <a:pt x="151620" y="24857"/>
                    <a:pt x="184076" y="14732"/>
                  </a:cubicBezTo>
                  <a:cubicBezTo>
                    <a:pt x="213119" y="5384"/>
                    <a:pt x="243395" y="419"/>
                    <a:pt x="273903" y="0"/>
                  </a:cubicBezTo>
                  <a:cubicBezTo>
                    <a:pt x="303274" y="130"/>
                    <a:pt x="332480" y="4401"/>
                    <a:pt x="360659" y="12686"/>
                  </a:cubicBezTo>
                  <a:cubicBezTo>
                    <a:pt x="390965" y="21391"/>
                    <a:pt x="418702" y="37331"/>
                    <a:pt x="441482" y="59134"/>
                  </a:cubicBezTo>
                  <a:cubicBezTo>
                    <a:pt x="468038" y="85207"/>
                    <a:pt x="488448" y="116872"/>
                    <a:pt x="501230" y="151824"/>
                  </a:cubicBezTo>
                  <a:cubicBezTo>
                    <a:pt x="518508" y="200513"/>
                    <a:pt x="526489" y="252014"/>
                    <a:pt x="524761" y="303648"/>
                  </a:cubicBezTo>
                  <a:lnTo>
                    <a:pt x="524760" y="328202"/>
                  </a:lnTo>
                  <a:lnTo>
                    <a:pt x="163615" y="328202"/>
                  </a:lnTo>
                  <a:cubicBezTo>
                    <a:pt x="167844" y="372945"/>
                    <a:pt x="181484" y="405001"/>
                    <a:pt x="204538" y="424371"/>
                  </a:cubicBezTo>
                  <a:cubicBezTo>
                    <a:pt x="228874" y="443967"/>
                    <a:pt x="259456" y="454137"/>
                    <a:pt x="290681" y="453017"/>
                  </a:cubicBezTo>
                  <a:cubicBezTo>
                    <a:pt x="322308" y="453058"/>
                    <a:pt x="353549" y="446069"/>
                    <a:pt x="382143" y="432556"/>
                  </a:cubicBezTo>
                  <a:cubicBezTo>
                    <a:pt x="407735" y="421001"/>
                    <a:pt x="431459" y="405691"/>
                    <a:pt x="452531" y="387131"/>
                  </a:cubicBezTo>
                  <a:lnTo>
                    <a:pt x="515962" y="485551"/>
                  </a:lnTo>
                  <a:cubicBezTo>
                    <a:pt x="449457" y="540981"/>
                    <a:pt x="364937" y="570101"/>
                    <a:pt x="278404" y="567397"/>
                  </a:cubicBezTo>
                  <a:close/>
                  <a:moveTo>
                    <a:pt x="377437" y="231829"/>
                  </a:moveTo>
                  <a:cubicBezTo>
                    <a:pt x="369457" y="155916"/>
                    <a:pt x="334468" y="117858"/>
                    <a:pt x="272879" y="117858"/>
                  </a:cubicBezTo>
                  <a:cubicBezTo>
                    <a:pt x="247581" y="117781"/>
                    <a:pt x="223208" y="127369"/>
                    <a:pt x="204743" y="144663"/>
                  </a:cubicBezTo>
                  <a:cubicBezTo>
                    <a:pt x="182050" y="168361"/>
                    <a:pt x="168181" y="199131"/>
                    <a:pt x="165456" y="231829"/>
                  </a:cubicBezTo>
                  <a:close/>
                </a:path>
              </a:pathLst>
            </a:custGeom>
            <a:grpFill/>
            <a:ln w="204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4" name="TextBox 13" descr="{&quot;templafy&quot;:{&quot;id&quot;:&quot;4f0e433d-c72b-48fe-9e93-5d5dc64eb5fe&quot;}}">
            <a:extLst>
              <a:ext uri="{FF2B5EF4-FFF2-40B4-BE49-F238E27FC236}">
                <a16:creationId xmlns:a16="http://schemas.microsoft.com/office/drawing/2014/main" id="{6444CC51-C997-1E3E-FBE4-28E7DB525E5A}"/>
              </a:ext>
            </a:extLst>
          </p:cNvPr>
          <p:cNvSpPr txBox="1"/>
          <p:nvPr userDrawn="1"/>
        </p:nvSpPr>
        <p:spPr>
          <a:xfrm>
            <a:off x="571500" y="5793259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defTabSz="1088776" eaLnBrk="1" hangingPunct="1">
              <a:spcBef>
                <a:spcPct val="50000"/>
              </a:spcBef>
              <a:buClr>
                <a:srgbClr val="F0AB00"/>
              </a:buClr>
              <a:buSzPct val="80000"/>
            </a:pPr>
            <a:r>
              <a:rPr lang="en-US" sz="1000" ker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29325498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84200" y="1435100"/>
            <a:ext cx="11018838" cy="1612749"/>
          </a:xfrm>
        </p:spPr>
        <p:txBody>
          <a:bodyPr/>
          <a:lstStyle>
            <a:lvl1pPr>
              <a:defRPr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1pPr>
            <a:lvl2pPr>
              <a:defRPr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2pPr>
            <a:lvl3pPr>
              <a:defRPr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3pPr>
            <a:lvl4pPr>
              <a:defRPr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4pPr>
            <a:lvl5pPr>
              <a:defRPr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90647525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nt Walk 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582F9519-A9EF-44F1-C540-B2A57347FF2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79280" y="5925113"/>
            <a:ext cx="718164" cy="343470"/>
          </a:xfrm>
          <a:prstGeom prst="rect">
            <a:avLst/>
          </a:prstGeom>
          <a:effectLst>
            <a:outerShdw blurRad="457200" dir="1587510" sx="57000" sy="57000" algn="tl" rotWithShape="0">
              <a:prstClr val="black">
                <a:alpha val="51204"/>
              </a:prstClr>
            </a:outerShdw>
          </a:effec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B728DB0B-E02D-894D-B06D-A0E45C70D4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4FCC000-2D3C-A480-77F8-8F4B5589CFC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085" y="87054"/>
            <a:ext cx="5225143" cy="16048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8415000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1612749"/>
          </a:xfrm>
        </p:spPr>
        <p:txBody>
          <a:bodyPr/>
          <a:lstStyle>
            <a:lvl1pPr marL="0" indent="0">
              <a:buNone/>
              <a:defRPr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1pPr>
            <a:lvl2pPr marL="228600" indent="0">
              <a:buNone/>
              <a:defRPr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2pPr>
            <a:lvl3pPr marL="457200" indent="0">
              <a:buNone/>
              <a:defRPr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3pPr>
            <a:lvl4pPr marL="685800" indent="0">
              <a:buNone/>
              <a:defRPr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4pPr>
            <a:lvl5pPr marL="914400" indent="0">
              <a:buNone/>
              <a:defRPr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99412451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48">
            <a:extLst>
              <a:ext uri="{FF2B5EF4-FFF2-40B4-BE49-F238E27FC236}">
                <a16:creationId xmlns:a16="http://schemas.microsoft.com/office/drawing/2014/main" id="{626282E5-6B7A-401D-BB1C-7F027256E99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355513" y="-203200"/>
            <a:ext cx="57785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742950" indent="-28575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1430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6002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20574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 eaLnBrk="1" hangingPunct="1"/>
            <a:r>
              <a:rPr lang="en-US" altLang="en-US" sz="1000">
                <a:solidFill>
                  <a:srgbClr val="A3A3A3"/>
                </a:solidFill>
              </a:rPr>
              <a:t>ELT layou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84200" y="1435100"/>
            <a:ext cx="5211763" cy="1612749"/>
          </a:xfrm>
        </p:spPr>
        <p:txBody>
          <a:bodyPr/>
          <a:lstStyle>
            <a:lvl1pPr>
              <a:defRPr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1pPr>
            <a:lvl2pPr>
              <a:defRPr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2pPr>
            <a:lvl3pPr>
              <a:defRPr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3pPr>
            <a:lvl4pPr>
              <a:defRPr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4pPr>
            <a:lvl5pPr>
              <a:defRPr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6389688" y="1435100"/>
            <a:ext cx="5219700" cy="1612749"/>
          </a:xfrm>
        </p:spPr>
        <p:txBody>
          <a:bodyPr/>
          <a:lstStyle>
            <a:lvl1pPr>
              <a:defRPr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1pPr>
            <a:lvl2pPr>
              <a:defRPr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2pPr>
            <a:lvl3pPr>
              <a:defRPr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3pPr>
            <a:lvl4pPr>
              <a:defRPr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4pPr>
            <a:lvl5pPr>
              <a:defRPr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01782629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8263" y="468489"/>
            <a:ext cx="11018520" cy="553998"/>
          </a:xfrm>
        </p:spPr>
        <p:txBody>
          <a:bodyPr/>
          <a:lstStyle>
            <a:lvl1pPr>
              <a:defRPr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/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2pPr>
            <a:lvl3pPr marL="450850" indent="0">
              <a:buFont typeface="Wingdings" panose="05000000000000000000" pitchFamily="2" charset="2"/>
              <a:buNone/>
              <a:tabLst/>
              <a:defRPr sz="1600"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3pPr>
            <a:lvl4pPr marL="652462" indent="0">
              <a:buFont typeface="Wingdings" panose="05000000000000000000" pitchFamily="2" charset="2"/>
              <a:buNone/>
              <a:defRPr sz="1400"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4pPr>
            <a:lvl5pPr marL="854075" indent="0">
              <a:buFont typeface="Wingdings" panose="05000000000000000000" pitchFamily="2" charset="2"/>
              <a:buNone/>
              <a:tabLst/>
              <a:defRPr sz="1400"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/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2pPr>
            <a:lvl3pPr marL="450850" indent="0">
              <a:buFont typeface="Wingdings" panose="05000000000000000000" pitchFamily="2" charset="2"/>
              <a:buNone/>
              <a:tabLst/>
              <a:defRPr sz="1600"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3pPr>
            <a:lvl4pPr marL="652462" indent="0">
              <a:buFont typeface="Wingdings" panose="05000000000000000000" pitchFamily="2" charset="2"/>
              <a:buNone/>
              <a:defRPr sz="1400"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4pPr>
            <a:lvl5pPr marL="854075" indent="0">
              <a:buFont typeface="Wingdings" panose="05000000000000000000" pitchFamily="2" charset="2"/>
              <a:buNone/>
              <a:tabLst/>
              <a:defRPr sz="1400"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56901929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82619899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/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  <a:cs typeface="72" panose="020B05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44237720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8263" y="2016203"/>
            <a:ext cx="4158362" cy="1107996"/>
          </a:xfrm>
        </p:spPr>
        <p:txBody>
          <a:bodyPr anchor="b"/>
          <a:lstStyle>
            <a:lvl1pPr>
              <a:defRPr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3535540"/>
            <a:ext cx="4162425" cy="338554"/>
          </a:xfrm>
        </p:spPr>
        <p:txBody>
          <a:bodyPr/>
          <a:lstStyle>
            <a:lvl1pPr marL="0" indent="0">
              <a:buNone/>
              <a:defRPr sz="2200"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 Light" panose="020B0503030000000003" pitchFamily="34" charset="0"/>
                <a:cs typeface="72 Light" panose="020B0503030000000003" pitchFamily="34" charset="0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63D4830-906E-4A43-9D2A-52DD3EC5546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5334000" y="0"/>
            <a:ext cx="6858000" cy="6858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39"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64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FAD7FA30-0519-4AAE-B091-0E3F15AE3998}"/>
              </a:ext>
            </a:extLst>
          </p:cNvPr>
          <p:cNvSpPr txBox="1"/>
          <p:nvPr userDrawn="1"/>
        </p:nvSpPr>
        <p:spPr bwMode="black">
          <a:xfrm>
            <a:off x="11481455" y="6549107"/>
            <a:ext cx="141064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lvl="0" indent="0" algn="r">
              <a:buNone/>
            </a:pPr>
            <a:fld id="{0BDC132A-5C91-4078-9777-31DA19A62E0A}" type="slidenum">
              <a:rPr lang="en-US" sz="900" noProof="0" smtClean="0"/>
              <a:pPr marL="0" lvl="0" indent="0" algn="r">
                <a:buNone/>
              </a:pPr>
              <a:t>‹#›</a:t>
            </a:fld>
            <a:endParaRPr lang="en-US" sz="900" noProof="0"/>
          </a:p>
        </p:txBody>
      </p:sp>
    </p:spTree>
    <p:extLst>
      <p:ext uri="{BB962C8B-B14F-4D97-AF65-F5344CB8AC3E}">
        <p14:creationId xmlns:p14="http://schemas.microsoft.com/office/powerpoint/2010/main" val="703212143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8263" y="2873414"/>
            <a:ext cx="4159950" cy="1107996"/>
          </a:xfrm>
        </p:spPr>
        <p:txBody>
          <a:bodyPr anchor="ctr"/>
          <a:lstStyle>
            <a:lvl1pPr>
              <a:defRPr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B0212E1-7C82-4FC0-B5BE-AE8FFF174FE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5334000" y="0"/>
            <a:ext cx="6858000" cy="6858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39"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64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F894A1B2-C9F3-419A-BFFA-1C2873A500FB}"/>
              </a:ext>
            </a:extLst>
          </p:cNvPr>
          <p:cNvSpPr txBox="1"/>
          <p:nvPr userDrawn="1"/>
        </p:nvSpPr>
        <p:spPr bwMode="black">
          <a:xfrm>
            <a:off x="11481455" y="6549107"/>
            <a:ext cx="141064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lvl="0" indent="0" algn="r">
              <a:buNone/>
            </a:pPr>
            <a:fld id="{0BDC132A-5C91-4078-9777-31DA19A62E0A}" type="slidenum">
              <a:rPr lang="en-US" sz="900" noProof="0" smtClean="0"/>
              <a:pPr marL="0" lvl="0" indent="0" algn="r">
                <a:buNone/>
              </a:pPr>
              <a:t>‹#›</a:t>
            </a:fld>
            <a:endParaRPr lang="en-US" sz="900" noProof="0"/>
          </a:p>
        </p:txBody>
      </p:sp>
    </p:spTree>
    <p:extLst>
      <p:ext uri="{BB962C8B-B14F-4D97-AF65-F5344CB8AC3E}">
        <p14:creationId xmlns:p14="http://schemas.microsoft.com/office/powerpoint/2010/main" val="757449906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and Tex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277B58D-F9F8-31FB-28D9-9BAED60FAA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216" y="3033223"/>
            <a:ext cx="9144000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i="0" kern="1200" cap="none" spc="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0" scaled="1"/>
                </a:gradFill>
                <a:effectLst/>
                <a:latin typeface="72" panose="020B0503030000000003" pitchFamily="34" charset="0"/>
                <a:ea typeface="+mn-ea"/>
                <a:cs typeface="72" panose="020B05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5216" y="3977319"/>
            <a:ext cx="9144000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i="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0" scaled="1"/>
                </a:gradFill>
                <a:latin typeface="72" panose="020B0503030000000003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019217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and Text - N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216" y="3033223"/>
            <a:ext cx="9144000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i="0" kern="1200" cap="none" spc="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effectLst/>
                <a:latin typeface="72" panose="020B0503030000000003" pitchFamily="34" charset="0"/>
                <a:ea typeface="+mn-ea"/>
                <a:cs typeface="72" panose="020B05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5216" y="3977319"/>
            <a:ext cx="9144000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i="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070430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1AE9620-262D-5B29-4C23-589DCB0CDC0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216" y="3035808"/>
            <a:ext cx="9144000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i="0" kern="1200" cap="none" spc="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0" scaled="1"/>
                </a:gradFill>
                <a:effectLst/>
                <a:latin typeface="72" panose="020B0503030000000003" pitchFamily="34" charset="0"/>
                <a:ea typeface="+mn-ea"/>
                <a:cs typeface="72" panose="020B05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160441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in Title Slide with Info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4200" y="3801126"/>
            <a:ext cx="9144000" cy="553998"/>
          </a:xfrm>
          <a:noFill/>
        </p:spPr>
        <p:txBody>
          <a:bodyPr anchor="t" anchorCtr="0">
            <a:noAutofit/>
          </a:bodyPr>
          <a:lstStyle>
            <a:lvl1pPr>
              <a:defRPr sz="3600" b="1" i="0" spc="0" baseline="0">
                <a:solidFill>
                  <a:schemeClr val="accent1"/>
                </a:solidFill>
                <a:latin typeface="72" panose="020B0503030000000003" pitchFamily="34" charset="0"/>
                <a:cs typeface="72" panose="020B0503030000000003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71500" y="5168487"/>
            <a:ext cx="9144000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buNone/>
              <a:defRPr sz="2200" b="0" i="0" spc="0" baseline="0">
                <a:solidFill>
                  <a:schemeClr val="accent1"/>
                </a:solidFill>
                <a:latin typeface="72" panose="020B0503030000000003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1D7C6100-A398-4EE7-94CC-C67D14D1DF6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71500" y="6219255"/>
            <a:ext cx="718164" cy="34347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7F7BB544-9571-D6B6-39F1-CC6672445F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340722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7A07829-C2FA-6E43-FC8B-872BEC624B2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085" y="87054"/>
            <a:ext cx="5225143" cy="1604891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367E1998-9FE3-8C79-CEBF-C7D34A0D1DD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153671" y="4490720"/>
            <a:ext cx="2746230" cy="2072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57078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N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216" y="3035808"/>
            <a:ext cx="9144000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i="0" kern="1200" cap="none" spc="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effectLst/>
                <a:latin typeface="72" panose="020B0503030000000003" pitchFamily="34" charset="0"/>
                <a:ea typeface="+mn-ea"/>
                <a:cs typeface="72" panose="020B05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785861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47510267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81804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 descr="This layout should only be used for developer code. The font used is a monospace font which is ideal for showing code."/>
          <p:cNvSpPr>
            <a:spLocks noGrp="1"/>
          </p:cNvSpPr>
          <p:nvPr>
            <p:ph type="body" sz="quarter" idx="10"/>
          </p:nvPr>
        </p:nvSpPr>
        <p:spPr>
          <a:xfrm>
            <a:off x="588263" y="1436688"/>
            <a:ext cx="11018520" cy="1908215"/>
          </a:xfrm>
        </p:spPr>
        <p:txBody>
          <a:bodyPr/>
          <a:lstStyle>
            <a:lvl1pPr marL="0" indent="0">
              <a:buNone/>
              <a:defRPr sz="28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6406366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, Contact and Copyr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07726516" name="Acquired Company Logo Placeholder" descr="{&quot;templafy&quot;:{&quot;id&quot;:&quot;9a6a16cc-93ce-40af-b205-2222431a4776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3869" y="522453"/>
            <a:ext cx="4124850" cy="266010"/>
          </a:xfrm>
          <a:prstGeom prst="rect">
            <a:avLst/>
          </a:prstGeom>
        </p:spPr>
      </p:pic>
      <p:sp>
        <p:nvSpPr>
          <p:cNvPr id="9" name="Copyright Placeholder" descr="{&quot;templafy&quot;:{&quot;id&quot;:&quot;ba9fff8e-a26f-4604-9418-39eec7243848&quot;}}">
            <a:extLst>
              <a:ext uri="{FF2B5EF4-FFF2-40B4-BE49-F238E27FC236}">
                <a16:creationId xmlns:a16="http://schemas.microsoft.com/office/drawing/2014/main" id="{EDAF1AF5-D568-20CC-6052-F655D86F5486}"/>
              </a:ext>
            </a:extLst>
          </p:cNvPr>
          <p:cNvSpPr txBox="1">
            <a:spLocks/>
          </p:cNvSpPr>
          <p:nvPr userDrawn="1"/>
        </p:nvSpPr>
        <p:spPr>
          <a:xfrm>
            <a:off x="503870" y="6536751"/>
            <a:ext cx="10152956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/>
              <a:t>© 2023 SAP SE or an SAP affiliate company. All rights reserved. See Legal Notice on www.sap.com/legal-notice for use terms, disclaimers, disclosures, or restrictions related to SAP Materials for general audiences.</a:t>
            </a:r>
          </a:p>
        </p:txBody>
      </p:sp>
      <p:sp>
        <p:nvSpPr>
          <p:cNvPr id="3" name="Contact information">
            <a:extLst>
              <a:ext uri="{FF2B5EF4-FFF2-40B4-BE49-F238E27FC236}">
                <a16:creationId xmlns:a16="http://schemas.microsoft.com/office/drawing/2014/main" id="{238BEA1F-EFCB-7173-7D8E-CDD6564B5D3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4200" y="3958390"/>
            <a:ext cx="5513388" cy="1448108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1200"/>
              </a:spcAft>
              <a:buNone/>
              <a:defRPr sz="1600" b="1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" panose="020B0503030000000003" pitchFamily="34" charset="0"/>
                <a:cs typeface="72" panose="020B0503030000000003" pitchFamily="34" charset="0"/>
              </a:defRPr>
            </a:lvl1pPr>
            <a:lvl2pPr marL="0" indent="0">
              <a:spcBef>
                <a:spcPts val="0"/>
              </a:spcBef>
              <a:buNone/>
              <a:defRPr sz="1600"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" panose="020B0503030000000003" pitchFamily="34" charset="0"/>
              </a:defRPr>
            </a:lvl2pPr>
          </a:lstStyle>
          <a:p>
            <a:r>
              <a:rPr lang="en-US"/>
              <a:t>Contact information:</a:t>
            </a:r>
          </a:p>
          <a:p>
            <a:pPr lvl="1"/>
            <a:r>
              <a:rPr lang="en-US"/>
              <a:t>First name Last name</a:t>
            </a:r>
          </a:p>
          <a:p>
            <a:pPr lvl="1"/>
            <a:r>
              <a:rPr lang="en-US"/>
              <a:t>Title</a:t>
            </a:r>
          </a:p>
          <a:p>
            <a:pPr lvl="1"/>
            <a:r>
              <a:rPr lang="en-US"/>
              <a:t>LinkedIn name</a:t>
            </a:r>
          </a:p>
          <a:p>
            <a:pPr lvl="1"/>
            <a:r>
              <a:rPr lang="en-US"/>
              <a:t>Twitter handle</a:t>
            </a:r>
          </a:p>
          <a:p>
            <a:endParaRPr lang="en-US"/>
          </a:p>
        </p:txBody>
      </p:sp>
      <p:sp>
        <p:nvSpPr>
          <p:cNvPr id="4" name="Thank you">
            <a:extLst>
              <a:ext uri="{FF2B5EF4-FFF2-40B4-BE49-F238E27FC236}">
                <a16:creationId xmlns:a16="http://schemas.microsoft.com/office/drawing/2014/main" id="{6C01E8A1-7CD3-CB25-5779-45D70F0D029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84200" y="2727827"/>
            <a:ext cx="5513388" cy="631660"/>
          </a:xfrm>
        </p:spPr>
        <p:txBody>
          <a:bodyPr anchor="t" anchorCtr="0">
            <a:noAutofit/>
          </a:bodyPr>
          <a:lstStyle>
            <a:lvl1pPr>
              <a:defRPr sz="3600"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" panose="020B0503030000000003" pitchFamily="34" charset="0"/>
                <a:cs typeface="72" panose="020B0503030000000003" pitchFamily="34" charset="0"/>
              </a:defRPr>
            </a:lvl1pPr>
          </a:lstStyle>
          <a:p>
            <a:r>
              <a:rPr lang="en-US"/>
              <a:t>Thank you.</a:t>
            </a:r>
            <a:endParaRPr lang="de-DE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5BEAB7B-3EA3-EBD3-B05C-A132D3C39CE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0540" b="34356"/>
          <a:stretch/>
        </p:blipFill>
        <p:spPr>
          <a:xfrm>
            <a:off x="0" y="0"/>
            <a:ext cx="12192000" cy="1203159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120D5C01-BAA9-961D-B159-48B80493248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941180" y="6219255"/>
            <a:ext cx="718164" cy="3434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2820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hf sldNum="0" hdr="0" ftr="0" dt="0"/>
  <p:extLst>
    <p:ext uri="{DCECCB84-F9BA-43D5-87BE-67443E8EF086}">
      <p15:sldGuideLst xmlns:p15="http://schemas.microsoft.com/office/powerpoint/2012/main">
        <p15:guide id="1" pos="7364">
          <p15:clr>
            <a:srgbClr val="FBAE40"/>
          </p15:clr>
        </p15:guide>
        <p15:guide id="2" orient="horz" pos="924">
          <p15:clr>
            <a:srgbClr val="FBAE40"/>
          </p15:clr>
        </p15:guide>
        <p15:guide id="4" orient="horz" pos="1830">
          <p15:clr>
            <a:srgbClr val="FBAE40"/>
          </p15:clr>
        </p15:guide>
        <p15:guide id="5" orient="horz" pos="4000">
          <p15:clr>
            <a:srgbClr val="FBAE40"/>
          </p15:clr>
        </p15:guide>
        <p15:guide id="6" pos="317">
          <p15:clr>
            <a:srgbClr val="FBAE40"/>
          </p15:clr>
        </p15:guide>
        <p15:guide id="8" pos="3841">
          <p15:clr>
            <a:srgbClr val="FBAE40"/>
          </p15:clr>
        </p15:guide>
        <p15:guide id="9" orient="horz" pos="318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solidFill>
                  <a:schemeClr val="tx1"/>
                </a:solidFill>
                <a:latin typeface="72" panose="020B0503030000000003" pitchFamily="34" charset="0"/>
                <a:ea typeface="72" panose="020B0503030000000003" pitchFamily="34" charset="0"/>
                <a:cs typeface="72" panose="020B05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/>
          <a:lstStyle>
            <a:lvl1pPr>
              <a:defRPr sz="3600">
                <a:latin typeface="72" panose="020B0503030000000003" pitchFamily="34" charset="0"/>
                <a:cs typeface="72" panose="020B0503030000000003" pitchFamily="34" charset="0"/>
              </a:defRPr>
            </a:lvl1pPr>
            <a:lvl2pPr>
              <a:defRPr sz="2800">
                <a:latin typeface="72" panose="020B0503030000000003" pitchFamily="34" charset="0"/>
                <a:cs typeface="72" panose="020B0503030000000003" pitchFamily="34" charset="0"/>
              </a:defRPr>
            </a:lvl2pPr>
            <a:lvl3pPr>
              <a:defRPr sz="2400">
                <a:latin typeface="72" panose="020B0503030000000003" pitchFamily="34" charset="0"/>
                <a:cs typeface="72" panose="020B0503030000000003" pitchFamily="34" charset="0"/>
              </a:defRPr>
            </a:lvl3pPr>
            <a:lvl4pPr>
              <a:defRPr sz="2000">
                <a:latin typeface="72" panose="020B0503030000000003" pitchFamily="34" charset="0"/>
                <a:cs typeface="72" panose="020B0503030000000003" pitchFamily="34" charset="0"/>
              </a:defRPr>
            </a:lvl4pPr>
            <a:lvl5pPr>
              <a:defRPr sz="1800">
                <a:latin typeface="72" panose="020B0503030000000003" pitchFamily="34" charset="0"/>
                <a:cs typeface="72" panose="020B05030300000000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/>
          </p:nvPr>
        </p:nvSpPr>
        <p:spPr>
          <a:xfrm>
            <a:off x="1" y="6269038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lIns="155457" tIns="77729" rIns="155457" bIns="45720" anchor="b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solidFill>
                  <a:srgbClr val="000000"/>
                </a:solidFill>
                <a:effectLst/>
                <a:latin typeface="72" panose="020B0503030000000003" pitchFamily="34" charset="0"/>
                <a:ea typeface="72" panose="020B0503030000000003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588057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3158146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 Image or Illustra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46671169" name="SAP Logo Placeholder" descr="{&quot;templafy&quot;:{&quot;id&quot;:&quot;402c8ce8-a81b-4048-8a0c-cee33fc6797f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90117" y="6053328"/>
            <a:ext cx="2207861" cy="532020"/>
          </a:xfrm>
          <a:prstGeom prst="rect">
            <a:avLst/>
          </a:prstGeom>
        </p:spPr>
      </p:pic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287925" y="4024430"/>
            <a:ext cx="10896336" cy="997196"/>
          </a:xfrm>
        </p:spPr>
        <p:txBody>
          <a:bodyPr vert="horz" wrap="square" lIns="0" tIns="0" rIns="0" bIns="0" rtlCol="0">
            <a:noAutofit/>
          </a:bodyPr>
          <a:lstStyle>
            <a:lvl1pPr>
              <a:lnSpc>
                <a:spcPct val="90000"/>
              </a:lnSpc>
              <a:defRPr lang="de-DE" sz="3599" dirty="0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FA78832-C268-4EC5-BB82-7F9D7F5B51B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-1"/>
            <a:ext cx="12192000" cy="3430800"/>
          </a:xfrm>
        </p:spPr>
        <p:txBody>
          <a:bodyPr/>
          <a:lstStyle/>
          <a:p>
            <a:endParaRPr lang="en-GB"/>
          </a:p>
        </p:txBody>
      </p:sp>
      <p:sp>
        <p:nvSpPr>
          <p:cNvPr id="10" name="TextBox 9" descr="{&quot;templafy&quot;:{&quot;id&quot;:&quot;6629b764-d54b-4b26-b57c-ab43c5653963&quot;}}">
            <a:extLst>
              <a:ext uri="{FF2B5EF4-FFF2-40B4-BE49-F238E27FC236}">
                <a16:creationId xmlns:a16="http://schemas.microsoft.com/office/drawing/2014/main" id="{798F9B08-2B9F-444B-8020-ACD960A0FAE7}"/>
              </a:ext>
            </a:extLst>
          </p:cNvPr>
          <p:cNvSpPr txBox="1"/>
          <p:nvPr userDrawn="1"/>
        </p:nvSpPr>
        <p:spPr>
          <a:xfrm>
            <a:off x="282501" y="5725533"/>
            <a:ext cx="4984814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kern="0">
                <a:ea typeface="Arial Unicode MS" pitchFamily="34" charset="-128"/>
                <a:cs typeface="Arial Unicode MS" pitchFamily="34" charset="-128"/>
              </a:rPr>
              <a:t>Public</a:t>
            </a:r>
          </a:p>
        </p:txBody>
      </p:sp>
      <p:pic>
        <p:nvPicPr>
          <p:cNvPr id="25211465" name="Acquired Company Logo Placeholder" descr="{&quot;templafy&quot;:{&quot;id&quot;:&quot;39d55afe-04d6-4233-bda9-8cfb0d3f696f&quot;}}" hidden="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2501" y="3590141"/>
            <a:ext cx="4124850" cy="2660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73295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505">
          <p15:clr>
            <a:srgbClr val="FBAE40"/>
          </p15:clr>
        </p15:guide>
        <p15:guide id="2" orient="horz" pos="4144">
          <p15:clr>
            <a:srgbClr val="FBAE40"/>
          </p15:clr>
        </p15:guide>
        <p15:guide id="3" orient="horz" pos="2162">
          <p15:clr>
            <a:srgbClr val="FBAE40"/>
          </p15:clr>
        </p15:guide>
        <p15:guide id="4" pos="181">
          <p15:clr>
            <a:srgbClr val="FBAE40"/>
          </p15:clr>
        </p15:guide>
        <p15:guide id="5" orient="horz" pos="2534">
          <p15:clr>
            <a:srgbClr val="FBAE40"/>
          </p15:clr>
        </p15:guide>
        <p15:guide id="6" orient="horz" pos="3164">
          <p15:clr>
            <a:srgbClr val="FBAE40"/>
          </p15:clr>
        </p15:guide>
        <p15:guide id="7" orient="horz" pos="3232">
          <p15:clr>
            <a:srgbClr val="FBAE40"/>
          </p15:clr>
        </p15:guide>
        <p15:guide id="8" orient="horz" pos="3504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out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50198195" name="SAP Logo Placeholder" descr="{&quot;templafy&quot;:{&quot;id&quot;:&quot;03c2cf17-0e91-4b98-9cd7-780b9713135f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90117" y="6053328"/>
            <a:ext cx="2207861" cy="532020"/>
          </a:xfrm>
          <a:prstGeom prst="rect">
            <a:avLst/>
          </a:prstGeom>
        </p:spPr>
      </p:pic>
      <p:sp>
        <p:nvSpPr>
          <p:cNvPr id="10" name="Partner Logo Placeholder">
            <a:extLst>
              <a:ext uri="{FF2B5EF4-FFF2-40B4-BE49-F238E27FC236}">
                <a16:creationId xmlns:a16="http://schemas.microsoft.com/office/drawing/2014/main" id="{DA90C4E7-C35C-564D-9269-70A29A50EBF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82501" y="6161088"/>
            <a:ext cx="953840" cy="417512"/>
          </a:xfrm>
        </p:spPr>
        <p:txBody>
          <a:bodyPr anchor="ctr" anchorCtr="0">
            <a:noAutofit/>
          </a:bodyPr>
          <a:lstStyle>
            <a:lvl1pPr algn="ctr">
              <a:spcBef>
                <a:spcPts val="0"/>
              </a:spcBef>
              <a:defRPr sz="900"/>
            </a:lvl1pPr>
          </a:lstStyle>
          <a:p>
            <a:r>
              <a:rPr lang="en-US"/>
              <a:t>Add partner </a:t>
            </a:r>
            <a:br>
              <a:rPr lang="en-US"/>
            </a:br>
            <a:r>
              <a:rPr lang="en-US"/>
              <a:t>logo and alt text</a:t>
            </a:r>
          </a:p>
        </p:txBody>
      </p:sp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7925" y="2706317"/>
            <a:ext cx="10897962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599"/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528820327" name="Acquired Company Logo Placeholder" descr="{&quot;templafy&quot;:{&quot;id&quot;:&quot;7a4a5237-4ac1-4ba5-87f6-3a6f6ea346ef&quot;}}" hidden="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2501" y="2141327"/>
            <a:ext cx="4124850" cy="266010"/>
          </a:xfrm>
          <a:prstGeom prst="rect">
            <a:avLst/>
          </a:prstGeom>
        </p:spPr>
      </p:pic>
      <p:sp>
        <p:nvSpPr>
          <p:cNvPr id="11" name="TextBox 10" descr="{&quot;templafy&quot;:{&quot;id&quot;:&quot;c9374d9c-bc2f-4ea9-9d1f-fe5a9d37ced1&quot;}}">
            <a:extLst>
              <a:ext uri="{FF2B5EF4-FFF2-40B4-BE49-F238E27FC236}">
                <a16:creationId xmlns:a16="http://schemas.microsoft.com/office/drawing/2014/main" id="{AC53B201-90B9-4E7D-A16A-96A3B827889D}"/>
              </a:ext>
            </a:extLst>
          </p:cNvPr>
          <p:cNvSpPr txBox="1"/>
          <p:nvPr userDrawn="1"/>
        </p:nvSpPr>
        <p:spPr>
          <a:xfrm>
            <a:off x="282501" y="5080814"/>
            <a:ext cx="4984814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kern="0">
                <a:ea typeface="Arial Unicode MS" pitchFamily="34" charset="-128"/>
                <a:cs typeface="Arial Unicode MS" pitchFamily="34" charset="-128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29101844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 Pictogram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30291420" name="SAP Logo Placeholer" descr="{&quot;templafy&quot;:{&quot;id&quot;:&quot;87f23f44-5671-4d59-aa70-a56fa79f0d38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90117" y="6053328"/>
            <a:ext cx="2207861" cy="532020"/>
          </a:xfrm>
          <a:prstGeom prst="rect">
            <a:avLst/>
          </a:prstGeom>
        </p:spPr>
      </p:pic>
      <p:sp>
        <p:nvSpPr>
          <p:cNvPr id="12" name="Partner Logo Placeholder">
            <a:extLst>
              <a:ext uri="{FF2B5EF4-FFF2-40B4-BE49-F238E27FC236}">
                <a16:creationId xmlns:a16="http://schemas.microsoft.com/office/drawing/2014/main" id="{CDF488C1-3A47-E949-B29F-E38211D2C51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82501" y="6161088"/>
            <a:ext cx="953840" cy="417512"/>
          </a:xfrm>
        </p:spPr>
        <p:txBody>
          <a:bodyPr anchor="ctr" anchorCtr="0">
            <a:noAutofit/>
          </a:bodyPr>
          <a:lstStyle>
            <a:lvl1pPr algn="ctr">
              <a:spcBef>
                <a:spcPts val="0"/>
              </a:spcBef>
              <a:defRPr sz="900"/>
            </a:lvl1pPr>
          </a:lstStyle>
          <a:p>
            <a:r>
              <a:rPr lang="en-US"/>
              <a:t>Add partner </a:t>
            </a:r>
            <a:br>
              <a:rPr lang="en-US"/>
            </a:br>
            <a:r>
              <a:rPr lang="en-US"/>
              <a:t>logo and alt text</a:t>
            </a:r>
          </a:p>
        </p:txBody>
      </p:sp>
      <p:sp>
        <p:nvSpPr>
          <p:cNvPr id="7" name="Pictogram Placeholder"/>
          <p:cNvSpPr>
            <a:spLocks noGrp="1"/>
          </p:cNvSpPr>
          <p:nvPr>
            <p:ph type="pic" sz="quarter" idx="16"/>
          </p:nvPr>
        </p:nvSpPr>
        <p:spPr>
          <a:xfrm>
            <a:off x="6953044" y="963000"/>
            <a:ext cx="4930716" cy="493200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de-DE"/>
          </a:p>
        </p:txBody>
      </p:sp>
      <p:sp>
        <p:nvSpPr>
          <p:cNvPr id="8" name="Title"/>
          <p:cNvSpPr>
            <a:spLocks noGrp="1"/>
          </p:cNvSpPr>
          <p:nvPr>
            <p:ph type="title" hasCustomPrompt="1"/>
          </p:nvPr>
        </p:nvSpPr>
        <p:spPr>
          <a:xfrm>
            <a:off x="287926" y="2706317"/>
            <a:ext cx="6370341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599"/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2071088161" name="Acquired Company Logo Placeholder" descr="{&quot;templafy&quot;:{&quot;id&quot;:&quot;a6690f6d-12a0-4492-989f-ee7248cf29b2&quot;}}" hidden="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7926" y="2139633"/>
            <a:ext cx="4124850" cy="266010"/>
          </a:xfrm>
          <a:prstGeom prst="rect">
            <a:avLst/>
          </a:prstGeom>
        </p:spPr>
      </p:pic>
      <p:sp>
        <p:nvSpPr>
          <p:cNvPr id="9" name="TextBox 8" descr="{&quot;templafy&quot;:{&quot;id&quot;:&quot;aa182e57-eaf6-4b28-ad8b-c8b5f60f74e9&quot;}}">
            <a:extLst>
              <a:ext uri="{FF2B5EF4-FFF2-40B4-BE49-F238E27FC236}">
                <a16:creationId xmlns:a16="http://schemas.microsoft.com/office/drawing/2014/main" id="{98E5DEB1-9722-40B6-89CC-20C572BA33F7}"/>
              </a:ext>
            </a:extLst>
          </p:cNvPr>
          <p:cNvSpPr txBox="1"/>
          <p:nvPr userDrawn="1"/>
        </p:nvSpPr>
        <p:spPr>
          <a:xfrm>
            <a:off x="282501" y="5080814"/>
            <a:ext cx="4984814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kern="0">
                <a:ea typeface="Arial Unicode MS" pitchFamily="34" charset="-128"/>
                <a:cs typeface="Arial Unicode MS" pitchFamily="34" charset="-128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27238662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pos="4196">
          <p15:clr>
            <a:srgbClr val="FBAE40"/>
          </p15:clr>
        </p15:guide>
        <p15:guide id="4" orient="horz" pos="2688">
          <p15:clr>
            <a:srgbClr val="FBAE40"/>
          </p15:clr>
        </p15:guide>
        <p15:guide id="5" orient="horz" pos="2335">
          <p15:clr>
            <a:srgbClr val="FBAE40"/>
          </p15:clr>
        </p15:guide>
        <p15:guide id="6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84200" y="1435100"/>
            <a:ext cx="11018838" cy="1612749"/>
          </a:xfrm>
        </p:spPr>
        <p:txBody>
          <a:bodyPr/>
          <a:lstStyle>
            <a:lvl1pPr>
              <a:defRPr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1pPr>
            <a:lvl2pPr>
              <a:defRPr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2pPr>
            <a:lvl3pPr>
              <a:defRPr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3pPr>
            <a:lvl4pPr>
              <a:defRPr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4pPr>
            <a:lvl5pPr>
              <a:defRPr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4992827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genda items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3869" y="1620000"/>
            <a:ext cx="11182288" cy="4716000"/>
          </a:xfrm>
        </p:spPr>
        <p:txBody>
          <a:bodyPr>
            <a:normAutofit/>
          </a:bodyPr>
          <a:lstStyle>
            <a:lvl1pPr marL="0" marR="0" indent="0" algn="l" defTabSz="1088231" rtl="0" eaLnBrk="1" fontAlgn="auto" latinLnBrk="0" hangingPunct="1">
              <a:lnSpc>
                <a:spcPct val="100000"/>
              </a:lnSpc>
              <a:spcBef>
                <a:spcPts val="2999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1999" b="0"/>
            </a:lvl1pPr>
            <a:lvl2pPr marL="179910" marR="0" indent="-179910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tabLst/>
              <a:defRPr sz="1799"/>
            </a:lvl2pPr>
            <a:lvl3pPr marL="359820" marR="0" indent="-179298" algn="l" defTabSz="1088231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itchFamily="34" charset="0"/>
              <a:buChar char="–"/>
              <a:tabLst/>
              <a:defRPr sz="1799" baseline="0"/>
            </a:lvl3pPr>
            <a:lvl4pPr marL="539730" marR="0" indent="-179910" algn="l" defTabSz="1088231" rtl="0" eaLnBrk="1" fontAlgn="auto" latinLnBrk="0" hangingPunct="1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Courier New" pitchFamily="49" charset="0"/>
              <a:buChar char="o"/>
              <a:tabLst/>
              <a:defRPr sz="1600"/>
            </a:lvl4pPr>
            <a:lvl5pPr>
              <a:buClr>
                <a:schemeClr val="accent2"/>
              </a:buClr>
              <a:buFont typeface="Arial" pitchFamily="34" charset="0"/>
              <a:buChar char="–"/>
              <a:defRPr/>
            </a:lvl5pPr>
          </a:lstStyle>
          <a:p>
            <a:pPr lvl="0"/>
            <a:r>
              <a:rPr lang="en-US"/>
              <a:t>Agenda Item/Divider Headlin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3" name="Agenda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5051406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1020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316">
          <p15:clr>
            <a:srgbClr val="FBAE40"/>
          </p15:clr>
        </p15:guide>
        <p15:guide id="5" orient="horz" pos="551">
          <p15:clr>
            <a:srgbClr val="FBAE40"/>
          </p15:clr>
        </p15:guide>
        <p15:guide id="6" orient="horz" pos="3992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3869" y="3090446"/>
            <a:ext cx="11182288" cy="677108"/>
          </a:xfrm>
        </p:spPr>
        <p:txBody>
          <a:bodyPr anchor="ctr" anchorCtr="0">
            <a:noAutofit/>
          </a:bodyPr>
          <a:lstStyle>
            <a:lvl1pPr>
              <a:defRPr sz="4399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580676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7364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with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vider image placeholder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1" y="3427200"/>
            <a:ext cx="12192000" cy="3430800"/>
          </a:xfrm>
          <a:noFill/>
        </p:spPr>
        <p:txBody>
          <a:bodyPr tIns="324000"/>
          <a:lstStyle>
            <a:lvl1pPr marL="0" marR="0" indent="0" algn="ctr" defTabSz="108823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0" marR="0" lvl="0" indent="0" algn="ctr" defTabSz="108823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/>
              <a:t>Placeholder for image and illustration</a:t>
            </a:r>
          </a:p>
        </p:txBody>
      </p:sp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3869" y="1375046"/>
            <a:ext cx="11182288" cy="677108"/>
          </a:xfrm>
        </p:spPr>
        <p:txBody>
          <a:bodyPr anchor="t" anchorCtr="0">
            <a:noAutofit/>
          </a:bodyPr>
          <a:lstStyle>
            <a:lvl1pPr>
              <a:defRPr sz="4399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081013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364">
          <p15:clr>
            <a:srgbClr val="FBAE40"/>
          </p15:clr>
        </p15:guide>
        <p15:guide id="3" pos="317">
          <p15:clr>
            <a:srgbClr val="FBAE40"/>
          </p15:clr>
        </p15:guide>
        <p15:guide id="4" orient="horz" pos="865">
          <p15:clr>
            <a:srgbClr val="FBAE40"/>
          </p15:clr>
        </p15:guide>
        <p15:guide id="5" orient="horz" pos="1294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68426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551">
          <p15:clr>
            <a:srgbClr val="FBAE40"/>
          </p15:clr>
        </p15:guide>
        <p15:guide id="5" orient="horz" pos="3992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3868" y="1620000"/>
            <a:ext cx="11183565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3870" y="504000"/>
            <a:ext cx="11183564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62570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6">
          <p15:clr>
            <a:srgbClr val="FBAE40"/>
          </p15:clr>
        </p15:guide>
        <p15:guide id="2" orient="horz" pos="3991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318">
          <p15:clr>
            <a:srgbClr val="FBAE40"/>
          </p15:clr>
        </p15:guide>
        <p15:guide id="5" orient="horz" pos="552">
          <p15:clr>
            <a:srgbClr val="FBAE40"/>
          </p15:clr>
        </p15:guide>
        <p15:guide id="6" orient="horz" pos="1020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- column 2"/>
          <p:cNvSpPr>
            <a:spLocks noGrp="1"/>
          </p:cNvSpPr>
          <p:nvPr>
            <p:ph type="body" sz="quarter" idx="11" hasCustomPrompt="1"/>
          </p:nvPr>
        </p:nvSpPr>
        <p:spPr>
          <a:xfrm>
            <a:off x="6360820" y="1620000"/>
            <a:ext cx="5326613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3869" y="1620000"/>
            <a:ext cx="5326613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3870" y="504000"/>
            <a:ext cx="11183564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1670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991">
          <p15:clr>
            <a:srgbClr val="FBAE40"/>
          </p15:clr>
        </p15:guide>
        <p15:guide id="3" pos="7364">
          <p15:clr>
            <a:srgbClr val="FBAE40"/>
          </p15:clr>
        </p15:guide>
        <p15:guide id="4" pos="3674">
          <p15:clr>
            <a:srgbClr val="FBAE40"/>
          </p15:clr>
        </p15:guide>
        <p15:guide id="5" pos="4007">
          <p15:clr>
            <a:srgbClr val="FBAE40"/>
          </p15:clr>
        </p15:guide>
        <p15:guide id="6" orient="horz" pos="317">
          <p15:clr>
            <a:srgbClr val="FBAE40"/>
          </p15:clr>
        </p15:guide>
        <p15:guide id="7" orient="horz" pos="551">
          <p15:clr>
            <a:srgbClr val="FBAE40"/>
          </p15:clr>
        </p15:guide>
        <p15:guide id="8" orient="horz" pos="1020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- column 3"/>
          <p:cNvSpPr>
            <a:spLocks noGrp="1"/>
          </p:cNvSpPr>
          <p:nvPr>
            <p:ph type="body" sz="quarter" idx="13" hasCustomPrompt="1"/>
          </p:nvPr>
        </p:nvSpPr>
        <p:spPr>
          <a:xfrm>
            <a:off x="8124361" y="1620000"/>
            <a:ext cx="3563072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- column 2"/>
          <p:cNvSpPr>
            <a:spLocks noGrp="1"/>
          </p:cNvSpPr>
          <p:nvPr>
            <p:ph type="body" sz="quarter" idx="12" hasCustomPrompt="1"/>
          </p:nvPr>
        </p:nvSpPr>
        <p:spPr>
          <a:xfrm>
            <a:off x="4314115" y="1620000"/>
            <a:ext cx="3563072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3869" y="1620000"/>
            <a:ext cx="3563072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3870" y="504000"/>
            <a:ext cx="11183564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81271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2563">
          <p15:clr>
            <a:srgbClr val="FBAE40"/>
          </p15:clr>
        </p15:guide>
        <p15:guide id="4" pos="2717">
          <p15:clr>
            <a:srgbClr val="FBAE40"/>
          </p15:clr>
        </p15:guide>
        <p15:guide id="5" pos="4964">
          <p15:clr>
            <a:srgbClr val="FBAE40"/>
          </p15:clr>
        </p15:guide>
        <p15:guide id="6" pos="5119">
          <p15:clr>
            <a:srgbClr val="FBAE40"/>
          </p15:clr>
        </p15:guide>
        <p15:guide id="7" pos="7364">
          <p15:clr>
            <a:srgbClr val="FBAE40"/>
          </p15:clr>
        </p15:guide>
        <p15:guide id="8" orient="horz" pos="551">
          <p15:clr>
            <a:srgbClr val="FBAE40"/>
          </p15:clr>
        </p15:guide>
        <p15:guide id="9" orient="horz" pos="1020">
          <p15:clr>
            <a:srgbClr val="FBAE40"/>
          </p15:clr>
        </p15:guide>
        <p15:guide id="10" orient="horz" pos="3990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360820" y="4770000"/>
            <a:ext cx="5326613" cy="1566000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360820" y="1620000"/>
            <a:ext cx="5326613" cy="2631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3869" y="4770000"/>
            <a:ext cx="5326613" cy="1566000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3869" y="1620000"/>
            <a:ext cx="5326613" cy="2631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3870" y="504000"/>
            <a:ext cx="11183564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81691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orient="horz" pos="551">
          <p15:clr>
            <a:srgbClr val="FBAE40"/>
          </p15:clr>
        </p15:guide>
        <p15:guide id="4" orient="horz" pos="1020">
          <p15:clr>
            <a:srgbClr val="FBAE40"/>
          </p15:clr>
        </p15:guide>
        <p15:guide id="5" orient="horz" pos="2678">
          <p15:clr>
            <a:srgbClr val="FBAE40"/>
          </p15:clr>
        </p15:guide>
        <p15:guide id="6" orient="horz" pos="3004">
          <p15:clr>
            <a:srgbClr val="FBAE40"/>
          </p15:clr>
        </p15:guide>
        <p15:guide id="7" orient="horz" pos="3991">
          <p15:clr>
            <a:srgbClr val="FBAE40"/>
          </p15:clr>
        </p15:guide>
        <p15:guide id="8" pos="3682">
          <p15:clr>
            <a:srgbClr val="FBAE40"/>
          </p15:clr>
        </p15:guide>
        <p15:guide id="9" pos="4000">
          <p15:clr>
            <a:srgbClr val="FBAE40"/>
          </p15:clr>
        </p15:guide>
        <p15:guide id="10" pos="7364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297116" y="4354922"/>
            <a:ext cx="3390317" cy="1981079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297116" y="1620000"/>
            <a:ext cx="3390317" cy="2232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4400493" y="4354922"/>
            <a:ext cx="3390317" cy="1981079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400493" y="1620000"/>
            <a:ext cx="3390317" cy="2232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3869" y="4354922"/>
            <a:ext cx="3390317" cy="1981079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3869" y="1620000"/>
            <a:ext cx="3390317" cy="2232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3870" y="504000"/>
            <a:ext cx="11183564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4425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2455">
          <p15:clr>
            <a:srgbClr val="FBAE40"/>
          </p15:clr>
        </p15:guide>
        <p15:guide id="4" pos="2773">
          <p15:clr>
            <a:srgbClr val="FBAE40"/>
          </p15:clr>
        </p15:guide>
        <p15:guide id="5" pos="4910">
          <p15:clr>
            <a:srgbClr val="FBAE40"/>
          </p15:clr>
        </p15:guide>
        <p15:guide id="6" pos="5227">
          <p15:clr>
            <a:srgbClr val="FBAE40"/>
          </p15:clr>
        </p15:guide>
        <p15:guide id="7" pos="7364">
          <p15:clr>
            <a:srgbClr val="FBAE40"/>
          </p15:clr>
        </p15:guide>
        <p15:guide id="8" orient="horz" pos="551">
          <p15:clr>
            <a:srgbClr val="FBAE40"/>
          </p15:clr>
        </p15:guide>
        <p15:guide id="9" orient="horz" pos="1020">
          <p15:clr>
            <a:srgbClr val="FBAE40"/>
          </p15:clr>
        </p15:guide>
        <p15:guide id="10" orient="horz" pos="2428">
          <p15:clr>
            <a:srgbClr val="FBAE40"/>
          </p15:clr>
        </p15:guide>
        <p15:guide id="11" orient="horz" pos="2743">
          <p15:clr>
            <a:srgbClr val="FBAE40"/>
          </p15:clr>
        </p15:guide>
        <p15:guide id="12" orient="horz" pos="3991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- column 2"/>
          <p:cNvSpPr>
            <a:spLocks noGrp="1"/>
          </p:cNvSpPr>
          <p:nvPr>
            <p:ph type="body" sz="quarter" idx="13" hasCustomPrompt="1"/>
          </p:nvPr>
        </p:nvSpPr>
        <p:spPr>
          <a:xfrm>
            <a:off x="9272462" y="3878221"/>
            <a:ext cx="2414971" cy="2457780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4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9272462" y="1620000"/>
            <a:ext cx="2414971" cy="1728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13" name="Text placeholder - column 2"/>
          <p:cNvSpPr>
            <a:spLocks noGrp="1"/>
          </p:cNvSpPr>
          <p:nvPr>
            <p:ph type="body" sz="quarter" idx="17" hasCustomPrompt="1"/>
          </p:nvPr>
        </p:nvSpPr>
        <p:spPr>
          <a:xfrm>
            <a:off x="6349599" y="3878221"/>
            <a:ext cx="2414971" cy="2457780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349599" y="1620000"/>
            <a:ext cx="2414971" cy="1728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- column 2"/>
          <p:cNvSpPr>
            <a:spLocks noGrp="1"/>
          </p:cNvSpPr>
          <p:nvPr>
            <p:ph type="body" sz="quarter" idx="15" hasCustomPrompt="1"/>
          </p:nvPr>
        </p:nvSpPr>
        <p:spPr>
          <a:xfrm>
            <a:off x="3426734" y="3878221"/>
            <a:ext cx="2414971" cy="2457780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426734" y="1620000"/>
            <a:ext cx="2414971" cy="1728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- column 2"/>
          <p:cNvSpPr>
            <a:spLocks noGrp="1"/>
          </p:cNvSpPr>
          <p:nvPr>
            <p:ph type="body" sz="quarter" idx="10" hasCustomPrompt="1"/>
          </p:nvPr>
        </p:nvSpPr>
        <p:spPr>
          <a:xfrm>
            <a:off x="503869" y="3878220"/>
            <a:ext cx="2414971" cy="2457780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3869" y="1620000"/>
            <a:ext cx="2414971" cy="1728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3870" y="504000"/>
            <a:ext cx="11183564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78768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orient="horz" pos="551">
          <p15:clr>
            <a:srgbClr val="FBAE40"/>
          </p15:clr>
        </p15:guide>
        <p15:guide id="4" orient="horz" pos="1021">
          <p15:clr>
            <a:srgbClr val="FBAE40"/>
          </p15:clr>
        </p15:guide>
        <p15:guide id="5" orient="horz" pos="2110">
          <p15:clr>
            <a:srgbClr val="FBAE40"/>
          </p15:clr>
        </p15:guide>
        <p15:guide id="6" orient="horz" pos="2442">
          <p15:clr>
            <a:srgbClr val="FBAE40"/>
          </p15:clr>
        </p15:guide>
        <p15:guide id="7" orient="horz" pos="3990">
          <p15:clr>
            <a:srgbClr val="FBAE40"/>
          </p15:clr>
        </p15:guide>
        <p15:guide id="8" pos="1840">
          <p15:clr>
            <a:srgbClr val="FBAE40"/>
          </p15:clr>
        </p15:guide>
        <p15:guide id="9" pos="2159">
          <p15:clr>
            <a:srgbClr val="FBAE40"/>
          </p15:clr>
        </p15:guide>
        <p15:guide id="10" pos="3683">
          <p15:clr>
            <a:srgbClr val="FBAE40"/>
          </p15:clr>
        </p15:guide>
        <p15:guide id="11" pos="4000">
          <p15:clr>
            <a:srgbClr val="FBAE40"/>
          </p15:clr>
        </p15:guide>
        <p15:guide id="12" pos="5525">
          <p15:clr>
            <a:srgbClr val="FBAE40"/>
          </p15:clr>
        </p15:guide>
        <p15:guide id="13" pos="5842">
          <p15:clr>
            <a:srgbClr val="FBAE40"/>
          </p15:clr>
        </p15:guide>
        <p15:guide id="14" pos="736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1612749"/>
          </a:xfrm>
        </p:spPr>
        <p:txBody>
          <a:bodyPr/>
          <a:lstStyle>
            <a:lvl1pPr marL="0" indent="0">
              <a:buNone/>
              <a:defRPr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1pPr>
            <a:lvl2pPr marL="228600" indent="0">
              <a:buNone/>
              <a:defRPr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2pPr>
            <a:lvl3pPr marL="457200" indent="0">
              <a:buNone/>
              <a:defRPr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3pPr>
            <a:lvl4pPr marL="685800" indent="0">
              <a:buNone/>
              <a:defRPr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4pPr>
            <a:lvl5pPr marL="914400" indent="0">
              <a:buNone/>
              <a:defRPr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3497529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Quote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3869" y="1800000"/>
            <a:ext cx="11182288" cy="3285032"/>
          </a:xfrm>
        </p:spPr>
        <p:txBody>
          <a:bodyPr/>
          <a:lstStyle>
            <a:lvl1pPr marL="395802" indent="-395802">
              <a:lnSpc>
                <a:spcPct val="90000"/>
              </a:lnSpc>
              <a:spcBef>
                <a:spcPts val="600"/>
              </a:spcBef>
              <a:defRPr sz="5997" b="1"/>
            </a:lvl1pPr>
            <a:lvl2pPr marL="395802" indent="0">
              <a:buNone/>
              <a:defRPr sz="1600"/>
            </a:lvl2pPr>
          </a:lstStyle>
          <a:p>
            <a:pPr lvl="0"/>
            <a:r>
              <a:rPr lang="en-US" noProof="0"/>
              <a:t>“Quote goes here </a:t>
            </a:r>
            <a:br>
              <a:rPr lang="en-US" noProof="0"/>
            </a:br>
            <a:r>
              <a:rPr lang="en-US" noProof="0"/>
              <a:t>and here.”</a:t>
            </a:r>
          </a:p>
          <a:p>
            <a:pPr lvl="1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29054092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4" orient="horz" pos="1133">
          <p15:clr>
            <a:srgbClr val="FBAE40"/>
          </p15:clr>
        </p15:guide>
        <p15:guide id="5" orient="horz" pos="3204">
          <p15:clr>
            <a:srgbClr val="FBAE40"/>
          </p15:clr>
        </p15:guide>
        <p15:guide id="6" pos="7363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with Imag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/3 right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8125059" y="0"/>
            <a:ext cx="4066941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503868" y="1620000"/>
            <a:ext cx="7090154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3870" y="504000"/>
            <a:ext cx="7090154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5313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991">
          <p15:clr>
            <a:srgbClr val="FBAE40"/>
          </p15:clr>
        </p15:guide>
        <p15:guide id="3" pos="4786">
          <p15:clr>
            <a:srgbClr val="FBAE40"/>
          </p15:clr>
        </p15:guide>
        <p15:guide id="4" pos="5119">
          <p15:clr>
            <a:srgbClr val="FBAE40"/>
          </p15:clr>
        </p15:guide>
        <p15:guide id="5" orient="horz" pos="317">
          <p15:clr>
            <a:srgbClr val="FBAE40"/>
          </p15:clr>
        </p15:guide>
        <p15:guide id="6" orient="horz" pos="551">
          <p15:clr>
            <a:srgbClr val="FBAE40"/>
          </p15:clr>
        </p15:guide>
        <p15:guide id="7" orient="horz" pos="1020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0"/>
            <a:ext cx="12192000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9257742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creensh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360820" y="1620000"/>
            <a:ext cx="5326613" cy="4716000"/>
          </a:xfrm>
          <a:noFill/>
        </p:spPr>
        <p:txBody>
          <a:bodyPr vert="horz" lIns="0" tIns="1512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screenshot</a:t>
            </a:r>
            <a:endParaRPr lang="de-DE"/>
          </a:p>
        </p:txBody>
      </p:sp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3869" y="1620000"/>
            <a:ext cx="5326613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3870" y="504000"/>
            <a:ext cx="11183564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55487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1020">
          <p15:clr>
            <a:srgbClr val="FBAE40"/>
          </p15:clr>
        </p15:guide>
        <p15:guide id="3" pos="3674">
          <p15:clr>
            <a:srgbClr val="FBAE40"/>
          </p15:clr>
        </p15:guide>
        <p15:guide id="4" pos="4008">
          <p15:clr>
            <a:srgbClr val="FBAE40"/>
          </p15:clr>
        </p15:guide>
        <p15:guide id="5" pos="7364">
          <p15:clr>
            <a:srgbClr val="FBAE40"/>
          </p15:clr>
        </p15:guide>
        <p15:guide id="6" orient="horz" pos="317">
          <p15:clr>
            <a:srgbClr val="FBAE40"/>
          </p15:clr>
        </p15:guide>
        <p15:guide id="7" orient="horz" pos="551">
          <p15:clr>
            <a:srgbClr val="FBAE40"/>
          </p15:clr>
        </p15:guide>
        <p15:guide id="8" orient="horz" pos="3991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"/>
          <p:cNvSpPr>
            <a:spLocks noGrp="1"/>
          </p:cNvSpPr>
          <p:nvPr>
            <p:ph idx="1" hasCustomPrompt="1"/>
          </p:nvPr>
        </p:nvSpPr>
        <p:spPr bwMode="gray">
          <a:xfrm>
            <a:off x="503869" y="1620000"/>
            <a:ext cx="11182288" cy="4716000"/>
          </a:xfrm>
          <a:noFill/>
        </p:spPr>
        <p:txBody>
          <a:bodyPr tIns="1368000"/>
          <a:lstStyle>
            <a:lvl1pPr algn="ctr">
              <a:defRPr sz="1400" b="0"/>
            </a:lvl1pPr>
          </a:lstStyle>
          <a:p>
            <a:pPr lvl="0"/>
            <a:r>
              <a:rPr lang="en-US"/>
              <a:t>Click to add content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25929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orient="horz" pos="551">
          <p15:clr>
            <a:srgbClr val="FBAE40"/>
          </p15:clr>
        </p15:guide>
        <p15:guide id="4" orient="horz" pos="1020">
          <p15:clr>
            <a:srgbClr val="FBAE40"/>
          </p15:clr>
        </p15:guide>
        <p15:guide id="5" orient="horz" pos="3991">
          <p15:clr>
            <a:srgbClr val="FBAE40"/>
          </p15:clr>
        </p15:guide>
        <p15:guide id="6" pos="7364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5460993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, Contact and Copyr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5B62EF80-ED78-484B-AC34-B314C73F9091}"/>
              </a:ext>
            </a:extLst>
          </p:cNvPr>
          <p:cNvSpPr txBox="1"/>
          <p:nvPr userDrawn="1"/>
        </p:nvSpPr>
        <p:spPr>
          <a:xfrm>
            <a:off x="503107" y="1466850"/>
            <a:ext cx="4390104" cy="8463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5498" b="1" kern="0">
                <a:ea typeface="Arial Unicode MS" pitchFamily="34" charset="-128"/>
                <a:cs typeface="Arial Unicode MS" pitchFamily="34" charset="-128"/>
              </a:rPr>
              <a:t>Thank you.</a:t>
            </a:r>
          </a:p>
        </p:txBody>
      </p:sp>
      <p:pic>
        <p:nvPicPr>
          <p:cNvPr id="201229968" name="SAP Logo Placeholder" descr="{&quot;templafy&quot;:{&quot;id&quot;:&quot;ae45ed68-1fba-481a-9e2e-8199ba46a6fa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07284" y="5797296"/>
            <a:ext cx="2207861" cy="532020"/>
          </a:xfrm>
          <a:prstGeom prst="rect">
            <a:avLst/>
          </a:prstGeom>
        </p:spPr>
      </p:pic>
      <p:pic>
        <p:nvPicPr>
          <p:cNvPr id="525610049" name="Acquired Company Logo Placeholder" descr="{&quot;templafy&quot;:{&quot;id&quot;:&quot;804b0718-9d30-40d9-b880-804c2c6a8f91&quot;}}" hidden="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3869" y="522453"/>
            <a:ext cx="4124850" cy="26601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433C5639-DDA2-864A-9DC3-7FC80AC852D5}"/>
              </a:ext>
            </a:extLst>
          </p:cNvPr>
          <p:cNvSpPr txBox="1"/>
          <p:nvPr userDrawn="1"/>
        </p:nvSpPr>
        <p:spPr>
          <a:xfrm>
            <a:off x="503107" y="2905126"/>
            <a:ext cx="1836563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449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lang="en-US" sz="1600"/>
              <a:t>Contact information:</a:t>
            </a:r>
          </a:p>
        </p:txBody>
      </p:sp>
      <p:sp>
        <p:nvSpPr>
          <p:cNvPr id="9" name="Copyright Placeholder" descr="{&quot;templafy&quot;:{&quot;id&quot;:&quot;ba9fff8e-a26f-4604-9418-39eec7243848&quot;}}">
            <a:extLst>
              <a:ext uri="{FF2B5EF4-FFF2-40B4-BE49-F238E27FC236}">
                <a16:creationId xmlns:a16="http://schemas.microsoft.com/office/drawing/2014/main" id="{EDAF1AF5-D568-20CC-6052-F655D86F5486}"/>
              </a:ext>
            </a:extLst>
          </p:cNvPr>
          <p:cNvSpPr txBox="1">
            <a:spLocks/>
          </p:cNvSpPr>
          <p:nvPr userDrawn="1"/>
        </p:nvSpPr>
        <p:spPr>
          <a:xfrm>
            <a:off x="503870" y="6536751"/>
            <a:ext cx="10152956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/>
              <a:t>© 2022 SAP SE or an SAP affiliate company. All rights reserved. See Legal Notice on www.sap.com/legal-notice for use terms, disclaimers, disclosures, or restrictions related to SAP Materials for general audiences.</a:t>
            </a:r>
          </a:p>
        </p:txBody>
      </p:sp>
    </p:spTree>
    <p:extLst>
      <p:ext uri="{BB962C8B-B14F-4D97-AF65-F5344CB8AC3E}">
        <p14:creationId xmlns:p14="http://schemas.microsoft.com/office/powerpoint/2010/main" val="2209567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  <p:extLst>
    <p:ext uri="{DCECCB84-F9BA-43D5-87BE-67443E8EF086}">
      <p15:sldGuideLst xmlns:p15="http://schemas.microsoft.com/office/powerpoint/2012/main">
        <p15:guide id="1" pos="7364">
          <p15:clr>
            <a:srgbClr val="FBAE40"/>
          </p15:clr>
        </p15:guide>
        <p15:guide id="2" orient="horz" pos="924">
          <p15:clr>
            <a:srgbClr val="FBAE40"/>
          </p15:clr>
        </p15:guide>
        <p15:guide id="4" orient="horz" pos="1830">
          <p15:clr>
            <a:srgbClr val="FBAE40"/>
          </p15:clr>
        </p15:guide>
        <p15:guide id="5" orient="horz" pos="4000">
          <p15:clr>
            <a:srgbClr val="FBAE40"/>
          </p15:clr>
        </p15:guide>
        <p15:guide id="6" pos="317">
          <p15:clr>
            <a:srgbClr val="FBAE40"/>
          </p15:clr>
        </p15:guide>
        <p15:guide id="8" pos="3841">
          <p15:clr>
            <a:srgbClr val="FBAE40"/>
          </p15:clr>
        </p15:guide>
        <p15:guide id="9" orient="horz" pos="318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over with Image or Illustra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24337596" name="SAP Logo Placeholder" descr="{&quot;templafy&quot;:{&quot;id&quot;:&quot;768b63b2-5993-47f7-bec1-89bc900b3597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90117" y="6053328"/>
            <a:ext cx="2207861" cy="532020"/>
          </a:xfrm>
          <a:prstGeom prst="rect">
            <a:avLst/>
          </a:prstGeom>
        </p:spPr>
      </p:pic>
      <p:sp>
        <p:nvSpPr>
          <p:cNvPr id="12" name="Partner Logo Placeholder">
            <a:extLst>
              <a:ext uri="{FF2B5EF4-FFF2-40B4-BE49-F238E27FC236}">
                <a16:creationId xmlns:a16="http://schemas.microsoft.com/office/drawing/2014/main" id="{37451236-BF8E-934B-B7DE-1ADB8A004F3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82501" y="6161088"/>
            <a:ext cx="953840" cy="417512"/>
          </a:xfrm>
        </p:spPr>
        <p:txBody>
          <a:bodyPr anchor="ctr" anchorCtr="0">
            <a:noAutofit/>
          </a:bodyPr>
          <a:lstStyle>
            <a:lvl1pPr algn="ctr">
              <a:spcBef>
                <a:spcPts val="0"/>
              </a:spcBef>
              <a:defRPr sz="900"/>
            </a:lvl1pPr>
          </a:lstStyle>
          <a:p>
            <a:r>
              <a:rPr lang="en-US"/>
              <a:t>Add partner </a:t>
            </a:r>
            <a:br>
              <a:rPr lang="en-US"/>
            </a:br>
            <a:r>
              <a:rPr lang="en-US"/>
              <a:t>logo and alt text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287925" y="4024430"/>
            <a:ext cx="10896336" cy="997196"/>
          </a:xfrm>
        </p:spPr>
        <p:txBody>
          <a:bodyPr vert="horz" wrap="square" lIns="0" tIns="0" rIns="0" bIns="0" rtlCol="0">
            <a:noAutofit/>
          </a:bodyPr>
          <a:lstStyle>
            <a:lvl1pPr>
              <a:lnSpc>
                <a:spcPct val="90000"/>
              </a:lnSpc>
              <a:defRPr lang="de-DE" sz="3599" dirty="0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</a:p>
        </p:txBody>
      </p:sp>
      <p:pic>
        <p:nvPicPr>
          <p:cNvPr id="1567943375" name="Acquired Company Logo Placeholder" descr="{&quot;templafy&quot;:{&quot;id&quot;:&quot;3563231b-72ea-4350-8041-8bf7ff93b3f8&quot;}}" hidden="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2501" y="3564352"/>
            <a:ext cx="4124850" cy="266010"/>
          </a:xfrm>
          <a:prstGeom prst="rect">
            <a:avLst/>
          </a:prstGeom>
        </p:spPr>
      </p:pic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FA78832-C268-4EC5-BB82-7F9D7F5B51B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-1"/>
            <a:ext cx="12192000" cy="34308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TextBox 8" descr="{&quot;templafy&quot;:{&quot;id&quot;:&quot;29d61593-a8c4-4e68-a985-8dda8464f7da&quot;}}">
            <a:extLst>
              <a:ext uri="{FF2B5EF4-FFF2-40B4-BE49-F238E27FC236}">
                <a16:creationId xmlns:a16="http://schemas.microsoft.com/office/drawing/2014/main" id="{67DD20A5-C25F-4185-8EE3-21AD5478BC3E}"/>
              </a:ext>
            </a:extLst>
          </p:cNvPr>
          <p:cNvSpPr txBox="1"/>
          <p:nvPr userDrawn="1"/>
        </p:nvSpPr>
        <p:spPr>
          <a:xfrm>
            <a:off x="282501" y="5752440"/>
            <a:ext cx="4984814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kern="0">
                <a:ea typeface="Arial Unicode MS" pitchFamily="34" charset="-128"/>
                <a:cs typeface="Arial Unicode MS" pitchFamily="34" charset="-128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34556425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505">
          <p15:clr>
            <a:srgbClr val="FBAE40"/>
          </p15:clr>
        </p15:guide>
        <p15:guide id="2" orient="horz" pos="4144">
          <p15:clr>
            <a:srgbClr val="FBAE40"/>
          </p15:clr>
        </p15:guide>
        <p15:guide id="3" orient="horz" pos="2162">
          <p15:clr>
            <a:srgbClr val="FBAE40"/>
          </p15:clr>
        </p15:guide>
        <p15:guide id="4" pos="181">
          <p15:clr>
            <a:srgbClr val="FBAE40"/>
          </p15:clr>
        </p15:guide>
        <p15:guide id="5" orient="horz" pos="2534">
          <p15:clr>
            <a:srgbClr val="FBAE40"/>
          </p15:clr>
        </p15:guide>
        <p15:guide id="6" orient="horz" pos="3164">
          <p15:clr>
            <a:srgbClr val="FBAE40"/>
          </p15:clr>
        </p15:guide>
        <p15:guide id="7" orient="horz" pos="3232">
          <p15:clr>
            <a:srgbClr val="FBAE40"/>
          </p15:clr>
        </p15:guide>
        <p15:guide id="8" orient="horz" pos="3504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74130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551">
          <p15:clr>
            <a:srgbClr val="FBAE40"/>
          </p15:clr>
        </p15:guide>
        <p15:guide id="5" orient="horz" pos="3992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hank You and Contact Informa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5B62EF80-ED78-484B-AC34-B314C73F9091}"/>
              </a:ext>
            </a:extLst>
          </p:cNvPr>
          <p:cNvSpPr txBox="1"/>
          <p:nvPr userDrawn="1"/>
        </p:nvSpPr>
        <p:spPr>
          <a:xfrm>
            <a:off x="503107" y="1466850"/>
            <a:ext cx="4390104" cy="8463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5498" b="1" kern="0">
                <a:ea typeface="Arial Unicode MS" pitchFamily="34" charset="-128"/>
                <a:cs typeface="Arial Unicode MS" pitchFamily="34" charset="-128"/>
              </a:rPr>
              <a:t>Thank you.</a:t>
            </a:r>
          </a:p>
        </p:txBody>
      </p:sp>
      <p:pic>
        <p:nvPicPr>
          <p:cNvPr id="1244119638" name="SAP Logo Placeholder" descr="{&quot;templafy&quot;:{&quot;id&quot;:&quot;251d32a8-57d9-4a55-be8f-c88420ae347f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07284" y="5797296"/>
            <a:ext cx="2207861" cy="532020"/>
          </a:xfrm>
          <a:prstGeom prst="rect">
            <a:avLst/>
          </a:prstGeom>
        </p:spPr>
      </p:pic>
      <p:pic>
        <p:nvPicPr>
          <p:cNvPr id="2003203665" name="Acquired Company Logo Placeholder" descr="{&quot;templafy&quot;:{&quot;id&quot;:&quot;2b5a6dcc-5cce-47cf-85ee-6ee427acf7b9&quot;}}" hidden="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3869" y="522453"/>
            <a:ext cx="4124850" cy="266010"/>
          </a:xfrm>
          <a:prstGeom prst="rect">
            <a:avLst/>
          </a:prstGeom>
        </p:spPr>
      </p:pic>
      <p:sp>
        <p:nvSpPr>
          <p:cNvPr id="9" name="Copyright Placeholder" descr="{&quot;templafy&quot;:{&quot;id&quot;:&quot;ba9fff8e-a26f-4604-9418-39eec7243848&quot;}}">
            <a:extLst>
              <a:ext uri="{FF2B5EF4-FFF2-40B4-BE49-F238E27FC236}">
                <a16:creationId xmlns:a16="http://schemas.microsoft.com/office/drawing/2014/main" id="{EDAF1AF5-D568-20CC-6052-F655D86F5486}"/>
              </a:ext>
            </a:extLst>
          </p:cNvPr>
          <p:cNvSpPr txBox="1">
            <a:spLocks/>
          </p:cNvSpPr>
          <p:nvPr userDrawn="1"/>
        </p:nvSpPr>
        <p:spPr>
          <a:xfrm>
            <a:off x="503870" y="6536751"/>
            <a:ext cx="10152956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/>
              <a:t>© 2022 SAP SE or an SAP affiliate company. All rights reserved. See Legal Notice on www.sap.com/legal-notice for use terms, disclaimers, disclosures, or restrictions related to SAP Materials for general audiences.</a:t>
            </a:r>
          </a:p>
        </p:txBody>
      </p:sp>
    </p:spTree>
    <p:extLst>
      <p:ext uri="{BB962C8B-B14F-4D97-AF65-F5344CB8AC3E}">
        <p14:creationId xmlns:p14="http://schemas.microsoft.com/office/powerpoint/2010/main" val="23833983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  <p:extLst>
    <p:ext uri="{DCECCB84-F9BA-43D5-87BE-67443E8EF086}">
      <p15:sldGuideLst xmlns:p15="http://schemas.microsoft.com/office/powerpoint/2012/main">
        <p15:guide id="1" pos="7364">
          <p15:clr>
            <a:srgbClr val="FBAE40"/>
          </p15:clr>
        </p15:guide>
        <p15:guide id="2" orient="horz" pos="924">
          <p15:clr>
            <a:srgbClr val="FBAE40"/>
          </p15:clr>
        </p15:guide>
        <p15:guide id="4" orient="horz" pos="1830">
          <p15:clr>
            <a:srgbClr val="FBAE40"/>
          </p15:clr>
        </p15:guide>
        <p15:guide id="5" orient="horz" pos="4000">
          <p15:clr>
            <a:srgbClr val="FBAE40"/>
          </p15:clr>
        </p15:guide>
        <p15:guide id="6" pos="317">
          <p15:clr>
            <a:srgbClr val="FBAE40"/>
          </p15:clr>
        </p15:guide>
        <p15:guide id="8" pos="3841">
          <p15:clr>
            <a:srgbClr val="FBAE40"/>
          </p15:clr>
        </p15:guide>
        <p15:guide id="9" orient="horz" pos="318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84200" y="1435100"/>
            <a:ext cx="5211763" cy="1612749"/>
          </a:xfrm>
        </p:spPr>
        <p:txBody>
          <a:bodyPr/>
          <a:lstStyle>
            <a:lvl1pPr>
              <a:defRPr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1pPr>
            <a:lvl2pPr>
              <a:defRPr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2pPr>
            <a:lvl3pPr>
              <a:defRPr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3pPr>
            <a:lvl4pPr>
              <a:defRPr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4pPr>
            <a:lvl5pPr>
              <a:defRPr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6389688" y="1435100"/>
            <a:ext cx="5219700" cy="1612749"/>
          </a:xfrm>
        </p:spPr>
        <p:txBody>
          <a:bodyPr/>
          <a:lstStyle>
            <a:lvl1pPr>
              <a:defRPr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1pPr>
            <a:lvl2pPr>
              <a:defRPr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2pPr>
            <a:lvl3pPr>
              <a:defRPr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3pPr>
            <a:lvl4pPr>
              <a:defRPr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4pPr>
            <a:lvl5pPr>
              <a:defRPr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0200875"/>
      </p:ext>
    </p:extLst>
  </p:cSld>
  <p:clrMapOvr>
    <a:masterClrMapping/>
  </p:clrMapOvr>
  <p:transition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E1D2B0D7-2A1D-4E03-B8A0-06B1E91B94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B47F067-6181-497F-B821-E544309FAA0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540" y="1119911"/>
            <a:ext cx="10514927" cy="4350712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8093188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age1_white: Customer business challen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SAP Logo">
            <a:extLst>
              <a:ext uri="{FF2B5EF4-FFF2-40B4-BE49-F238E27FC236}">
                <a16:creationId xmlns:a16="http://schemas.microsoft.com/office/drawing/2014/main" id="{44CB7750-D935-403D-A8AE-19A26140C16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632674" y="5987573"/>
            <a:ext cx="1963124" cy="355695"/>
          </a:xfrm>
          <a:prstGeom prst="rect">
            <a:avLst/>
          </a:prstGeom>
        </p:spPr>
      </p:pic>
      <p:sp>
        <p:nvSpPr>
          <p:cNvPr id="5" name="Picture Placeholder 1/3 right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8125059" y="0"/>
            <a:ext cx="4066941" cy="6858000"/>
          </a:xfrm>
          <a:solidFill>
            <a:schemeClr val="tx2">
              <a:alpha val="70000"/>
            </a:schemeClr>
          </a:solidFill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503868" y="3206974"/>
            <a:ext cx="7090154" cy="2448000"/>
          </a:xfrm>
        </p:spPr>
        <p:txBody>
          <a:bodyPr>
            <a:noAutofit/>
          </a:bodyPr>
          <a:lstStyle>
            <a:lvl1pPr>
              <a:defRPr sz="2199" b="1">
                <a:solidFill>
                  <a:schemeClr val="tx1"/>
                </a:solidFill>
              </a:defRPr>
            </a:lvl1pPr>
            <a:lvl2pPr marL="0" indent="0">
              <a:spcBef>
                <a:spcPts val="1200"/>
              </a:spcBef>
              <a:buNone/>
              <a:defRPr sz="1400">
                <a:solidFill>
                  <a:schemeClr val="tx1"/>
                </a:solidFill>
              </a:defRPr>
            </a:lvl2pPr>
            <a:lvl3pPr marL="143957" indent="-143957">
              <a:spcBef>
                <a:spcPts val="4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err="1"/>
              <a:t>Subheadline</a:t>
            </a:r>
            <a:endParaRPr lang="en-US" noProof="0"/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Bullet copy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3870" y="1151642"/>
            <a:ext cx="7090154" cy="1477328"/>
          </a:xfrm>
        </p:spPr>
        <p:txBody>
          <a:bodyPr>
            <a:noAutofit/>
          </a:bodyPr>
          <a:lstStyle>
            <a:lvl1pPr>
              <a:defRPr sz="3199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runs here and here and here</a:t>
            </a:r>
            <a:br>
              <a:rPr lang="en-US"/>
            </a:br>
            <a:r>
              <a:rPr lang="en-US"/>
              <a:t>and here and here and here and here and here</a:t>
            </a:r>
            <a:br>
              <a:rPr lang="en-US"/>
            </a:br>
            <a:endParaRPr lang="en-US"/>
          </a:p>
        </p:txBody>
      </p:sp>
      <p:sp>
        <p:nvSpPr>
          <p:cNvPr id="15" name="object 13">
            <a:extLst>
              <a:ext uri="{FF2B5EF4-FFF2-40B4-BE49-F238E27FC236}">
                <a16:creationId xmlns:a16="http://schemas.microsoft.com/office/drawing/2014/main" id="{0C78AFEE-4239-449E-8F79-8507C908FC6B}"/>
              </a:ext>
            </a:extLst>
          </p:cNvPr>
          <p:cNvSpPr/>
          <p:nvPr userDrawn="1"/>
        </p:nvSpPr>
        <p:spPr>
          <a:xfrm>
            <a:off x="503870" y="2869184"/>
            <a:ext cx="2807269" cy="0"/>
          </a:xfrm>
          <a:custGeom>
            <a:avLst/>
            <a:gdLst/>
            <a:ahLst/>
            <a:cxnLst/>
            <a:rect l="l" t="t" r="r" b="b"/>
            <a:pathLst>
              <a:path w="20104100">
                <a:moveTo>
                  <a:pt x="0" y="0"/>
                </a:moveTo>
                <a:lnTo>
                  <a:pt x="20104099" y="0"/>
                </a:lnTo>
              </a:path>
            </a:pathLst>
          </a:custGeom>
          <a:ln w="12700">
            <a:solidFill>
              <a:schemeClr val="accent1"/>
            </a:solidFill>
          </a:ln>
          <a:effectLst/>
        </p:spPr>
        <p:txBody>
          <a:bodyPr wrap="square" lIns="0" tIns="0" rIns="0" bIns="0" rtlCol="0"/>
          <a:lstStyle/>
          <a:p>
            <a:endParaRPr sz="662"/>
          </a:p>
        </p:txBody>
      </p:sp>
      <p:sp>
        <p:nvSpPr>
          <p:cNvPr id="9" name="Classification">
            <a:extLst>
              <a:ext uri="{FF2B5EF4-FFF2-40B4-BE49-F238E27FC236}">
                <a16:creationId xmlns:a16="http://schemas.microsoft.com/office/drawing/2014/main" id="{175913ED-894D-2B40-AEA7-9D07901B3B41}"/>
              </a:ext>
            </a:extLst>
          </p:cNvPr>
          <p:cNvSpPr txBox="1"/>
          <p:nvPr userDrawn="1"/>
        </p:nvSpPr>
        <p:spPr>
          <a:xfrm>
            <a:off x="6699680" y="198438"/>
            <a:ext cx="894342" cy="24307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>
              <a:spcBef>
                <a:spcPts val="0"/>
              </a:spcBef>
              <a:buClr>
                <a:schemeClr val="accent1"/>
              </a:buClr>
              <a:buSzPct val="80000"/>
              <a:buFontTx/>
              <a:buNone/>
              <a:defRPr sz="1000" b="0">
                <a:latin typeface="+mn-lt"/>
              </a:defRPr>
            </a:lvl1pPr>
            <a:lvl2pPr marL="180000" indent="-180000">
              <a:spcBef>
                <a:spcPts val="600"/>
              </a:spcBef>
              <a:buClr>
                <a:schemeClr val="accent1"/>
              </a:buClr>
              <a:buFont typeface="Wingdings" pitchFamily="2" charset="2"/>
              <a:buChar char="§"/>
              <a:defRPr sz="1800">
                <a:latin typeface="+mn-lt"/>
              </a:defRPr>
            </a:lvl2pPr>
            <a:lvl3pPr marL="360000" indent="-180000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noProof="0" dirty="0" smtClean="0">
                <a:latin typeface="+mn-lt"/>
              </a:defRPr>
            </a:lvl3pPr>
            <a:lvl4pPr marL="540000" indent="-180000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>
                <a:latin typeface="+mn-lt"/>
              </a:defRPr>
            </a:lvl4pPr>
            <a:lvl5pPr marL="720000" indent="-180000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sz="1400" baseline="0">
                <a:latin typeface="+mn-lt"/>
              </a:defRPr>
            </a:lvl5pPr>
            <a:lvl6pPr marL="2994134" indent="-2721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8522" indent="-2721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82910" indent="-2721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27298" indent="-2721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pPr marL="0" marR="0" lvl="0" indent="0" algn="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22778113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991">
          <p15:clr>
            <a:srgbClr val="FBAE40"/>
          </p15:clr>
        </p15:guide>
        <p15:guide id="3" pos="4786">
          <p15:clr>
            <a:srgbClr val="FBAE40"/>
          </p15:clr>
        </p15:guide>
        <p15:guide id="4" pos="5119">
          <p15:clr>
            <a:srgbClr val="FBAE40"/>
          </p15:clr>
        </p15:guide>
        <p15:guide id="5" orient="horz" pos="317">
          <p15:clr>
            <a:srgbClr val="FBAE40"/>
          </p15:clr>
        </p15:guide>
        <p15:guide id="7" orient="horz" pos="725">
          <p15:clr>
            <a:srgbClr val="FBAE40"/>
          </p15:clr>
        </p15:guide>
        <p15:guide id="8" orient="horz" pos="2020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TS short 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SAP Logo">
            <a:extLst>
              <a:ext uri="{FF2B5EF4-FFF2-40B4-BE49-F238E27FC236}">
                <a16:creationId xmlns:a16="http://schemas.microsoft.com/office/drawing/2014/main" id="{D4BB54DC-F77C-4090-987C-BC7FCFCFF80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9725009" y="5987573"/>
            <a:ext cx="1963124" cy="355695"/>
          </a:xfrm>
          <a:prstGeom prst="rect">
            <a:avLst/>
          </a:prstGeom>
        </p:spPr>
      </p:pic>
      <p:sp>
        <p:nvSpPr>
          <p:cNvPr id="7" name="Text Placeholder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503868" y="1434727"/>
            <a:ext cx="7090154" cy="3866693"/>
          </a:xfrm>
        </p:spPr>
        <p:txBody>
          <a:bodyPr>
            <a:noAutofit/>
          </a:bodyPr>
          <a:lstStyle>
            <a:lvl1pPr marL="0" marR="0" indent="0" algn="l" defTabSz="1088231" rtl="0" eaLnBrk="1" fontAlgn="auto" latinLnBrk="0" hangingPunct="1">
              <a:lnSpc>
                <a:spcPct val="100000"/>
              </a:lnSpc>
              <a:spcBef>
                <a:spcPts val="1799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1200" b="1">
                <a:solidFill>
                  <a:schemeClr val="tx1"/>
                </a:solidFill>
              </a:defRPr>
            </a:lvl1pPr>
            <a:lvl2pPr marL="143957" marR="0" indent="-143957" algn="l" defTabSz="10882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1200" b="0">
                <a:solidFill>
                  <a:schemeClr val="tx1"/>
                </a:solidFill>
              </a:defRPr>
            </a:lvl2pPr>
            <a:lvl3pPr marL="143957" indent="-143957">
              <a:spcBef>
                <a:spcPts val="2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err="1"/>
              <a:t>Subheadline</a:t>
            </a:r>
            <a:endParaRPr lang="en-US" noProof="0"/>
          </a:p>
          <a:p>
            <a:pPr lvl="1"/>
            <a:r>
              <a:rPr lang="en-US"/>
              <a:t>Bullet copy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3870" y="555760"/>
            <a:ext cx="7090154" cy="553998"/>
          </a:xfrm>
        </p:spPr>
        <p:txBody>
          <a:bodyPr anchor="ctr">
            <a:noAutofit/>
          </a:bodyPr>
          <a:lstStyle>
            <a:lvl1pPr>
              <a:defRPr sz="1799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runs here and here and here and here and here and here</a:t>
            </a:r>
            <a:br>
              <a:rPr lang="en-US"/>
            </a:br>
            <a:r>
              <a:rPr lang="en-US"/>
              <a:t>and here and here</a:t>
            </a:r>
          </a:p>
        </p:txBody>
      </p:sp>
      <p:sp>
        <p:nvSpPr>
          <p:cNvPr id="17" name="Text Placeholder">
            <a:extLst>
              <a:ext uri="{FF2B5EF4-FFF2-40B4-BE49-F238E27FC236}">
                <a16:creationId xmlns:a16="http://schemas.microsoft.com/office/drawing/2014/main" id="{31A034C5-3DA5-4945-A987-73F0E9776F0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8125060" y="1431554"/>
            <a:ext cx="3563073" cy="1116000"/>
          </a:xfrm>
        </p:spPr>
        <p:txBody>
          <a:bodyPr anchor="t">
            <a:noAutofit/>
          </a:bodyPr>
          <a:lstStyle>
            <a:lvl1pPr>
              <a:spcBef>
                <a:spcPts val="0"/>
              </a:spcBef>
              <a:defRPr sz="1200" b="0">
                <a:solidFill>
                  <a:schemeClr val="tx1"/>
                </a:solidFill>
              </a:defRPr>
            </a:lvl1pPr>
            <a:lvl2pPr marL="0" indent="0">
              <a:spcBef>
                <a:spcPts val="600"/>
              </a:spcBef>
              <a:buNone/>
              <a:defRPr sz="900" b="0">
                <a:solidFill>
                  <a:schemeClr val="tx1"/>
                </a:solidFill>
              </a:defRPr>
            </a:lvl2pPr>
            <a:lvl3pPr marL="143957" indent="-143957">
              <a:spcBef>
                <a:spcPts val="2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„Quote.“</a:t>
            </a:r>
          </a:p>
          <a:p>
            <a:pPr lvl="1"/>
            <a:r>
              <a:rPr lang="en-US"/>
              <a:t>First and Last Name, Position, Full Legal Company Name</a:t>
            </a:r>
          </a:p>
        </p:txBody>
      </p:sp>
      <p:sp>
        <p:nvSpPr>
          <p:cNvPr id="18" name="Text Placeholder">
            <a:extLst>
              <a:ext uri="{FF2B5EF4-FFF2-40B4-BE49-F238E27FC236}">
                <a16:creationId xmlns:a16="http://schemas.microsoft.com/office/drawing/2014/main" id="{A94DBCA6-C1ED-4F62-A230-6A95EDC1329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black">
          <a:xfrm>
            <a:off x="503868" y="5805964"/>
            <a:ext cx="863775" cy="540000"/>
          </a:xfrm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8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800" b="0">
                <a:solidFill>
                  <a:schemeClr val="tx1"/>
                </a:solidFill>
              </a:defRPr>
            </a:lvl2pPr>
            <a:lvl3pPr marL="143957" indent="-143957">
              <a:spcBef>
                <a:spcPts val="2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ompany Name</a:t>
            </a:r>
          </a:p>
          <a:p>
            <a:pPr lvl="1"/>
            <a:r>
              <a:rPr lang="en-US"/>
              <a:t>Body copy</a:t>
            </a:r>
            <a:br>
              <a:rPr lang="en-US"/>
            </a:br>
            <a:endParaRPr lang="en-US"/>
          </a:p>
        </p:txBody>
      </p:sp>
      <p:sp>
        <p:nvSpPr>
          <p:cNvPr id="20" name="Text Placeholder">
            <a:extLst>
              <a:ext uri="{FF2B5EF4-FFF2-40B4-BE49-F238E27FC236}">
                <a16:creationId xmlns:a16="http://schemas.microsoft.com/office/drawing/2014/main" id="{B90CC14E-5372-4925-8E78-B9D40913045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black">
          <a:xfrm>
            <a:off x="1590785" y="5805964"/>
            <a:ext cx="863775" cy="540000"/>
          </a:xfrm>
        </p:spPr>
        <p:txBody>
          <a:bodyPr wrap="square" bIns="0">
            <a:noAutofit/>
          </a:bodyPr>
          <a:lstStyle>
            <a:lvl1pPr>
              <a:spcBef>
                <a:spcPts val="0"/>
              </a:spcBef>
              <a:defRPr sz="8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800" b="0">
                <a:solidFill>
                  <a:schemeClr val="tx1"/>
                </a:solidFill>
              </a:defRPr>
            </a:lvl2pPr>
            <a:lvl3pPr marL="143957" indent="-143957">
              <a:spcBef>
                <a:spcPts val="2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Industry</a:t>
            </a:r>
          </a:p>
          <a:p>
            <a:pPr lvl="1"/>
            <a:r>
              <a:rPr lang="en-US"/>
              <a:t>Body copy</a:t>
            </a:r>
            <a:br>
              <a:rPr lang="en-US"/>
            </a:br>
            <a:endParaRPr lang="en-US"/>
          </a:p>
        </p:txBody>
      </p:sp>
      <p:sp>
        <p:nvSpPr>
          <p:cNvPr id="21" name="Text Placeholder">
            <a:extLst>
              <a:ext uri="{FF2B5EF4-FFF2-40B4-BE49-F238E27FC236}">
                <a16:creationId xmlns:a16="http://schemas.microsoft.com/office/drawing/2014/main" id="{4FE68ED5-984C-4D38-B656-CC6C94C43DB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4160516" y="5805964"/>
            <a:ext cx="863775" cy="540000"/>
          </a:xfrm>
        </p:spPr>
        <p:txBody>
          <a:bodyPr wrap="square" bIns="0">
            <a:noAutofit/>
          </a:bodyPr>
          <a:lstStyle>
            <a:lvl1pPr>
              <a:spcBef>
                <a:spcPts val="0"/>
              </a:spcBef>
              <a:defRPr sz="8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800" b="0">
                <a:solidFill>
                  <a:schemeClr val="tx1"/>
                </a:solidFill>
              </a:defRPr>
            </a:lvl2pPr>
            <a:lvl3pPr marL="143957" indent="-143957">
              <a:spcBef>
                <a:spcPts val="2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mployees</a:t>
            </a:r>
          </a:p>
          <a:p>
            <a:pPr lvl="1"/>
            <a:r>
              <a:rPr lang="en-US"/>
              <a:t>Body copy</a:t>
            </a:r>
            <a:br>
              <a:rPr lang="en-US"/>
            </a:br>
            <a:endParaRPr lang="en-US"/>
          </a:p>
        </p:txBody>
      </p:sp>
      <p:sp>
        <p:nvSpPr>
          <p:cNvPr id="24" name="Text Placeholder">
            <a:extLst>
              <a:ext uri="{FF2B5EF4-FFF2-40B4-BE49-F238E27FC236}">
                <a16:creationId xmlns:a16="http://schemas.microsoft.com/office/drawing/2014/main" id="{713C1F00-759E-4B35-AD44-B30F6938AA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black">
          <a:xfrm>
            <a:off x="5247433" y="5805964"/>
            <a:ext cx="863775" cy="540000"/>
          </a:xfrm>
        </p:spPr>
        <p:txBody>
          <a:bodyPr wrap="square" bIns="0">
            <a:noAutofit/>
          </a:bodyPr>
          <a:lstStyle>
            <a:lvl1pPr>
              <a:spcBef>
                <a:spcPts val="0"/>
              </a:spcBef>
              <a:defRPr sz="8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800" b="0">
                <a:solidFill>
                  <a:schemeClr val="tx1"/>
                </a:solidFill>
              </a:defRPr>
            </a:lvl2pPr>
            <a:lvl3pPr marL="143957" indent="-143957">
              <a:spcBef>
                <a:spcPts val="2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Revenue</a:t>
            </a:r>
          </a:p>
          <a:p>
            <a:pPr lvl="1"/>
            <a:r>
              <a:rPr lang="en-US"/>
              <a:t>Body copy</a:t>
            </a:r>
            <a:br>
              <a:rPr lang="en-US"/>
            </a:br>
            <a:endParaRPr lang="en-US"/>
          </a:p>
        </p:txBody>
      </p:sp>
      <p:sp>
        <p:nvSpPr>
          <p:cNvPr id="22" name="object 13">
            <a:extLst>
              <a:ext uri="{FF2B5EF4-FFF2-40B4-BE49-F238E27FC236}">
                <a16:creationId xmlns:a16="http://schemas.microsoft.com/office/drawing/2014/main" id="{33510437-C838-4F53-9C59-4C01AFE4DD8D}"/>
              </a:ext>
            </a:extLst>
          </p:cNvPr>
          <p:cNvSpPr/>
          <p:nvPr userDrawn="1"/>
        </p:nvSpPr>
        <p:spPr>
          <a:xfrm>
            <a:off x="0" y="5643420"/>
            <a:ext cx="12190026" cy="0"/>
          </a:xfrm>
          <a:custGeom>
            <a:avLst/>
            <a:gdLst/>
            <a:ahLst/>
            <a:cxnLst/>
            <a:rect l="l" t="t" r="r" b="b"/>
            <a:pathLst>
              <a:path w="20104100">
                <a:moveTo>
                  <a:pt x="0" y="0"/>
                </a:moveTo>
                <a:lnTo>
                  <a:pt x="20104099" y="0"/>
                </a:lnTo>
              </a:path>
            </a:pathLst>
          </a:custGeom>
          <a:ln w="28575">
            <a:solidFill>
              <a:schemeClr val="accent1"/>
            </a:solidFill>
          </a:ln>
          <a:effectLst/>
        </p:spPr>
        <p:txBody>
          <a:bodyPr wrap="square" lIns="0" tIns="0" rIns="0" bIns="0" rtlCol="0"/>
          <a:lstStyle/>
          <a:p>
            <a:endParaRPr lang="en-US" sz="662"/>
          </a:p>
        </p:txBody>
      </p:sp>
      <p:sp>
        <p:nvSpPr>
          <p:cNvPr id="15" name="Text Placeholder">
            <a:extLst>
              <a:ext uri="{FF2B5EF4-FFF2-40B4-BE49-F238E27FC236}">
                <a16:creationId xmlns:a16="http://schemas.microsoft.com/office/drawing/2014/main" id="{F69F6118-6DEA-4B0E-A587-241AE19FCEB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black">
          <a:xfrm>
            <a:off x="2677702" y="5805964"/>
            <a:ext cx="1259672" cy="540000"/>
          </a:xfrm>
        </p:spPr>
        <p:txBody>
          <a:bodyPr wrap="square" bIns="0">
            <a:noAutofit/>
          </a:bodyPr>
          <a:lstStyle>
            <a:lvl1pPr>
              <a:spcBef>
                <a:spcPts val="0"/>
              </a:spcBef>
              <a:defRPr sz="8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800" b="0">
                <a:solidFill>
                  <a:schemeClr val="tx1"/>
                </a:solidFill>
              </a:defRPr>
            </a:lvl2pPr>
            <a:lvl3pPr marL="143957" indent="-143957">
              <a:spcBef>
                <a:spcPts val="2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r>
              <a:rPr lang="de-DE"/>
              <a:t>Products </a:t>
            </a:r>
            <a:r>
              <a:rPr lang="de-DE" err="1"/>
              <a:t>and</a:t>
            </a:r>
            <a:r>
              <a:rPr lang="de-DE"/>
              <a:t> Services</a:t>
            </a:r>
            <a:endParaRPr lang="en-US"/>
          </a:p>
          <a:p>
            <a:pPr lvl="1"/>
            <a:r>
              <a:rPr lang="en-US"/>
              <a:t>Body copy</a:t>
            </a:r>
            <a:br>
              <a:rPr lang="en-US"/>
            </a:br>
            <a:endParaRPr lang="en-US"/>
          </a:p>
        </p:txBody>
      </p:sp>
      <p:sp>
        <p:nvSpPr>
          <p:cNvPr id="26" name="Text Placeholder">
            <a:extLst>
              <a:ext uri="{FF2B5EF4-FFF2-40B4-BE49-F238E27FC236}">
                <a16:creationId xmlns:a16="http://schemas.microsoft.com/office/drawing/2014/main" id="{FD85B15F-A587-433C-B85B-CA6C96ECA18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black">
          <a:xfrm>
            <a:off x="6334349" y="5805964"/>
            <a:ext cx="1259672" cy="540000"/>
          </a:xfrm>
        </p:spPr>
        <p:txBody>
          <a:bodyPr wrap="square" bIns="0">
            <a:noAutofit/>
          </a:bodyPr>
          <a:lstStyle>
            <a:lvl1pPr>
              <a:spcBef>
                <a:spcPts val="0"/>
              </a:spcBef>
              <a:defRPr sz="8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800" b="0">
                <a:solidFill>
                  <a:schemeClr val="tx1"/>
                </a:solidFill>
              </a:defRPr>
            </a:lvl2pPr>
            <a:lvl3pPr marL="143957" indent="-143957">
              <a:spcBef>
                <a:spcPts val="2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Featured Solutions</a:t>
            </a:r>
          </a:p>
          <a:p>
            <a:pPr lvl="1"/>
            <a:r>
              <a:rPr lang="en-US"/>
              <a:t>Body copy</a:t>
            </a:r>
            <a:br>
              <a:rPr lang="en-US"/>
            </a:br>
            <a:endParaRPr lang="en-US"/>
          </a:p>
        </p:txBody>
      </p:sp>
      <p:sp>
        <p:nvSpPr>
          <p:cNvPr id="30" name="Text Placeholder">
            <a:extLst>
              <a:ext uri="{FF2B5EF4-FFF2-40B4-BE49-F238E27FC236}">
                <a16:creationId xmlns:a16="http://schemas.microsoft.com/office/drawing/2014/main" id="{28ACD5D5-5874-4D39-BDF3-E36C6AC1353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black">
          <a:xfrm>
            <a:off x="8124297" y="3070417"/>
            <a:ext cx="1619578" cy="430887"/>
          </a:xfrm>
        </p:spPr>
        <p:txBody>
          <a:bodyPr wrap="square" anchor="ctr">
            <a:noAutofit/>
          </a:bodyPr>
          <a:lstStyle>
            <a:lvl1pPr>
              <a:spcBef>
                <a:spcPts val="0"/>
              </a:spcBef>
              <a:defRPr sz="2799" b="1">
                <a:solidFill>
                  <a:schemeClr val="accent3"/>
                </a:solidFill>
              </a:defRPr>
            </a:lvl1pPr>
            <a:lvl2pPr marL="0" indent="0"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800" b="0">
                <a:solidFill>
                  <a:schemeClr val="tx1"/>
                </a:solidFill>
              </a:defRPr>
            </a:lvl2pPr>
            <a:lvl3pPr marL="143957" indent="-143957">
              <a:spcBef>
                <a:spcPts val="2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XX%</a:t>
            </a:r>
            <a:endParaRPr lang="en-US"/>
          </a:p>
        </p:txBody>
      </p:sp>
      <p:sp>
        <p:nvSpPr>
          <p:cNvPr id="31" name="Text Placeholder">
            <a:extLst>
              <a:ext uri="{FF2B5EF4-FFF2-40B4-BE49-F238E27FC236}">
                <a16:creationId xmlns:a16="http://schemas.microsoft.com/office/drawing/2014/main" id="{449460A6-CD04-44D5-AB91-0EC242157A1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black">
          <a:xfrm>
            <a:off x="8124297" y="3558832"/>
            <a:ext cx="1619578" cy="648000"/>
          </a:xfrm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10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</a:defRPr>
            </a:lvl2pPr>
            <a:lvl3pPr marL="143957" indent="-143957">
              <a:spcBef>
                <a:spcPts val="2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z="1000">
                <a:latin typeface="+mn-lt"/>
              </a:rPr>
              <a:t>Data type body here</a:t>
            </a:r>
            <a:endParaRPr lang="en-US"/>
          </a:p>
        </p:txBody>
      </p:sp>
      <p:sp>
        <p:nvSpPr>
          <p:cNvPr id="33" name="Text Placeholder">
            <a:extLst>
              <a:ext uri="{FF2B5EF4-FFF2-40B4-BE49-F238E27FC236}">
                <a16:creationId xmlns:a16="http://schemas.microsoft.com/office/drawing/2014/main" id="{8C413235-F81F-4E76-9BDC-0E428F79F56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black">
          <a:xfrm>
            <a:off x="10075664" y="3070417"/>
            <a:ext cx="1619578" cy="430887"/>
          </a:xfrm>
        </p:spPr>
        <p:txBody>
          <a:bodyPr wrap="square" anchor="ctr">
            <a:noAutofit/>
          </a:bodyPr>
          <a:lstStyle>
            <a:lvl1pPr>
              <a:spcBef>
                <a:spcPts val="0"/>
              </a:spcBef>
              <a:defRPr sz="2799" b="1">
                <a:solidFill>
                  <a:schemeClr val="accent3"/>
                </a:solidFill>
              </a:defRPr>
            </a:lvl1pPr>
            <a:lvl2pPr marL="0" indent="0"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800" b="0">
                <a:solidFill>
                  <a:schemeClr val="tx1"/>
                </a:solidFill>
              </a:defRPr>
            </a:lvl2pPr>
            <a:lvl3pPr marL="143957" indent="-143957">
              <a:spcBef>
                <a:spcPts val="2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XX%</a:t>
            </a:r>
            <a:endParaRPr lang="en-US"/>
          </a:p>
        </p:txBody>
      </p:sp>
      <p:sp>
        <p:nvSpPr>
          <p:cNvPr id="34" name="Text Placeholder">
            <a:extLst>
              <a:ext uri="{FF2B5EF4-FFF2-40B4-BE49-F238E27FC236}">
                <a16:creationId xmlns:a16="http://schemas.microsoft.com/office/drawing/2014/main" id="{57851D8F-5140-4857-BC42-78B5EB47C92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black">
          <a:xfrm>
            <a:off x="10075664" y="3558832"/>
            <a:ext cx="1619578" cy="648000"/>
          </a:xfrm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10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</a:defRPr>
            </a:lvl2pPr>
            <a:lvl3pPr marL="143957" indent="-143957">
              <a:spcBef>
                <a:spcPts val="2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z="1000">
                <a:latin typeface="+mn-lt"/>
              </a:rPr>
              <a:t>Data type body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8195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991">
          <p15:clr>
            <a:srgbClr val="FBAE40"/>
          </p15:clr>
        </p15:guide>
        <p15:guide id="3" pos="4786">
          <p15:clr>
            <a:srgbClr val="FBAE40"/>
          </p15:clr>
        </p15:guide>
        <p15:guide id="4" pos="5119">
          <p15:clr>
            <a:srgbClr val="FBAE40"/>
          </p15:clr>
        </p15:guide>
        <p15:guide id="5" orient="horz" pos="346">
          <p15:clr>
            <a:srgbClr val="FBAE40"/>
          </p15:clr>
        </p15:guide>
        <p15:guide id="6" orient="horz" pos="3339">
          <p15:clr>
            <a:srgbClr val="FBAE40"/>
          </p15:clr>
        </p15:guide>
        <p15:guide id="7" orient="horz" pos="902">
          <p15:clr>
            <a:srgbClr val="FBAE40"/>
          </p15:clr>
        </p15:guide>
        <p15:guide id="8" pos="736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age3_white: SAP solutions/services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SAP Logo">
            <a:extLst>
              <a:ext uri="{FF2B5EF4-FFF2-40B4-BE49-F238E27FC236}">
                <a16:creationId xmlns:a16="http://schemas.microsoft.com/office/drawing/2014/main" id="{5F73758A-9C6B-43BB-B977-A2F3EB8BB7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632674" y="5987573"/>
            <a:ext cx="1963124" cy="355695"/>
          </a:xfrm>
          <a:prstGeom prst="rect">
            <a:avLst/>
          </a:prstGeom>
        </p:spPr>
      </p:pic>
      <p:sp>
        <p:nvSpPr>
          <p:cNvPr id="5" name="Picture Placeholder 1/3 right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8125059" y="0"/>
            <a:ext cx="4066941" cy="6858000"/>
          </a:xfrm>
          <a:solidFill>
            <a:schemeClr val="tx2">
              <a:alpha val="70000"/>
            </a:schemeClr>
          </a:solidFill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503868" y="1884530"/>
            <a:ext cx="7090154" cy="3770445"/>
          </a:xfrm>
        </p:spPr>
        <p:txBody>
          <a:bodyPr>
            <a:noAutofit/>
          </a:bodyPr>
          <a:lstStyle>
            <a:lvl1pPr>
              <a:defRPr sz="14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1400">
                <a:solidFill>
                  <a:schemeClr val="tx1"/>
                </a:solidFill>
              </a:defRPr>
            </a:lvl2pPr>
            <a:lvl3pPr marL="143957" indent="-143957">
              <a:spcBef>
                <a:spcPts val="4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</a:t>
            </a:r>
          </a:p>
          <a:p>
            <a:pPr lvl="2"/>
            <a:r>
              <a:rPr lang="en-US"/>
              <a:t>Bullet copy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3870" y="1151642"/>
            <a:ext cx="7090154" cy="369332"/>
          </a:xfrm>
        </p:spPr>
        <p:txBody>
          <a:bodyPr>
            <a:spAutoFit/>
          </a:bodyPr>
          <a:lstStyle>
            <a:lvl1pPr>
              <a:defRPr sz="2399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eatured Solutions and Services</a:t>
            </a:r>
          </a:p>
        </p:txBody>
      </p:sp>
    </p:spTree>
    <p:extLst>
      <p:ext uri="{BB962C8B-B14F-4D97-AF65-F5344CB8AC3E}">
        <p14:creationId xmlns:p14="http://schemas.microsoft.com/office/powerpoint/2010/main" val="12754875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991">
          <p15:clr>
            <a:srgbClr val="FBAE40"/>
          </p15:clr>
        </p15:guide>
        <p15:guide id="3" pos="4786">
          <p15:clr>
            <a:srgbClr val="FBAE40"/>
          </p15:clr>
        </p15:guide>
        <p15:guide id="4" pos="5119">
          <p15:clr>
            <a:srgbClr val="FBAE40"/>
          </p15:clr>
        </p15:guide>
        <p15:guide id="5" orient="horz" pos="317">
          <p15:clr>
            <a:srgbClr val="FBAE40"/>
          </p15:clr>
        </p15:guide>
        <p15:guide id="7" orient="horz" pos="725">
          <p15:clr>
            <a:srgbClr val="FBAE40"/>
          </p15:clr>
        </p15:guide>
        <p15:guide id="8" orient="horz" pos="1185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in Title / A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3869" y="1439999"/>
            <a:ext cx="11183566" cy="4896000"/>
          </a:xfrm>
        </p:spPr>
        <p:txBody>
          <a:bodyPr>
            <a:normAutofit/>
          </a:bodyPr>
          <a:lstStyle>
            <a:lvl1pPr>
              <a:spcBef>
                <a:spcPts val="1200"/>
              </a:spcBef>
              <a:spcAft>
                <a:spcPts val="1200"/>
              </a:spcAft>
              <a:defRPr sz="1998"/>
            </a:lvl1pPr>
            <a:lvl2pPr>
              <a:spcBef>
                <a:spcPts val="300"/>
              </a:spcBef>
              <a:spcAft>
                <a:spcPts val="600"/>
              </a:spcAft>
              <a:defRPr sz="1998"/>
            </a:lvl2pPr>
            <a:lvl3pPr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defRPr sz="1798"/>
            </a:lvl3pPr>
            <a:lvl4pPr marL="539543" indent="-179848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798"/>
            </a:lvl4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3871" y="504000"/>
            <a:ext cx="11183564" cy="369332"/>
          </a:xfrm>
        </p:spPr>
        <p:txBody>
          <a:bodyPr/>
          <a:lstStyle>
            <a:lvl1pPr>
              <a:defRPr sz="2398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Insert page title (Main Title)</a:t>
            </a:r>
            <a:endParaRPr lang="en-US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39CDC38-EAA2-C64B-974C-B7BE3C574F4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03107" y="874123"/>
            <a:ext cx="11182288" cy="468000"/>
          </a:xfrm>
        </p:spPr>
        <p:txBody>
          <a:bodyPr>
            <a:normAutofit/>
          </a:bodyPr>
          <a:lstStyle>
            <a:lvl1pPr>
              <a:defRPr sz="1600" b="1"/>
            </a:lvl1pPr>
          </a:lstStyle>
          <a:p>
            <a:pPr lvl="0"/>
            <a:r>
              <a:rPr lang="en-US"/>
              <a:t>Insert page title (Main message of the slide) </a:t>
            </a:r>
          </a:p>
        </p:txBody>
      </p:sp>
    </p:spTree>
    <p:extLst>
      <p:ext uri="{BB962C8B-B14F-4D97-AF65-F5344CB8AC3E}">
        <p14:creationId xmlns:p14="http://schemas.microsoft.com/office/powerpoint/2010/main" val="17249697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6">
          <p15:clr>
            <a:srgbClr val="FBAE40"/>
          </p15:clr>
        </p15:guide>
        <p15:guide id="2" orient="horz" pos="3991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318">
          <p15:clr>
            <a:srgbClr val="FBAE40"/>
          </p15:clr>
        </p15:guide>
        <p15:guide id="5" orient="horz" pos="551">
          <p15:clr>
            <a:srgbClr val="FBAE40"/>
          </p15:clr>
        </p15:guide>
        <p15:guide id="6" orient="horz" pos="906">
          <p15:clr>
            <a:srgbClr val="FBAE40"/>
          </p15:clr>
        </p15:guide>
        <p15:guide id="7" orient="horz" pos="864">
          <p15:clr>
            <a:srgbClr val="FBAE40"/>
          </p15:clr>
        </p15:guide>
        <p15:guide id="8" orient="horz" pos="566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genda items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3869" y="1620000"/>
            <a:ext cx="11182288" cy="4716000"/>
          </a:xfrm>
        </p:spPr>
        <p:txBody>
          <a:bodyPr>
            <a:normAutofit/>
          </a:bodyPr>
          <a:lstStyle>
            <a:lvl1pPr marL="0" marR="0" indent="0" algn="l" defTabSz="1088231" rtl="0" eaLnBrk="1" fontAlgn="auto" latinLnBrk="0" hangingPunct="1">
              <a:lnSpc>
                <a:spcPct val="100000"/>
              </a:lnSpc>
              <a:spcBef>
                <a:spcPts val="2999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1999" b="0"/>
            </a:lvl1pPr>
            <a:lvl2pPr marL="179910" marR="0" indent="-179910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§"/>
              <a:tabLst/>
              <a:defRPr sz="1799"/>
            </a:lvl2pPr>
            <a:lvl3pPr marL="359820" marR="0" indent="-179298" algn="l" defTabSz="1088231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itchFamily="34" charset="0"/>
              <a:buChar char="–"/>
              <a:tabLst/>
              <a:defRPr sz="1799" baseline="0"/>
            </a:lvl3pPr>
            <a:lvl4pPr marL="539730" marR="0" indent="-179910" algn="l" defTabSz="1088231" rtl="0" eaLnBrk="1" fontAlgn="auto" latinLnBrk="0" hangingPunct="1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Courier New" pitchFamily="49" charset="0"/>
              <a:buChar char="o"/>
              <a:tabLst/>
              <a:defRPr sz="1600"/>
            </a:lvl4pPr>
            <a:lvl5pPr>
              <a:buClr>
                <a:schemeClr val="accent2"/>
              </a:buClr>
              <a:buFont typeface="Arial" pitchFamily="34" charset="0"/>
              <a:buChar char="–"/>
              <a:defRPr/>
            </a:lvl5pPr>
          </a:lstStyle>
          <a:p>
            <a:pPr lvl="0"/>
            <a:r>
              <a:rPr lang="en-US"/>
              <a:t>Agenda Item/Divider Headlin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3" name="Agenda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944305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1020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316">
          <p15:clr>
            <a:srgbClr val="FBAE40"/>
          </p15:clr>
        </p15:guide>
        <p15:guide id="5" orient="horz" pos="551">
          <p15:clr>
            <a:srgbClr val="FBAE40"/>
          </p15:clr>
        </p15:guide>
        <p15:guide id="6" orient="horz" pos="3992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3869" y="3090446"/>
            <a:ext cx="11182288" cy="677108"/>
          </a:xfrm>
        </p:spPr>
        <p:txBody>
          <a:bodyPr anchor="ctr" anchorCtr="0">
            <a:noAutofit/>
          </a:bodyPr>
          <a:lstStyle>
            <a:lvl1pPr>
              <a:defRPr sz="4399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43625365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7364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vider image placeholder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1" y="3427200"/>
            <a:ext cx="12192000" cy="3430800"/>
          </a:xfrm>
          <a:noFill/>
        </p:spPr>
        <p:txBody>
          <a:bodyPr tIns="324000"/>
          <a:lstStyle>
            <a:lvl1pPr marL="0" marR="0" indent="0" algn="ctr" defTabSz="108823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0" marR="0" lvl="0" indent="0" algn="ctr" defTabSz="108823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/>
              <a:t>Placeholder for image and illustration</a:t>
            </a:r>
          </a:p>
        </p:txBody>
      </p:sp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3869" y="1375046"/>
            <a:ext cx="11182288" cy="677108"/>
          </a:xfrm>
        </p:spPr>
        <p:txBody>
          <a:bodyPr anchor="t" anchorCtr="0">
            <a:noAutofit/>
          </a:bodyPr>
          <a:lstStyle>
            <a:lvl1pPr>
              <a:defRPr sz="4399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45981433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364">
          <p15:clr>
            <a:srgbClr val="FBAE40"/>
          </p15:clr>
        </p15:guide>
        <p15:guide id="3" pos="317">
          <p15:clr>
            <a:srgbClr val="FBAE40"/>
          </p15:clr>
        </p15:guide>
        <p15:guide id="4" orient="horz" pos="865">
          <p15:clr>
            <a:srgbClr val="FBAE40"/>
          </p15:clr>
        </p15:guide>
        <p15:guide id="5" orient="horz" pos="1294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9214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551">
          <p15:clr>
            <a:srgbClr val="FBAE40"/>
          </p15:clr>
        </p15:guide>
        <p15:guide id="5" orient="horz" pos="3992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3868" y="1620000"/>
            <a:ext cx="11183565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3870" y="504000"/>
            <a:ext cx="11183564" cy="369332"/>
          </a:xfrm>
        </p:spPr>
        <p:txBody>
          <a:bodyPr/>
          <a:lstStyle>
            <a:lvl1pPr>
              <a:defRPr b="1"/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80049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6">
          <p15:clr>
            <a:srgbClr val="FBAE40"/>
          </p15:clr>
        </p15:guide>
        <p15:guide id="2" orient="horz" pos="3991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318">
          <p15:clr>
            <a:srgbClr val="FBAE40"/>
          </p15:clr>
        </p15:guide>
        <p15:guide id="5" orient="horz" pos="552">
          <p15:clr>
            <a:srgbClr val="FBAE40"/>
          </p15:clr>
        </p15:guide>
        <p15:guide id="6" orient="horz" pos="102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/>
          <a:lstStyle>
            <a:lvl1pPr>
              <a:defRPr b="1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/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2pPr>
            <a:lvl3pPr marL="450850" indent="0">
              <a:buFont typeface="Wingdings" panose="05000000000000000000" pitchFamily="2" charset="2"/>
              <a:buNone/>
              <a:tabLst/>
              <a:defRPr sz="1600"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3pPr>
            <a:lvl4pPr marL="652462" indent="0">
              <a:buFont typeface="Wingdings" panose="05000000000000000000" pitchFamily="2" charset="2"/>
              <a:buNone/>
              <a:defRPr sz="1400"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4pPr>
            <a:lvl5pPr marL="854075" indent="0">
              <a:buFont typeface="Wingdings" panose="05000000000000000000" pitchFamily="2" charset="2"/>
              <a:buNone/>
              <a:tabLst/>
              <a:defRPr sz="1400"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/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2pPr>
            <a:lvl3pPr marL="450850" indent="0">
              <a:buFont typeface="Wingdings" panose="05000000000000000000" pitchFamily="2" charset="2"/>
              <a:buNone/>
              <a:tabLst/>
              <a:defRPr sz="1600"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3pPr>
            <a:lvl4pPr marL="652462" indent="0">
              <a:buFont typeface="Wingdings" panose="05000000000000000000" pitchFamily="2" charset="2"/>
              <a:buNone/>
              <a:defRPr sz="1400"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4pPr>
            <a:lvl5pPr marL="854075" indent="0">
              <a:buFont typeface="Wingdings" panose="05000000000000000000" pitchFamily="2" charset="2"/>
              <a:buNone/>
              <a:tabLst/>
              <a:defRPr sz="1400"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358984"/>
      </p:ext>
    </p:extLst>
  </p:cSld>
  <p:clrMapOvr>
    <a:masterClrMapping/>
  </p:clrMapOvr>
  <p:transition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- column 2"/>
          <p:cNvSpPr>
            <a:spLocks noGrp="1"/>
          </p:cNvSpPr>
          <p:nvPr>
            <p:ph type="body" sz="quarter" idx="11" hasCustomPrompt="1"/>
          </p:nvPr>
        </p:nvSpPr>
        <p:spPr>
          <a:xfrm>
            <a:off x="6360820" y="1620000"/>
            <a:ext cx="5326613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3869" y="1620000"/>
            <a:ext cx="5326613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3870" y="504000"/>
            <a:ext cx="11183564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13260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991">
          <p15:clr>
            <a:srgbClr val="FBAE40"/>
          </p15:clr>
        </p15:guide>
        <p15:guide id="3" pos="7364">
          <p15:clr>
            <a:srgbClr val="FBAE40"/>
          </p15:clr>
        </p15:guide>
        <p15:guide id="4" pos="3674">
          <p15:clr>
            <a:srgbClr val="FBAE40"/>
          </p15:clr>
        </p15:guide>
        <p15:guide id="5" pos="4007">
          <p15:clr>
            <a:srgbClr val="FBAE40"/>
          </p15:clr>
        </p15:guide>
        <p15:guide id="6" orient="horz" pos="317">
          <p15:clr>
            <a:srgbClr val="FBAE40"/>
          </p15:clr>
        </p15:guide>
        <p15:guide id="7" orient="horz" pos="551">
          <p15:clr>
            <a:srgbClr val="FBAE40"/>
          </p15:clr>
        </p15:guide>
        <p15:guide id="8" orient="horz" pos="1020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- column 3"/>
          <p:cNvSpPr>
            <a:spLocks noGrp="1"/>
          </p:cNvSpPr>
          <p:nvPr>
            <p:ph type="body" sz="quarter" idx="13" hasCustomPrompt="1"/>
          </p:nvPr>
        </p:nvSpPr>
        <p:spPr>
          <a:xfrm>
            <a:off x="8124361" y="1620000"/>
            <a:ext cx="3563072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- column 2"/>
          <p:cNvSpPr>
            <a:spLocks noGrp="1"/>
          </p:cNvSpPr>
          <p:nvPr>
            <p:ph type="body" sz="quarter" idx="12" hasCustomPrompt="1"/>
          </p:nvPr>
        </p:nvSpPr>
        <p:spPr>
          <a:xfrm>
            <a:off x="4314115" y="1620000"/>
            <a:ext cx="3563072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3869" y="1620000"/>
            <a:ext cx="3563072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3870" y="504000"/>
            <a:ext cx="11183564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9075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2563">
          <p15:clr>
            <a:srgbClr val="FBAE40"/>
          </p15:clr>
        </p15:guide>
        <p15:guide id="4" pos="2717">
          <p15:clr>
            <a:srgbClr val="FBAE40"/>
          </p15:clr>
        </p15:guide>
        <p15:guide id="5" pos="4964">
          <p15:clr>
            <a:srgbClr val="FBAE40"/>
          </p15:clr>
        </p15:guide>
        <p15:guide id="6" pos="5119">
          <p15:clr>
            <a:srgbClr val="FBAE40"/>
          </p15:clr>
        </p15:guide>
        <p15:guide id="7" pos="7364">
          <p15:clr>
            <a:srgbClr val="FBAE40"/>
          </p15:clr>
        </p15:guide>
        <p15:guide id="8" orient="horz" pos="551">
          <p15:clr>
            <a:srgbClr val="FBAE40"/>
          </p15:clr>
        </p15:guide>
        <p15:guide id="9" orient="horz" pos="1020">
          <p15:clr>
            <a:srgbClr val="FBAE40"/>
          </p15:clr>
        </p15:guide>
        <p15:guide id="10" orient="horz" pos="3990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360820" y="4770000"/>
            <a:ext cx="5326613" cy="1566000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360820" y="1620000"/>
            <a:ext cx="5326613" cy="2631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3869" y="4770000"/>
            <a:ext cx="5326613" cy="1566000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3869" y="1620000"/>
            <a:ext cx="5326613" cy="2631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3870" y="504000"/>
            <a:ext cx="11183564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71914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orient="horz" pos="551">
          <p15:clr>
            <a:srgbClr val="FBAE40"/>
          </p15:clr>
        </p15:guide>
        <p15:guide id="4" orient="horz" pos="1020">
          <p15:clr>
            <a:srgbClr val="FBAE40"/>
          </p15:clr>
        </p15:guide>
        <p15:guide id="5" orient="horz" pos="2678">
          <p15:clr>
            <a:srgbClr val="FBAE40"/>
          </p15:clr>
        </p15:guide>
        <p15:guide id="6" orient="horz" pos="3004">
          <p15:clr>
            <a:srgbClr val="FBAE40"/>
          </p15:clr>
        </p15:guide>
        <p15:guide id="7" orient="horz" pos="3991">
          <p15:clr>
            <a:srgbClr val="FBAE40"/>
          </p15:clr>
        </p15:guide>
        <p15:guide id="8" pos="3682">
          <p15:clr>
            <a:srgbClr val="FBAE40"/>
          </p15:clr>
        </p15:guide>
        <p15:guide id="9" pos="4000">
          <p15:clr>
            <a:srgbClr val="FBAE40"/>
          </p15:clr>
        </p15:guide>
        <p15:guide id="10" pos="7364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297116" y="4354922"/>
            <a:ext cx="3390317" cy="1981079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297116" y="1620000"/>
            <a:ext cx="3390317" cy="2232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4400493" y="4354922"/>
            <a:ext cx="3390317" cy="1981079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400493" y="1620000"/>
            <a:ext cx="3390317" cy="2232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3869" y="4354922"/>
            <a:ext cx="3390317" cy="1981079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3869" y="1620000"/>
            <a:ext cx="3390317" cy="2232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3870" y="504000"/>
            <a:ext cx="11183564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78260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2455">
          <p15:clr>
            <a:srgbClr val="FBAE40"/>
          </p15:clr>
        </p15:guide>
        <p15:guide id="4" pos="2773">
          <p15:clr>
            <a:srgbClr val="FBAE40"/>
          </p15:clr>
        </p15:guide>
        <p15:guide id="5" pos="4910">
          <p15:clr>
            <a:srgbClr val="FBAE40"/>
          </p15:clr>
        </p15:guide>
        <p15:guide id="6" pos="5227">
          <p15:clr>
            <a:srgbClr val="FBAE40"/>
          </p15:clr>
        </p15:guide>
        <p15:guide id="7" pos="7364">
          <p15:clr>
            <a:srgbClr val="FBAE40"/>
          </p15:clr>
        </p15:guide>
        <p15:guide id="8" orient="horz" pos="551">
          <p15:clr>
            <a:srgbClr val="FBAE40"/>
          </p15:clr>
        </p15:guide>
        <p15:guide id="9" orient="horz" pos="1020">
          <p15:clr>
            <a:srgbClr val="FBAE40"/>
          </p15:clr>
        </p15:guide>
        <p15:guide id="10" orient="horz" pos="2428">
          <p15:clr>
            <a:srgbClr val="FBAE40"/>
          </p15:clr>
        </p15:guide>
        <p15:guide id="11" orient="horz" pos="2743">
          <p15:clr>
            <a:srgbClr val="FBAE40"/>
          </p15:clr>
        </p15:guide>
        <p15:guide id="12" orient="horz" pos="3991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- column 2"/>
          <p:cNvSpPr>
            <a:spLocks noGrp="1"/>
          </p:cNvSpPr>
          <p:nvPr>
            <p:ph type="body" sz="quarter" idx="13" hasCustomPrompt="1"/>
          </p:nvPr>
        </p:nvSpPr>
        <p:spPr>
          <a:xfrm>
            <a:off x="9272462" y="3878221"/>
            <a:ext cx="2414971" cy="2457780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4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9272462" y="1620000"/>
            <a:ext cx="2414971" cy="1728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13" name="Text placeholder - column 2"/>
          <p:cNvSpPr>
            <a:spLocks noGrp="1"/>
          </p:cNvSpPr>
          <p:nvPr>
            <p:ph type="body" sz="quarter" idx="17" hasCustomPrompt="1"/>
          </p:nvPr>
        </p:nvSpPr>
        <p:spPr>
          <a:xfrm>
            <a:off x="6349599" y="3878221"/>
            <a:ext cx="2414971" cy="2457780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349599" y="1620000"/>
            <a:ext cx="2414971" cy="1728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- column 2"/>
          <p:cNvSpPr>
            <a:spLocks noGrp="1"/>
          </p:cNvSpPr>
          <p:nvPr>
            <p:ph type="body" sz="quarter" idx="15" hasCustomPrompt="1"/>
          </p:nvPr>
        </p:nvSpPr>
        <p:spPr>
          <a:xfrm>
            <a:off x="3426734" y="3878221"/>
            <a:ext cx="2414971" cy="2457780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426734" y="1620000"/>
            <a:ext cx="2414971" cy="1728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- column 2"/>
          <p:cNvSpPr>
            <a:spLocks noGrp="1"/>
          </p:cNvSpPr>
          <p:nvPr>
            <p:ph type="body" sz="quarter" idx="10" hasCustomPrompt="1"/>
          </p:nvPr>
        </p:nvSpPr>
        <p:spPr>
          <a:xfrm>
            <a:off x="503869" y="3878220"/>
            <a:ext cx="2414971" cy="2457780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3869" y="1620000"/>
            <a:ext cx="2414971" cy="1728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3870" y="504000"/>
            <a:ext cx="11183564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9462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orient="horz" pos="551">
          <p15:clr>
            <a:srgbClr val="FBAE40"/>
          </p15:clr>
        </p15:guide>
        <p15:guide id="4" orient="horz" pos="1021">
          <p15:clr>
            <a:srgbClr val="FBAE40"/>
          </p15:clr>
        </p15:guide>
        <p15:guide id="5" orient="horz" pos="2110">
          <p15:clr>
            <a:srgbClr val="FBAE40"/>
          </p15:clr>
        </p15:guide>
        <p15:guide id="6" orient="horz" pos="2442">
          <p15:clr>
            <a:srgbClr val="FBAE40"/>
          </p15:clr>
        </p15:guide>
        <p15:guide id="7" orient="horz" pos="3990">
          <p15:clr>
            <a:srgbClr val="FBAE40"/>
          </p15:clr>
        </p15:guide>
        <p15:guide id="8" pos="1840">
          <p15:clr>
            <a:srgbClr val="FBAE40"/>
          </p15:clr>
        </p15:guide>
        <p15:guide id="9" pos="2159">
          <p15:clr>
            <a:srgbClr val="FBAE40"/>
          </p15:clr>
        </p15:guide>
        <p15:guide id="10" pos="3683">
          <p15:clr>
            <a:srgbClr val="FBAE40"/>
          </p15:clr>
        </p15:guide>
        <p15:guide id="11" pos="4000">
          <p15:clr>
            <a:srgbClr val="FBAE40"/>
          </p15:clr>
        </p15:guide>
        <p15:guide id="12" pos="5525">
          <p15:clr>
            <a:srgbClr val="FBAE40"/>
          </p15:clr>
        </p15:guide>
        <p15:guide id="13" pos="5842">
          <p15:clr>
            <a:srgbClr val="FBAE40"/>
          </p15:clr>
        </p15:guide>
        <p15:guide id="14" pos="7364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Quote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3869" y="1800000"/>
            <a:ext cx="11182288" cy="3285032"/>
          </a:xfrm>
        </p:spPr>
        <p:txBody>
          <a:bodyPr/>
          <a:lstStyle>
            <a:lvl1pPr marL="395802" indent="-395802">
              <a:lnSpc>
                <a:spcPct val="90000"/>
              </a:lnSpc>
              <a:spcBef>
                <a:spcPts val="600"/>
              </a:spcBef>
              <a:defRPr sz="5997" b="1"/>
            </a:lvl1pPr>
            <a:lvl2pPr marL="395802" indent="0">
              <a:buNone/>
              <a:defRPr sz="1600"/>
            </a:lvl2pPr>
          </a:lstStyle>
          <a:p>
            <a:pPr lvl="0"/>
            <a:r>
              <a:rPr lang="en-US" noProof="0"/>
              <a:t>“Quote goes here </a:t>
            </a:r>
            <a:br>
              <a:rPr lang="en-US" noProof="0"/>
            </a:br>
            <a:r>
              <a:rPr lang="en-US" noProof="0"/>
              <a:t>and here.”</a:t>
            </a:r>
          </a:p>
          <a:p>
            <a:pPr lvl="1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30168636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4" orient="horz" pos="1133">
          <p15:clr>
            <a:srgbClr val="FBAE40"/>
          </p15:clr>
        </p15:guide>
        <p15:guide id="5" orient="horz" pos="3204">
          <p15:clr>
            <a:srgbClr val="FBAE40"/>
          </p15:clr>
        </p15:guide>
        <p15:guide id="6" pos="7363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with Imag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/3 right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8125059" y="0"/>
            <a:ext cx="4066941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503868" y="1620000"/>
            <a:ext cx="7090154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3870" y="504000"/>
            <a:ext cx="7090154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57246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991">
          <p15:clr>
            <a:srgbClr val="FBAE40"/>
          </p15:clr>
        </p15:guide>
        <p15:guide id="3" pos="4786">
          <p15:clr>
            <a:srgbClr val="FBAE40"/>
          </p15:clr>
        </p15:guide>
        <p15:guide id="4" pos="5119">
          <p15:clr>
            <a:srgbClr val="FBAE40"/>
          </p15:clr>
        </p15:guide>
        <p15:guide id="5" orient="horz" pos="317">
          <p15:clr>
            <a:srgbClr val="FBAE40"/>
          </p15:clr>
        </p15:guide>
        <p15:guide id="6" orient="horz" pos="551">
          <p15:clr>
            <a:srgbClr val="FBAE40"/>
          </p15:clr>
        </p15:guide>
        <p15:guide id="7" orient="horz" pos="1020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0"/>
            <a:ext cx="12192000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00359973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creensh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360820" y="1620000"/>
            <a:ext cx="5326613" cy="4716000"/>
          </a:xfrm>
          <a:noFill/>
        </p:spPr>
        <p:txBody>
          <a:bodyPr vert="horz" lIns="0" tIns="1512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screenshot</a:t>
            </a:r>
            <a:endParaRPr lang="de-DE"/>
          </a:p>
        </p:txBody>
      </p:sp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3869" y="1620000"/>
            <a:ext cx="5326613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3870" y="504000"/>
            <a:ext cx="11183564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45386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1020">
          <p15:clr>
            <a:srgbClr val="FBAE40"/>
          </p15:clr>
        </p15:guide>
        <p15:guide id="3" pos="3674">
          <p15:clr>
            <a:srgbClr val="FBAE40"/>
          </p15:clr>
        </p15:guide>
        <p15:guide id="4" pos="4008">
          <p15:clr>
            <a:srgbClr val="FBAE40"/>
          </p15:clr>
        </p15:guide>
        <p15:guide id="5" pos="7364">
          <p15:clr>
            <a:srgbClr val="FBAE40"/>
          </p15:clr>
        </p15:guide>
        <p15:guide id="6" orient="horz" pos="317">
          <p15:clr>
            <a:srgbClr val="FBAE40"/>
          </p15:clr>
        </p15:guide>
        <p15:guide id="7" orient="horz" pos="551">
          <p15:clr>
            <a:srgbClr val="FBAE40"/>
          </p15:clr>
        </p15:guide>
        <p15:guide id="8" orient="horz" pos="3991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"/>
          <p:cNvSpPr>
            <a:spLocks noGrp="1"/>
          </p:cNvSpPr>
          <p:nvPr>
            <p:ph idx="1" hasCustomPrompt="1"/>
          </p:nvPr>
        </p:nvSpPr>
        <p:spPr bwMode="gray">
          <a:xfrm>
            <a:off x="503869" y="1620000"/>
            <a:ext cx="11182288" cy="4716000"/>
          </a:xfrm>
          <a:noFill/>
        </p:spPr>
        <p:txBody>
          <a:bodyPr tIns="1368000"/>
          <a:lstStyle>
            <a:lvl1pPr algn="ctr">
              <a:defRPr sz="1400" b="0"/>
            </a:lvl1pPr>
          </a:lstStyle>
          <a:p>
            <a:pPr lvl="0"/>
            <a:r>
              <a:rPr lang="en-US"/>
              <a:t>Click to add content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42680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orient="horz" pos="551">
          <p15:clr>
            <a:srgbClr val="FBAE40"/>
          </p15:clr>
        </p15:guide>
        <p15:guide id="4" orient="horz" pos="1020">
          <p15:clr>
            <a:srgbClr val="FBAE40"/>
          </p15:clr>
        </p15:guide>
        <p15:guide id="5" orient="horz" pos="3991">
          <p15:clr>
            <a:srgbClr val="FBAE40"/>
          </p15:clr>
        </p15:guide>
        <p15:guide id="6" pos="7364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3557025"/>
      </p:ext>
    </p:extLst>
  </p:cSld>
  <p:clrMapOvr>
    <a:masterClrMapping/>
  </p:clrMapOvr>
  <p:transition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66611169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, Contact and Copy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Acquired Company Logo Placeholder">
            <a:extLst>
              <a:ext uri="{FF2B5EF4-FFF2-40B4-BE49-F238E27FC236}">
                <a16:creationId xmlns:a16="http://schemas.microsoft.com/office/drawing/2014/main" id="{98F08F96-B8AA-3543-9FDD-33B12571934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03869" y="522453"/>
            <a:ext cx="4115315" cy="252000"/>
          </a:xfrm>
        </p:spPr>
        <p:txBody>
          <a:bodyPr anchor="ctr" anchorCtr="0">
            <a:normAutofit/>
          </a:bodyPr>
          <a:lstStyle>
            <a:lvl1pPr>
              <a:defRPr sz="1400"/>
            </a:lvl1pPr>
          </a:lstStyle>
          <a:p>
            <a:r>
              <a:rPr lang="en-US"/>
              <a:t>Add sub brand logo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33C5639-DDA2-864A-9DC3-7FC80AC852D5}"/>
              </a:ext>
            </a:extLst>
          </p:cNvPr>
          <p:cNvSpPr txBox="1"/>
          <p:nvPr userDrawn="1"/>
        </p:nvSpPr>
        <p:spPr>
          <a:xfrm>
            <a:off x="503107" y="2905126"/>
            <a:ext cx="1836563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449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lang="en-US" sz="1600" b="0" i="0">
                <a:latin typeface="Arial" panose="020B0604020202020204" pitchFamily="34" charset="0"/>
              </a:rPr>
              <a:t>Contact information:</a:t>
            </a:r>
          </a:p>
        </p:txBody>
      </p:sp>
      <p:sp>
        <p:nvSpPr>
          <p:cNvPr id="7" name="SAP Logo Placeholder">
            <a:extLst>
              <a:ext uri="{FF2B5EF4-FFF2-40B4-BE49-F238E27FC236}">
                <a16:creationId xmlns:a16="http://schemas.microsoft.com/office/drawing/2014/main" id="{C30FAC47-518B-493F-9AA1-E4DF202B07F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507285" y="5797296"/>
            <a:ext cx="1963226" cy="360362"/>
          </a:xfrm>
        </p:spPr>
        <p:txBody>
          <a:bodyPr anchor="ctr" anchorCtr="0"/>
          <a:lstStyle>
            <a:lvl1pPr>
              <a:defRPr sz="1400"/>
            </a:lvl1pPr>
          </a:lstStyle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692DE12-4084-77D2-FD2A-8E63F6FBE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107" y="1466850"/>
            <a:ext cx="5412068" cy="846386"/>
          </a:xfrm>
        </p:spPr>
        <p:txBody>
          <a:bodyPr/>
          <a:lstStyle>
            <a:lvl1pPr>
              <a:defRPr sz="5498"/>
            </a:lvl1pPr>
          </a:lstStyle>
          <a:p>
            <a:r>
              <a:rPr lang="en-GB"/>
              <a:t>Thank you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4895595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7364">
          <p15:clr>
            <a:srgbClr val="FBAE40"/>
          </p15:clr>
        </p15:guide>
        <p15:guide id="2" orient="horz" pos="924">
          <p15:clr>
            <a:srgbClr val="FBAE40"/>
          </p15:clr>
        </p15:guide>
        <p15:guide id="4" orient="horz" pos="1830">
          <p15:clr>
            <a:srgbClr val="FBAE40"/>
          </p15:clr>
        </p15:guide>
        <p15:guide id="5" orient="horz" pos="4000">
          <p15:clr>
            <a:srgbClr val="FBAE40"/>
          </p15:clr>
        </p15:guide>
        <p15:guide id="6" pos="317">
          <p15:clr>
            <a:srgbClr val="FBAE40"/>
          </p15:clr>
        </p15:guide>
        <p15:guide id="8" pos="3841">
          <p15:clr>
            <a:srgbClr val="FBAE40"/>
          </p15:clr>
        </p15:guide>
        <p15:guide id="9" orient="horz" pos="318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 with Image or Illustra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18660768" name="SAP Logo Placeholder" descr="{&quot;templafy&quot;:{&quot;id&quot;:&quot;2616b123-1a4b-47f4-b2dd-93006fc1cff2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90117" y="6053328"/>
            <a:ext cx="2207861" cy="532020"/>
          </a:xfrm>
          <a:prstGeom prst="rect">
            <a:avLst/>
          </a:prstGeom>
        </p:spPr>
      </p:pic>
      <p:sp>
        <p:nvSpPr>
          <p:cNvPr id="12" name="Partner Logo Placeholder">
            <a:extLst>
              <a:ext uri="{FF2B5EF4-FFF2-40B4-BE49-F238E27FC236}">
                <a16:creationId xmlns:a16="http://schemas.microsoft.com/office/drawing/2014/main" id="{37451236-BF8E-934B-B7DE-1ADB8A004F3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82501" y="6161088"/>
            <a:ext cx="953840" cy="417512"/>
          </a:xfrm>
        </p:spPr>
        <p:txBody>
          <a:bodyPr anchor="ctr" anchorCtr="0">
            <a:noAutofit/>
          </a:bodyPr>
          <a:lstStyle>
            <a:lvl1pPr algn="ctr">
              <a:spcBef>
                <a:spcPts val="0"/>
              </a:spcBef>
              <a:defRPr sz="900"/>
            </a:lvl1pPr>
          </a:lstStyle>
          <a:p>
            <a:r>
              <a:rPr lang="en-US"/>
              <a:t>Add partner </a:t>
            </a:r>
            <a:br>
              <a:rPr lang="en-US"/>
            </a:br>
            <a:r>
              <a:rPr lang="en-US"/>
              <a:t>logo and alt text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287925" y="4024430"/>
            <a:ext cx="10896336" cy="997196"/>
          </a:xfrm>
        </p:spPr>
        <p:txBody>
          <a:bodyPr vert="horz" wrap="square" lIns="0" tIns="0" rIns="0" bIns="0" rtlCol="0">
            <a:noAutofit/>
          </a:bodyPr>
          <a:lstStyle>
            <a:lvl1pPr>
              <a:lnSpc>
                <a:spcPct val="90000"/>
              </a:lnSpc>
              <a:defRPr lang="de-DE" sz="3599" dirty="0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FA78832-C268-4EC5-BB82-7F9D7F5B51B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-1"/>
            <a:ext cx="12192000" cy="3430800"/>
          </a:xfrm>
        </p:spPr>
        <p:txBody>
          <a:bodyPr/>
          <a:lstStyle/>
          <a:p>
            <a:endParaRPr lang="en-GB"/>
          </a:p>
        </p:txBody>
      </p:sp>
      <p:sp>
        <p:nvSpPr>
          <p:cNvPr id="10" name="TextBox 9" descr="{&quot;templafy&quot;:{&quot;id&quot;:&quot;cedc5616-ddd8-415c-a5de-5e34e6964bf6&quot;}}">
            <a:extLst>
              <a:ext uri="{FF2B5EF4-FFF2-40B4-BE49-F238E27FC236}">
                <a16:creationId xmlns:a16="http://schemas.microsoft.com/office/drawing/2014/main" id="{798F9B08-2B9F-444B-8020-ACD960A0FAE7}"/>
              </a:ext>
            </a:extLst>
          </p:cNvPr>
          <p:cNvSpPr txBox="1"/>
          <p:nvPr userDrawn="1"/>
        </p:nvSpPr>
        <p:spPr>
          <a:xfrm>
            <a:off x="282501" y="5725533"/>
            <a:ext cx="4984814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kern="0">
                <a:ea typeface="Arial Unicode MS" pitchFamily="34" charset="-128"/>
                <a:cs typeface="Arial Unicode MS" pitchFamily="34" charset="-128"/>
              </a:rPr>
              <a:t>Public</a:t>
            </a:r>
          </a:p>
        </p:txBody>
      </p:sp>
      <p:pic>
        <p:nvPicPr>
          <p:cNvPr id="442730409" name="Acquired Company Logo Placeholder" descr="{&quot;templafy&quot;:{&quot;id&quot;:&quot;12fb3ad3-3bff-434b-8681-40d7019e3fdf&quot;}}" hidden="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2501" y="3590141"/>
            <a:ext cx="4124850" cy="2660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8513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505">
          <p15:clr>
            <a:srgbClr val="FBAE40"/>
          </p15:clr>
        </p15:guide>
        <p15:guide id="2" orient="horz" pos="4144">
          <p15:clr>
            <a:srgbClr val="FBAE40"/>
          </p15:clr>
        </p15:guide>
        <p15:guide id="3" orient="horz" pos="2162">
          <p15:clr>
            <a:srgbClr val="FBAE40"/>
          </p15:clr>
        </p15:guide>
        <p15:guide id="4" pos="181">
          <p15:clr>
            <a:srgbClr val="FBAE40"/>
          </p15:clr>
        </p15:guide>
        <p15:guide id="5" orient="horz" pos="2534">
          <p15:clr>
            <a:srgbClr val="FBAE40"/>
          </p15:clr>
        </p15:guide>
        <p15:guide id="6" orient="horz" pos="3164">
          <p15:clr>
            <a:srgbClr val="FBAE40"/>
          </p15:clr>
        </p15:guide>
        <p15:guide id="7" orient="horz" pos="3232">
          <p15:clr>
            <a:srgbClr val="FBAE40"/>
          </p15:clr>
        </p15:guide>
        <p15:guide id="8" orient="horz" pos="3504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18" Type="http://schemas.openxmlformats.org/officeDocument/2006/relationships/slideLayout" Target="../slideLayouts/slideLayout44.xml"/><Relationship Id="rId3" Type="http://schemas.openxmlformats.org/officeDocument/2006/relationships/slideLayout" Target="../slideLayouts/slideLayout29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slideLayout" Target="../slideLayouts/slideLayout43.xml"/><Relationship Id="rId2" Type="http://schemas.openxmlformats.org/officeDocument/2006/relationships/slideLayout" Target="../slideLayouts/slideLayout28.xml"/><Relationship Id="rId16" Type="http://schemas.openxmlformats.org/officeDocument/2006/relationships/slideLayout" Target="../slideLayouts/slideLayout42.xml"/><Relationship Id="rId20" Type="http://schemas.openxmlformats.org/officeDocument/2006/relationships/slideLayout" Target="../slideLayouts/slideLayout46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24" Type="http://schemas.openxmlformats.org/officeDocument/2006/relationships/image" Target="../media/image12.emf"/><Relationship Id="rId5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41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36.xml"/><Relationship Id="rId19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Relationship Id="rId22" Type="http://schemas.openxmlformats.org/officeDocument/2006/relationships/tags" Target="../tags/tag1.xml"/></Relationships>
</file>

<file path=ppt/slideMasters/_rels/slideMaster3.xml.rels><?xml version="1.0" encoding="UTF-8" standalone="yes"?>
<Relationships xmlns="http://schemas.openxmlformats.org/package/2006/relationships"><Relationship Id="rId117" Type="http://schemas.openxmlformats.org/officeDocument/2006/relationships/tags" Target="../tags/tag89.xml"/><Relationship Id="rId21" Type="http://schemas.openxmlformats.org/officeDocument/2006/relationships/slideLayout" Target="../slideLayouts/slideLayout67.xml"/><Relationship Id="rId42" Type="http://schemas.openxmlformats.org/officeDocument/2006/relationships/tags" Target="../tags/tag14.xml"/><Relationship Id="rId63" Type="http://schemas.openxmlformats.org/officeDocument/2006/relationships/tags" Target="../tags/tag35.xml"/><Relationship Id="rId84" Type="http://schemas.openxmlformats.org/officeDocument/2006/relationships/tags" Target="../tags/tag56.xml"/><Relationship Id="rId138" Type="http://schemas.openxmlformats.org/officeDocument/2006/relationships/tags" Target="../tags/tag110.xml"/><Relationship Id="rId107" Type="http://schemas.openxmlformats.org/officeDocument/2006/relationships/tags" Target="../tags/tag79.xml"/><Relationship Id="rId11" Type="http://schemas.openxmlformats.org/officeDocument/2006/relationships/slideLayout" Target="../slideLayouts/slideLayout57.xml"/><Relationship Id="rId32" Type="http://schemas.openxmlformats.org/officeDocument/2006/relationships/tags" Target="../tags/tag4.xml"/><Relationship Id="rId53" Type="http://schemas.openxmlformats.org/officeDocument/2006/relationships/tags" Target="../tags/tag25.xml"/><Relationship Id="rId74" Type="http://schemas.openxmlformats.org/officeDocument/2006/relationships/tags" Target="../tags/tag46.xml"/><Relationship Id="rId128" Type="http://schemas.openxmlformats.org/officeDocument/2006/relationships/tags" Target="../tags/tag100.xml"/><Relationship Id="rId149" Type="http://schemas.openxmlformats.org/officeDocument/2006/relationships/tags" Target="../tags/tag121.xml"/><Relationship Id="rId5" Type="http://schemas.openxmlformats.org/officeDocument/2006/relationships/slideLayout" Target="../slideLayouts/slideLayout51.xml"/><Relationship Id="rId95" Type="http://schemas.openxmlformats.org/officeDocument/2006/relationships/tags" Target="../tags/tag67.xml"/><Relationship Id="rId22" Type="http://schemas.openxmlformats.org/officeDocument/2006/relationships/slideLayout" Target="../slideLayouts/slideLayout68.xml"/><Relationship Id="rId27" Type="http://schemas.openxmlformats.org/officeDocument/2006/relationships/slideLayout" Target="../slideLayouts/slideLayout73.xml"/><Relationship Id="rId43" Type="http://schemas.openxmlformats.org/officeDocument/2006/relationships/tags" Target="../tags/tag15.xml"/><Relationship Id="rId48" Type="http://schemas.openxmlformats.org/officeDocument/2006/relationships/tags" Target="../tags/tag20.xml"/><Relationship Id="rId64" Type="http://schemas.openxmlformats.org/officeDocument/2006/relationships/tags" Target="../tags/tag36.xml"/><Relationship Id="rId69" Type="http://schemas.openxmlformats.org/officeDocument/2006/relationships/tags" Target="../tags/tag41.xml"/><Relationship Id="rId113" Type="http://schemas.openxmlformats.org/officeDocument/2006/relationships/tags" Target="../tags/tag85.xml"/><Relationship Id="rId118" Type="http://schemas.openxmlformats.org/officeDocument/2006/relationships/tags" Target="../tags/tag90.xml"/><Relationship Id="rId134" Type="http://schemas.openxmlformats.org/officeDocument/2006/relationships/tags" Target="../tags/tag106.xml"/><Relationship Id="rId139" Type="http://schemas.openxmlformats.org/officeDocument/2006/relationships/tags" Target="../tags/tag111.xml"/><Relationship Id="rId80" Type="http://schemas.openxmlformats.org/officeDocument/2006/relationships/tags" Target="../tags/tag52.xml"/><Relationship Id="rId85" Type="http://schemas.openxmlformats.org/officeDocument/2006/relationships/tags" Target="../tags/tag57.xml"/><Relationship Id="rId150" Type="http://schemas.openxmlformats.org/officeDocument/2006/relationships/tags" Target="../tags/tag122.xml"/><Relationship Id="rId155" Type="http://schemas.openxmlformats.org/officeDocument/2006/relationships/image" Target="../media/image16.emf"/><Relationship Id="rId12" Type="http://schemas.openxmlformats.org/officeDocument/2006/relationships/slideLayout" Target="../slideLayouts/slideLayout58.xml"/><Relationship Id="rId17" Type="http://schemas.openxmlformats.org/officeDocument/2006/relationships/slideLayout" Target="../slideLayouts/slideLayout63.xml"/><Relationship Id="rId33" Type="http://schemas.openxmlformats.org/officeDocument/2006/relationships/tags" Target="../tags/tag5.xml"/><Relationship Id="rId38" Type="http://schemas.openxmlformats.org/officeDocument/2006/relationships/tags" Target="../tags/tag10.xml"/><Relationship Id="rId59" Type="http://schemas.openxmlformats.org/officeDocument/2006/relationships/tags" Target="../tags/tag31.xml"/><Relationship Id="rId103" Type="http://schemas.openxmlformats.org/officeDocument/2006/relationships/tags" Target="../tags/tag75.xml"/><Relationship Id="rId108" Type="http://schemas.openxmlformats.org/officeDocument/2006/relationships/tags" Target="../tags/tag80.xml"/><Relationship Id="rId124" Type="http://schemas.openxmlformats.org/officeDocument/2006/relationships/tags" Target="../tags/tag96.xml"/><Relationship Id="rId129" Type="http://schemas.openxmlformats.org/officeDocument/2006/relationships/tags" Target="../tags/tag101.xml"/><Relationship Id="rId54" Type="http://schemas.openxmlformats.org/officeDocument/2006/relationships/tags" Target="../tags/tag26.xml"/><Relationship Id="rId70" Type="http://schemas.openxmlformats.org/officeDocument/2006/relationships/tags" Target="../tags/tag42.xml"/><Relationship Id="rId75" Type="http://schemas.openxmlformats.org/officeDocument/2006/relationships/tags" Target="../tags/tag47.xml"/><Relationship Id="rId91" Type="http://schemas.openxmlformats.org/officeDocument/2006/relationships/tags" Target="../tags/tag63.xml"/><Relationship Id="rId96" Type="http://schemas.openxmlformats.org/officeDocument/2006/relationships/tags" Target="../tags/tag68.xml"/><Relationship Id="rId140" Type="http://schemas.openxmlformats.org/officeDocument/2006/relationships/tags" Target="../tags/tag112.xml"/><Relationship Id="rId145" Type="http://schemas.openxmlformats.org/officeDocument/2006/relationships/tags" Target="../tags/tag117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23" Type="http://schemas.openxmlformats.org/officeDocument/2006/relationships/slideLayout" Target="../slideLayouts/slideLayout69.xml"/><Relationship Id="rId28" Type="http://schemas.openxmlformats.org/officeDocument/2006/relationships/slideLayout" Target="../slideLayouts/slideLayout74.xml"/><Relationship Id="rId49" Type="http://schemas.openxmlformats.org/officeDocument/2006/relationships/tags" Target="../tags/tag21.xml"/><Relationship Id="rId114" Type="http://schemas.openxmlformats.org/officeDocument/2006/relationships/tags" Target="../tags/tag86.xml"/><Relationship Id="rId119" Type="http://schemas.openxmlformats.org/officeDocument/2006/relationships/tags" Target="../tags/tag91.xml"/><Relationship Id="rId44" Type="http://schemas.openxmlformats.org/officeDocument/2006/relationships/tags" Target="../tags/tag16.xml"/><Relationship Id="rId60" Type="http://schemas.openxmlformats.org/officeDocument/2006/relationships/tags" Target="../tags/tag32.xml"/><Relationship Id="rId65" Type="http://schemas.openxmlformats.org/officeDocument/2006/relationships/tags" Target="../tags/tag37.xml"/><Relationship Id="rId81" Type="http://schemas.openxmlformats.org/officeDocument/2006/relationships/tags" Target="../tags/tag53.xml"/><Relationship Id="rId86" Type="http://schemas.openxmlformats.org/officeDocument/2006/relationships/tags" Target="../tags/tag58.xml"/><Relationship Id="rId130" Type="http://schemas.openxmlformats.org/officeDocument/2006/relationships/tags" Target="../tags/tag102.xml"/><Relationship Id="rId135" Type="http://schemas.openxmlformats.org/officeDocument/2006/relationships/tags" Target="../tags/tag107.xml"/><Relationship Id="rId151" Type="http://schemas.openxmlformats.org/officeDocument/2006/relationships/tags" Target="../tags/tag123.xml"/><Relationship Id="rId13" Type="http://schemas.openxmlformats.org/officeDocument/2006/relationships/slideLayout" Target="../slideLayouts/slideLayout59.xml"/><Relationship Id="rId18" Type="http://schemas.openxmlformats.org/officeDocument/2006/relationships/slideLayout" Target="../slideLayouts/slideLayout64.xml"/><Relationship Id="rId39" Type="http://schemas.openxmlformats.org/officeDocument/2006/relationships/tags" Target="../tags/tag11.xml"/><Relationship Id="rId109" Type="http://schemas.openxmlformats.org/officeDocument/2006/relationships/tags" Target="../tags/tag81.xml"/><Relationship Id="rId34" Type="http://schemas.openxmlformats.org/officeDocument/2006/relationships/tags" Target="../tags/tag6.xml"/><Relationship Id="rId50" Type="http://schemas.openxmlformats.org/officeDocument/2006/relationships/tags" Target="../tags/tag22.xml"/><Relationship Id="rId55" Type="http://schemas.openxmlformats.org/officeDocument/2006/relationships/tags" Target="../tags/tag27.xml"/><Relationship Id="rId76" Type="http://schemas.openxmlformats.org/officeDocument/2006/relationships/tags" Target="../tags/tag48.xml"/><Relationship Id="rId97" Type="http://schemas.openxmlformats.org/officeDocument/2006/relationships/tags" Target="../tags/tag69.xml"/><Relationship Id="rId104" Type="http://schemas.openxmlformats.org/officeDocument/2006/relationships/tags" Target="../tags/tag76.xml"/><Relationship Id="rId120" Type="http://schemas.openxmlformats.org/officeDocument/2006/relationships/tags" Target="../tags/tag92.xml"/><Relationship Id="rId125" Type="http://schemas.openxmlformats.org/officeDocument/2006/relationships/tags" Target="../tags/tag97.xml"/><Relationship Id="rId141" Type="http://schemas.openxmlformats.org/officeDocument/2006/relationships/tags" Target="../tags/tag113.xml"/><Relationship Id="rId146" Type="http://schemas.openxmlformats.org/officeDocument/2006/relationships/tags" Target="../tags/tag118.xml"/><Relationship Id="rId7" Type="http://schemas.openxmlformats.org/officeDocument/2006/relationships/slideLayout" Target="../slideLayouts/slideLayout53.xml"/><Relationship Id="rId71" Type="http://schemas.openxmlformats.org/officeDocument/2006/relationships/tags" Target="../tags/tag43.xml"/><Relationship Id="rId92" Type="http://schemas.openxmlformats.org/officeDocument/2006/relationships/tags" Target="../tags/tag64.xml"/><Relationship Id="rId2" Type="http://schemas.openxmlformats.org/officeDocument/2006/relationships/slideLayout" Target="../slideLayouts/slideLayout48.xml"/><Relationship Id="rId29" Type="http://schemas.openxmlformats.org/officeDocument/2006/relationships/theme" Target="../theme/theme3.xml"/><Relationship Id="rId24" Type="http://schemas.openxmlformats.org/officeDocument/2006/relationships/slideLayout" Target="../slideLayouts/slideLayout70.xml"/><Relationship Id="rId40" Type="http://schemas.openxmlformats.org/officeDocument/2006/relationships/tags" Target="../tags/tag12.xml"/><Relationship Id="rId45" Type="http://schemas.openxmlformats.org/officeDocument/2006/relationships/tags" Target="../tags/tag17.xml"/><Relationship Id="rId66" Type="http://schemas.openxmlformats.org/officeDocument/2006/relationships/tags" Target="../tags/tag38.xml"/><Relationship Id="rId87" Type="http://schemas.openxmlformats.org/officeDocument/2006/relationships/tags" Target="../tags/tag59.xml"/><Relationship Id="rId110" Type="http://schemas.openxmlformats.org/officeDocument/2006/relationships/tags" Target="../tags/tag82.xml"/><Relationship Id="rId115" Type="http://schemas.openxmlformats.org/officeDocument/2006/relationships/tags" Target="../tags/tag87.xml"/><Relationship Id="rId131" Type="http://schemas.openxmlformats.org/officeDocument/2006/relationships/tags" Target="../tags/tag103.xml"/><Relationship Id="rId136" Type="http://schemas.openxmlformats.org/officeDocument/2006/relationships/tags" Target="../tags/tag108.xml"/><Relationship Id="rId61" Type="http://schemas.openxmlformats.org/officeDocument/2006/relationships/tags" Target="../tags/tag33.xml"/><Relationship Id="rId82" Type="http://schemas.openxmlformats.org/officeDocument/2006/relationships/tags" Target="../tags/tag54.xml"/><Relationship Id="rId152" Type="http://schemas.openxmlformats.org/officeDocument/2006/relationships/tags" Target="../tags/tag124.xml"/><Relationship Id="rId19" Type="http://schemas.openxmlformats.org/officeDocument/2006/relationships/slideLayout" Target="../slideLayouts/slideLayout65.xml"/><Relationship Id="rId14" Type="http://schemas.openxmlformats.org/officeDocument/2006/relationships/slideLayout" Target="../slideLayouts/slideLayout60.xml"/><Relationship Id="rId30" Type="http://schemas.openxmlformats.org/officeDocument/2006/relationships/tags" Target="../tags/tag2.xml"/><Relationship Id="rId35" Type="http://schemas.openxmlformats.org/officeDocument/2006/relationships/tags" Target="../tags/tag7.xml"/><Relationship Id="rId56" Type="http://schemas.openxmlformats.org/officeDocument/2006/relationships/tags" Target="../tags/tag28.xml"/><Relationship Id="rId77" Type="http://schemas.openxmlformats.org/officeDocument/2006/relationships/tags" Target="../tags/tag49.xml"/><Relationship Id="rId100" Type="http://schemas.openxmlformats.org/officeDocument/2006/relationships/tags" Target="../tags/tag72.xml"/><Relationship Id="rId105" Type="http://schemas.openxmlformats.org/officeDocument/2006/relationships/tags" Target="../tags/tag77.xml"/><Relationship Id="rId126" Type="http://schemas.openxmlformats.org/officeDocument/2006/relationships/tags" Target="../tags/tag98.xml"/><Relationship Id="rId147" Type="http://schemas.openxmlformats.org/officeDocument/2006/relationships/tags" Target="../tags/tag119.xml"/><Relationship Id="rId8" Type="http://schemas.openxmlformats.org/officeDocument/2006/relationships/slideLayout" Target="../slideLayouts/slideLayout54.xml"/><Relationship Id="rId51" Type="http://schemas.openxmlformats.org/officeDocument/2006/relationships/tags" Target="../tags/tag23.xml"/><Relationship Id="rId72" Type="http://schemas.openxmlformats.org/officeDocument/2006/relationships/tags" Target="../tags/tag44.xml"/><Relationship Id="rId93" Type="http://schemas.openxmlformats.org/officeDocument/2006/relationships/tags" Target="../tags/tag65.xml"/><Relationship Id="rId98" Type="http://schemas.openxmlformats.org/officeDocument/2006/relationships/tags" Target="../tags/tag70.xml"/><Relationship Id="rId121" Type="http://schemas.openxmlformats.org/officeDocument/2006/relationships/tags" Target="../tags/tag93.xml"/><Relationship Id="rId142" Type="http://schemas.openxmlformats.org/officeDocument/2006/relationships/tags" Target="../tags/tag114.xml"/><Relationship Id="rId3" Type="http://schemas.openxmlformats.org/officeDocument/2006/relationships/slideLayout" Target="../slideLayouts/slideLayout49.xml"/><Relationship Id="rId25" Type="http://schemas.openxmlformats.org/officeDocument/2006/relationships/slideLayout" Target="../slideLayouts/slideLayout71.xml"/><Relationship Id="rId46" Type="http://schemas.openxmlformats.org/officeDocument/2006/relationships/tags" Target="../tags/tag18.xml"/><Relationship Id="rId67" Type="http://schemas.openxmlformats.org/officeDocument/2006/relationships/tags" Target="../tags/tag39.xml"/><Relationship Id="rId116" Type="http://schemas.openxmlformats.org/officeDocument/2006/relationships/tags" Target="../tags/tag88.xml"/><Relationship Id="rId137" Type="http://schemas.openxmlformats.org/officeDocument/2006/relationships/tags" Target="../tags/tag109.xml"/><Relationship Id="rId20" Type="http://schemas.openxmlformats.org/officeDocument/2006/relationships/slideLayout" Target="../slideLayouts/slideLayout66.xml"/><Relationship Id="rId41" Type="http://schemas.openxmlformats.org/officeDocument/2006/relationships/tags" Target="../tags/tag13.xml"/><Relationship Id="rId62" Type="http://schemas.openxmlformats.org/officeDocument/2006/relationships/tags" Target="../tags/tag34.xml"/><Relationship Id="rId83" Type="http://schemas.openxmlformats.org/officeDocument/2006/relationships/tags" Target="../tags/tag55.xml"/><Relationship Id="rId88" Type="http://schemas.openxmlformats.org/officeDocument/2006/relationships/tags" Target="../tags/tag60.xml"/><Relationship Id="rId111" Type="http://schemas.openxmlformats.org/officeDocument/2006/relationships/tags" Target="../tags/tag83.xml"/><Relationship Id="rId132" Type="http://schemas.openxmlformats.org/officeDocument/2006/relationships/tags" Target="../tags/tag104.xml"/><Relationship Id="rId153" Type="http://schemas.openxmlformats.org/officeDocument/2006/relationships/tags" Target="../tags/tag125.xml"/><Relationship Id="rId15" Type="http://schemas.openxmlformats.org/officeDocument/2006/relationships/slideLayout" Target="../slideLayouts/slideLayout61.xml"/><Relationship Id="rId36" Type="http://schemas.openxmlformats.org/officeDocument/2006/relationships/tags" Target="../tags/tag8.xml"/><Relationship Id="rId57" Type="http://schemas.openxmlformats.org/officeDocument/2006/relationships/tags" Target="../tags/tag29.xml"/><Relationship Id="rId106" Type="http://schemas.openxmlformats.org/officeDocument/2006/relationships/tags" Target="../tags/tag78.xml"/><Relationship Id="rId127" Type="http://schemas.openxmlformats.org/officeDocument/2006/relationships/tags" Target="../tags/tag99.xml"/><Relationship Id="rId10" Type="http://schemas.openxmlformats.org/officeDocument/2006/relationships/slideLayout" Target="../slideLayouts/slideLayout56.xml"/><Relationship Id="rId31" Type="http://schemas.openxmlformats.org/officeDocument/2006/relationships/tags" Target="../tags/tag3.xml"/><Relationship Id="rId52" Type="http://schemas.openxmlformats.org/officeDocument/2006/relationships/tags" Target="../tags/tag24.xml"/><Relationship Id="rId73" Type="http://schemas.openxmlformats.org/officeDocument/2006/relationships/tags" Target="../tags/tag45.xml"/><Relationship Id="rId78" Type="http://schemas.openxmlformats.org/officeDocument/2006/relationships/tags" Target="../tags/tag50.xml"/><Relationship Id="rId94" Type="http://schemas.openxmlformats.org/officeDocument/2006/relationships/tags" Target="../tags/tag66.xml"/><Relationship Id="rId99" Type="http://schemas.openxmlformats.org/officeDocument/2006/relationships/tags" Target="../tags/tag71.xml"/><Relationship Id="rId101" Type="http://schemas.openxmlformats.org/officeDocument/2006/relationships/tags" Target="../tags/tag73.xml"/><Relationship Id="rId122" Type="http://schemas.openxmlformats.org/officeDocument/2006/relationships/tags" Target="../tags/tag94.xml"/><Relationship Id="rId143" Type="http://schemas.openxmlformats.org/officeDocument/2006/relationships/tags" Target="../tags/tag115.xml"/><Relationship Id="rId148" Type="http://schemas.openxmlformats.org/officeDocument/2006/relationships/tags" Target="../tags/tag120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Relationship Id="rId26" Type="http://schemas.openxmlformats.org/officeDocument/2006/relationships/slideLayout" Target="../slideLayouts/slideLayout72.xml"/><Relationship Id="rId47" Type="http://schemas.openxmlformats.org/officeDocument/2006/relationships/tags" Target="../tags/tag19.xml"/><Relationship Id="rId68" Type="http://schemas.openxmlformats.org/officeDocument/2006/relationships/tags" Target="../tags/tag40.xml"/><Relationship Id="rId89" Type="http://schemas.openxmlformats.org/officeDocument/2006/relationships/tags" Target="../tags/tag61.xml"/><Relationship Id="rId112" Type="http://schemas.openxmlformats.org/officeDocument/2006/relationships/tags" Target="../tags/tag84.xml"/><Relationship Id="rId133" Type="http://schemas.openxmlformats.org/officeDocument/2006/relationships/tags" Target="../tags/tag105.xml"/><Relationship Id="rId154" Type="http://schemas.openxmlformats.org/officeDocument/2006/relationships/oleObject" Target="../embeddings/oleObject2.bin"/><Relationship Id="rId16" Type="http://schemas.openxmlformats.org/officeDocument/2006/relationships/slideLayout" Target="../slideLayouts/slideLayout62.xml"/><Relationship Id="rId37" Type="http://schemas.openxmlformats.org/officeDocument/2006/relationships/tags" Target="../tags/tag9.xml"/><Relationship Id="rId58" Type="http://schemas.openxmlformats.org/officeDocument/2006/relationships/tags" Target="../tags/tag30.xml"/><Relationship Id="rId79" Type="http://schemas.openxmlformats.org/officeDocument/2006/relationships/tags" Target="../tags/tag51.xml"/><Relationship Id="rId102" Type="http://schemas.openxmlformats.org/officeDocument/2006/relationships/tags" Target="../tags/tag74.xml"/><Relationship Id="rId123" Type="http://schemas.openxmlformats.org/officeDocument/2006/relationships/tags" Target="../tags/tag95.xml"/><Relationship Id="rId144" Type="http://schemas.openxmlformats.org/officeDocument/2006/relationships/tags" Target="../tags/tag116.xml"/><Relationship Id="rId90" Type="http://schemas.openxmlformats.org/officeDocument/2006/relationships/tags" Target="../tags/tag62.xml"/></Relationships>
</file>

<file path=ppt/slideMasters/_rels/slideMaster4.xml.rels><?xml version="1.0" encoding="UTF-8" standalone="yes"?>
<Relationships xmlns="http://schemas.openxmlformats.org/package/2006/relationships"><Relationship Id="rId117" Type="http://schemas.openxmlformats.org/officeDocument/2006/relationships/tags" Target="../tags/tag223.xml"/><Relationship Id="rId21" Type="http://schemas.openxmlformats.org/officeDocument/2006/relationships/tags" Target="../tags/tag127.xml"/><Relationship Id="rId42" Type="http://schemas.openxmlformats.org/officeDocument/2006/relationships/tags" Target="../tags/tag148.xml"/><Relationship Id="rId63" Type="http://schemas.openxmlformats.org/officeDocument/2006/relationships/tags" Target="../tags/tag169.xml"/><Relationship Id="rId84" Type="http://schemas.openxmlformats.org/officeDocument/2006/relationships/tags" Target="../tags/tag190.xml"/><Relationship Id="rId138" Type="http://schemas.openxmlformats.org/officeDocument/2006/relationships/tags" Target="../tags/tag244.xml"/><Relationship Id="rId107" Type="http://schemas.openxmlformats.org/officeDocument/2006/relationships/tags" Target="../tags/tag213.xml"/><Relationship Id="rId11" Type="http://schemas.openxmlformats.org/officeDocument/2006/relationships/slideLayout" Target="../slideLayouts/slideLayout85.xml"/><Relationship Id="rId32" Type="http://schemas.openxmlformats.org/officeDocument/2006/relationships/tags" Target="../tags/tag138.xml"/><Relationship Id="rId37" Type="http://schemas.openxmlformats.org/officeDocument/2006/relationships/tags" Target="../tags/tag143.xml"/><Relationship Id="rId53" Type="http://schemas.openxmlformats.org/officeDocument/2006/relationships/tags" Target="../tags/tag159.xml"/><Relationship Id="rId58" Type="http://schemas.openxmlformats.org/officeDocument/2006/relationships/tags" Target="../tags/tag164.xml"/><Relationship Id="rId74" Type="http://schemas.openxmlformats.org/officeDocument/2006/relationships/tags" Target="../tags/tag180.xml"/><Relationship Id="rId79" Type="http://schemas.openxmlformats.org/officeDocument/2006/relationships/tags" Target="../tags/tag185.xml"/><Relationship Id="rId102" Type="http://schemas.openxmlformats.org/officeDocument/2006/relationships/tags" Target="../tags/tag208.xml"/><Relationship Id="rId123" Type="http://schemas.openxmlformats.org/officeDocument/2006/relationships/tags" Target="../tags/tag229.xml"/><Relationship Id="rId128" Type="http://schemas.openxmlformats.org/officeDocument/2006/relationships/tags" Target="../tags/tag234.xml"/><Relationship Id="rId5" Type="http://schemas.openxmlformats.org/officeDocument/2006/relationships/slideLayout" Target="../slideLayouts/slideLayout79.xml"/><Relationship Id="rId90" Type="http://schemas.openxmlformats.org/officeDocument/2006/relationships/tags" Target="../tags/tag196.xml"/><Relationship Id="rId95" Type="http://schemas.openxmlformats.org/officeDocument/2006/relationships/tags" Target="../tags/tag201.xml"/><Relationship Id="rId22" Type="http://schemas.openxmlformats.org/officeDocument/2006/relationships/tags" Target="../tags/tag128.xml"/><Relationship Id="rId27" Type="http://schemas.openxmlformats.org/officeDocument/2006/relationships/tags" Target="../tags/tag133.xml"/><Relationship Id="rId43" Type="http://schemas.openxmlformats.org/officeDocument/2006/relationships/tags" Target="../tags/tag149.xml"/><Relationship Id="rId48" Type="http://schemas.openxmlformats.org/officeDocument/2006/relationships/tags" Target="../tags/tag154.xml"/><Relationship Id="rId64" Type="http://schemas.openxmlformats.org/officeDocument/2006/relationships/tags" Target="../tags/tag170.xml"/><Relationship Id="rId69" Type="http://schemas.openxmlformats.org/officeDocument/2006/relationships/tags" Target="../tags/tag175.xml"/><Relationship Id="rId113" Type="http://schemas.openxmlformats.org/officeDocument/2006/relationships/tags" Target="../tags/tag219.xml"/><Relationship Id="rId118" Type="http://schemas.openxmlformats.org/officeDocument/2006/relationships/tags" Target="../tags/tag224.xml"/><Relationship Id="rId134" Type="http://schemas.openxmlformats.org/officeDocument/2006/relationships/tags" Target="../tags/tag240.xml"/><Relationship Id="rId139" Type="http://schemas.openxmlformats.org/officeDocument/2006/relationships/tags" Target="../tags/tag245.xml"/><Relationship Id="rId80" Type="http://schemas.openxmlformats.org/officeDocument/2006/relationships/tags" Target="../tags/tag186.xml"/><Relationship Id="rId85" Type="http://schemas.openxmlformats.org/officeDocument/2006/relationships/tags" Target="../tags/tag191.xml"/><Relationship Id="rId12" Type="http://schemas.openxmlformats.org/officeDocument/2006/relationships/slideLayout" Target="../slideLayouts/slideLayout86.xml"/><Relationship Id="rId17" Type="http://schemas.openxmlformats.org/officeDocument/2006/relationships/slideLayout" Target="../slideLayouts/slideLayout91.xml"/><Relationship Id="rId33" Type="http://schemas.openxmlformats.org/officeDocument/2006/relationships/tags" Target="../tags/tag139.xml"/><Relationship Id="rId38" Type="http://schemas.openxmlformats.org/officeDocument/2006/relationships/tags" Target="../tags/tag144.xml"/><Relationship Id="rId59" Type="http://schemas.openxmlformats.org/officeDocument/2006/relationships/tags" Target="../tags/tag165.xml"/><Relationship Id="rId103" Type="http://schemas.openxmlformats.org/officeDocument/2006/relationships/tags" Target="../tags/tag209.xml"/><Relationship Id="rId108" Type="http://schemas.openxmlformats.org/officeDocument/2006/relationships/tags" Target="../tags/tag214.xml"/><Relationship Id="rId124" Type="http://schemas.openxmlformats.org/officeDocument/2006/relationships/tags" Target="../tags/tag230.xml"/><Relationship Id="rId129" Type="http://schemas.openxmlformats.org/officeDocument/2006/relationships/tags" Target="../tags/tag235.xml"/><Relationship Id="rId54" Type="http://schemas.openxmlformats.org/officeDocument/2006/relationships/tags" Target="../tags/tag160.xml"/><Relationship Id="rId70" Type="http://schemas.openxmlformats.org/officeDocument/2006/relationships/tags" Target="../tags/tag176.xml"/><Relationship Id="rId75" Type="http://schemas.openxmlformats.org/officeDocument/2006/relationships/tags" Target="../tags/tag181.xml"/><Relationship Id="rId91" Type="http://schemas.openxmlformats.org/officeDocument/2006/relationships/tags" Target="../tags/tag197.xml"/><Relationship Id="rId96" Type="http://schemas.openxmlformats.org/officeDocument/2006/relationships/tags" Target="../tags/tag202.xml"/><Relationship Id="rId140" Type="http://schemas.openxmlformats.org/officeDocument/2006/relationships/tags" Target="../tags/tag246.x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23" Type="http://schemas.openxmlformats.org/officeDocument/2006/relationships/tags" Target="../tags/tag129.xml"/><Relationship Id="rId28" Type="http://schemas.openxmlformats.org/officeDocument/2006/relationships/tags" Target="../tags/tag134.xml"/><Relationship Id="rId49" Type="http://schemas.openxmlformats.org/officeDocument/2006/relationships/tags" Target="../tags/tag155.xml"/><Relationship Id="rId114" Type="http://schemas.openxmlformats.org/officeDocument/2006/relationships/tags" Target="../tags/tag220.xml"/><Relationship Id="rId119" Type="http://schemas.openxmlformats.org/officeDocument/2006/relationships/tags" Target="../tags/tag225.xml"/><Relationship Id="rId44" Type="http://schemas.openxmlformats.org/officeDocument/2006/relationships/tags" Target="../tags/tag150.xml"/><Relationship Id="rId60" Type="http://schemas.openxmlformats.org/officeDocument/2006/relationships/tags" Target="../tags/tag166.xml"/><Relationship Id="rId65" Type="http://schemas.openxmlformats.org/officeDocument/2006/relationships/tags" Target="../tags/tag171.xml"/><Relationship Id="rId81" Type="http://schemas.openxmlformats.org/officeDocument/2006/relationships/tags" Target="../tags/tag187.xml"/><Relationship Id="rId86" Type="http://schemas.openxmlformats.org/officeDocument/2006/relationships/tags" Target="../tags/tag192.xml"/><Relationship Id="rId130" Type="http://schemas.openxmlformats.org/officeDocument/2006/relationships/tags" Target="../tags/tag236.xml"/><Relationship Id="rId135" Type="http://schemas.openxmlformats.org/officeDocument/2006/relationships/tags" Target="../tags/tag241.xml"/><Relationship Id="rId13" Type="http://schemas.openxmlformats.org/officeDocument/2006/relationships/slideLayout" Target="../slideLayouts/slideLayout87.xml"/><Relationship Id="rId18" Type="http://schemas.openxmlformats.org/officeDocument/2006/relationships/slideLayout" Target="../slideLayouts/slideLayout92.xml"/><Relationship Id="rId39" Type="http://schemas.openxmlformats.org/officeDocument/2006/relationships/tags" Target="../tags/tag145.xml"/><Relationship Id="rId109" Type="http://schemas.openxmlformats.org/officeDocument/2006/relationships/tags" Target="../tags/tag215.xml"/><Relationship Id="rId34" Type="http://schemas.openxmlformats.org/officeDocument/2006/relationships/tags" Target="../tags/tag140.xml"/><Relationship Id="rId50" Type="http://schemas.openxmlformats.org/officeDocument/2006/relationships/tags" Target="../tags/tag156.xml"/><Relationship Id="rId55" Type="http://schemas.openxmlformats.org/officeDocument/2006/relationships/tags" Target="../tags/tag161.xml"/><Relationship Id="rId76" Type="http://schemas.openxmlformats.org/officeDocument/2006/relationships/tags" Target="../tags/tag182.xml"/><Relationship Id="rId97" Type="http://schemas.openxmlformats.org/officeDocument/2006/relationships/tags" Target="../tags/tag203.xml"/><Relationship Id="rId104" Type="http://schemas.openxmlformats.org/officeDocument/2006/relationships/tags" Target="../tags/tag210.xml"/><Relationship Id="rId120" Type="http://schemas.openxmlformats.org/officeDocument/2006/relationships/tags" Target="../tags/tag226.xml"/><Relationship Id="rId125" Type="http://schemas.openxmlformats.org/officeDocument/2006/relationships/tags" Target="../tags/tag231.xml"/><Relationship Id="rId141" Type="http://schemas.openxmlformats.org/officeDocument/2006/relationships/tags" Target="../tags/tag247.xml"/><Relationship Id="rId7" Type="http://schemas.openxmlformats.org/officeDocument/2006/relationships/slideLayout" Target="../slideLayouts/slideLayout81.xml"/><Relationship Id="rId71" Type="http://schemas.openxmlformats.org/officeDocument/2006/relationships/tags" Target="../tags/tag177.xml"/><Relationship Id="rId92" Type="http://schemas.openxmlformats.org/officeDocument/2006/relationships/tags" Target="../tags/tag198.xml"/><Relationship Id="rId2" Type="http://schemas.openxmlformats.org/officeDocument/2006/relationships/slideLayout" Target="../slideLayouts/slideLayout76.xml"/><Relationship Id="rId29" Type="http://schemas.openxmlformats.org/officeDocument/2006/relationships/tags" Target="../tags/tag135.xml"/><Relationship Id="rId24" Type="http://schemas.openxmlformats.org/officeDocument/2006/relationships/tags" Target="../tags/tag130.xml"/><Relationship Id="rId40" Type="http://schemas.openxmlformats.org/officeDocument/2006/relationships/tags" Target="../tags/tag146.xml"/><Relationship Id="rId45" Type="http://schemas.openxmlformats.org/officeDocument/2006/relationships/tags" Target="../tags/tag151.xml"/><Relationship Id="rId66" Type="http://schemas.openxmlformats.org/officeDocument/2006/relationships/tags" Target="../tags/tag172.xml"/><Relationship Id="rId87" Type="http://schemas.openxmlformats.org/officeDocument/2006/relationships/tags" Target="../tags/tag193.xml"/><Relationship Id="rId110" Type="http://schemas.openxmlformats.org/officeDocument/2006/relationships/tags" Target="../tags/tag216.xml"/><Relationship Id="rId115" Type="http://schemas.openxmlformats.org/officeDocument/2006/relationships/tags" Target="../tags/tag221.xml"/><Relationship Id="rId131" Type="http://schemas.openxmlformats.org/officeDocument/2006/relationships/tags" Target="../tags/tag237.xml"/><Relationship Id="rId136" Type="http://schemas.openxmlformats.org/officeDocument/2006/relationships/tags" Target="../tags/tag242.xml"/><Relationship Id="rId61" Type="http://schemas.openxmlformats.org/officeDocument/2006/relationships/tags" Target="../tags/tag167.xml"/><Relationship Id="rId82" Type="http://schemas.openxmlformats.org/officeDocument/2006/relationships/tags" Target="../tags/tag188.xml"/><Relationship Id="rId19" Type="http://schemas.openxmlformats.org/officeDocument/2006/relationships/theme" Target="../theme/theme4.xml"/><Relationship Id="rId14" Type="http://schemas.openxmlformats.org/officeDocument/2006/relationships/slideLayout" Target="../slideLayouts/slideLayout88.xml"/><Relationship Id="rId30" Type="http://schemas.openxmlformats.org/officeDocument/2006/relationships/tags" Target="../tags/tag136.xml"/><Relationship Id="rId35" Type="http://schemas.openxmlformats.org/officeDocument/2006/relationships/tags" Target="../tags/tag141.xml"/><Relationship Id="rId56" Type="http://schemas.openxmlformats.org/officeDocument/2006/relationships/tags" Target="../tags/tag162.xml"/><Relationship Id="rId77" Type="http://schemas.openxmlformats.org/officeDocument/2006/relationships/tags" Target="../tags/tag183.xml"/><Relationship Id="rId100" Type="http://schemas.openxmlformats.org/officeDocument/2006/relationships/tags" Target="../tags/tag206.xml"/><Relationship Id="rId105" Type="http://schemas.openxmlformats.org/officeDocument/2006/relationships/tags" Target="../tags/tag211.xml"/><Relationship Id="rId126" Type="http://schemas.openxmlformats.org/officeDocument/2006/relationships/tags" Target="../tags/tag232.xml"/><Relationship Id="rId8" Type="http://schemas.openxmlformats.org/officeDocument/2006/relationships/slideLayout" Target="../slideLayouts/slideLayout82.xml"/><Relationship Id="rId51" Type="http://schemas.openxmlformats.org/officeDocument/2006/relationships/tags" Target="../tags/tag157.xml"/><Relationship Id="rId72" Type="http://schemas.openxmlformats.org/officeDocument/2006/relationships/tags" Target="../tags/tag178.xml"/><Relationship Id="rId93" Type="http://schemas.openxmlformats.org/officeDocument/2006/relationships/tags" Target="../tags/tag199.xml"/><Relationship Id="rId98" Type="http://schemas.openxmlformats.org/officeDocument/2006/relationships/tags" Target="../tags/tag204.xml"/><Relationship Id="rId121" Type="http://schemas.openxmlformats.org/officeDocument/2006/relationships/tags" Target="../tags/tag227.xml"/><Relationship Id="rId142" Type="http://schemas.openxmlformats.org/officeDocument/2006/relationships/tags" Target="../tags/tag248.xml"/><Relationship Id="rId3" Type="http://schemas.openxmlformats.org/officeDocument/2006/relationships/slideLayout" Target="../slideLayouts/slideLayout77.xml"/><Relationship Id="rId25" Type="http://schemas.openxmlformats.org/officeDocument/2006/relationships/tags" Target="../tags/tag131.xml"/><Relationship Id="rId46" Type="http://schemas.openxmlformats.org/officeDocument/2006/relationships/tags" Target="../tags/tag152.xml"/><Relationship Id="rId67" Type="http://schemas.openxmlformats.org/officeDocument/2006/relationships/tags" Target="../tags/tag173.xml"/><Relationship Id="rId116" Type="http://schemas.openxmlformats.org/officeDocument/2006/relationships/tags" Target="../tags/tag222.xml"/><Relationship Id="rId137" Type="http://schemas.openxmlformats.org/officeDocument/2006/relationships/tags" Target="../tags/tag243.xml"/><Relationship Id="rId20" Type="http://schemas.openxmlformats.org/officeDocument/2006/relationships/tags" Target="../tags/tag126.xml"/><Relationship Id="rId41" Type="http://schemas.openxmlformats.org/officeDocument/2006/relationships/tags" Target="../tags/tag147.xml"/><Relationship Id="rId62" Type="http://schemas.openxmlformats.org/officeDocument/2006/relationships/tags" Target="../tags/tag168.xml"/><Relationship Id="rId83" Type="http://schemas.openxmlformats.org/officeDocument/2006/relationships/tags" Target="../tags/tag189.xml"/><Relationship Id="rId88" Type="http://schemas.openxmlformats.org/officeDocument/2006/relationships/tags" Target="../tags/tag194.xml"/><Relationship Id="rId111" Type="http://schemas.openxmlformats.org/officeDocument/2006/relationships/tags" Target="../tags/tag217.xml"/><Relationship Id="rId132" Type="http://schemas.openxmlformats.org/officeDocument/2006/relationships/tags" Target="../tags/tag238.xml"/><Relationship Id="rId15" Type="http://schemas.openxmlformats.org/officeDocument/2006/relationships/slideLayout" Target="../slideLayouts/slideLayout89.xml"/><Relationship Id="rId36" Type="http://schemas.openxmlformats.org/officeDocument/2006/relationships/tags" Target="../tags/tag142.xml"/><Relationship Id="rId57" Type="http://schemas.openxmlformats.org/officeDocument/2006/relationships/tags" Target="../tags/tag163.xml"/><Relationship Id="rId106" Type="http://schemas.openxmlformats.org/officeDocument/2006/relationships/tags" Target="../tags/tag212.xml"/><Relationship Id="rId127" Type="http://schemas.openxmlformats.org/officeDocument/2006/relationships/tags" Target="../tags/tag233.xml"/><Relationship Id="rId10" Type="http://schemas.openxmlformats.org/officeDocument/2006/relationships/slideLayout" Target="../slideLayouts/slideLayout84.xml"/><Relationship Id="rId31" Type="http://schemas.openxmlformats.org/officeDocument/2006/relationships/tags" Target="../tags/tag137.xml"/><Relationship Id="rId52" Type="http://schemas.openxmlformats.org/officeDocument/2006/relationships/tags" Target="../tags/tag158.xml"/><Relationship Id="rId73" Type="http://schemas.openxmlformats.org/officeDocument/2006/relationships/tags" Target="../tags/tag179.xml"/><Relationship Id="rId78" Type="http://schemas.openxmlformats.org/officeDocument/2006/relationships/tags" Target="../tags/tag184.xml"/><Relationship Id="rId94" Type="http://schemas.openxmlformats.org/officeDocument/2006/relationships/tags" Target="../tags/tag200.xml"/><Relationship Id="rId99" Type="http://schemas.openxmlformats.org/officeDocument/2006/relationships/tags" Target="../tags/tag205.xml"/><Relationship Id="rId101" Type="http://schemas.openxmlformats.org/officeDocument/2006/relationships/tags" Target="../tags/tag207.xml"/><Relationship Id="rId122" Type="http://schemas.openxmlformats.org/officeDocument/2006/relationships/tags" Target="../tags/tag228.xml"/><Relationship Id="rId4" Type="http://schemas.openxmlformats.org/officeDocument/2006/relationships/slideLayout" Target="../slideLayouts/slideLayout78.xml"/><Relationship Id="rId9" Type="http://schemas.openxmlformats.org/officeDocument/2006/relationships/slideLayout" Target="../slideLayouts/slideLayout83.xml"/><Relationship Id="rId26" Type="http://schemas.openxmlformats.org/officeDocument/2006/relationships/tags" Target="../tags/tag132.xml"/><Relationship Id="rId47" Type="http://schemas.openxmlformats.org/officeDocument/2006/relationships/tags" Target="../tags/tag153.xml"/><Relationship Id="rId68" Type="http://schemas.openxmlformats.org/officeDocument/2006/relationships/tags" Target="../tags/tag174.xml"/><Relationship Id="rId89" Type="http://schemas.openxmlformats.org/officeDocument/2006/relationships/tags" Target="../tags/tag195.xml"/><Relationship Id="rId112" Type="http://schemas.openxmlformats.org/officeDocument/2006/relationships/tags" Target="../tags/tag218.xml"/><Relationship Id="rId133" Type="http://schemas.openxmlformats.org/officeDocument/2006/relationships/tags" Target="../tags/tag239.xml"/><Relationship Id="rId16" Type="http://schemas.openxmlformats.org/officeDocument/2006/relationships/slideLayout" Target="../slideLayouts/slideLayout9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F8DD38F-4A35-4671-BE35-E2D589FC8333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88963" y="469640"/>
            <a:ext cx="11017250" cy="55403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027" name="Text Placeholder 3">
            <a:extLst>
              <a:ext uri="{FF2B5EF4-FFF2-40B4-BE49-F238E27FC236}">
                <a16:creationId xmlns:a16="http://schemas.microsoft.com/office/drawing/2014/main" id="{C506EEC7-28C3-447D-A092-08572597C259}"/>
              </a:ext>
            </a:extLst>
          </p:cNvPr>
          <p:cNvSpPr>
            <a:spLocks noGrp="1" noChangeArrowheads="1"/>
          </p:cNvSpPr>
          <p:nvPr userDrawn="1">
            <p:ph type="body" idx="1"/>
          </p:nvPr>
        </p:nvSpPr>
        <p:spPr bwMode="auto">
          <a:xfrm>
            <a:off x="584200" y="1435100"/>
            <a:ext cx="11018838" cy="161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altLang="en-US"/>
              <a:t>Click to edit Master text styles</a:t>
            </a:r>
          </a:p>
          <a:p>
            <a:pPr lvl="1"/>
            <a:r>
              <a:rPr lang="en-GB" altLang="en-US"/>
              <a:t>Second level</a:t>
            </a:r>
          </a:p>
          <a:p>
            <a:pPr lvl="2"/>
            <a:r>
              <a:rPr lang="en-GB" altLang="en-US"/>
              <a:t>Third level</a:t>
            </a:r>
          </a:p>
          <a:p>
            <a:pPr lvl="3"/>
            <a:r>
              <a:rPr lang="en-GB" altLang="en-US"/>
              <a:t>Fourth level</a:t>
            </a:r>
          </a:p>
          <a:p>
            <a:pPr lvl="4"/>
            <a:r>
              <a:rPr lang="en-GB" altLang="en-US"/>
              <a:t>Fifth level</a:t>
            </a:r>
            <a:endParaRPr lang="en-US" altLang="en-US"/>
          </a:p>
        </p:txBody>
      </p:sp>
      <p:grpSp>
        <p:nvGrpSpPr>
          <p:cNvPr id="1028" name="GRID" hidden="1">
            <a:extLst>
              <a:ext uri="{FF2B5EF4-FFF2-40B4-BE49-F238E27FC236}">
                <a16:creationId xmlns:a16="http://schemas.microsoft.com/office/drawing/2014/main" id="{A2A9D185-79AB-4AD0-89DA-D60F0C62253C}"/>
              </a:ext>
            </a:extLst>
          </p:cNvPr>
          <p:cNvGrpSpPr>
            <a:grpSpLocks/>
          </p:cNvGrpSpPr>
          <p:nvPr/>
        </p:nvGrpSpPr>
        <p:grpSpPr bwMode="auto"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B3E11977-8CF9-485D-ACE5-33EEB0D46437}"/>
                </a:ext>
              </a:extLst>
            </p:cNvPr>
            <p:cNvCxnSpPr/>
            <p:nvPr/>
          </p:nvCxnSpPr>
          <p:spPr>
            <a:xfrm>
              <a:off x="0" y="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EFBB5E38-506A-44DD-A315-56E157E16AF0}"/>
                </a:ext>
              </a:extLst>
            </p:cNvPr>
            <p:cNvCxnSpPr/>
            <p:nvPr/>
          </p:nvCxnSpPr>
          <p:spPr>
            <a:xfrm>
              <a:off x="0" y="2921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4E40CB70-5AC0-476B-AA40-C2241BEB8DFF}"/>
                </a:ext>
              </a:extLst>
            </p:cNvPr>
            <p:cNvCxnSpPr/>
            <p:nvPr/>
          </p:nvCxnSpPr>
          <p:spPr>
            <a:xfrm>
              <a:off x="0" y="585788"/>
              <a:ext cx="12188825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FACEF339-045A-4996-8036-3371D72B7792}"/>
                </a:ext>
              </a:extLst>
            </p:cNvPr>
            <p:cNvCxnSpPr/>
            <p:nvPr/>
          </p:nvCxnSpPr>
          <p:spPr>
            <a:xfrm>
              <a:off x="0" y="6272213"/>
              <a:ext cx="12188825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ABCC50FD-86C8-42F8-9D68-7DADB5458B31}"/>
                </a:ext>
              </a:extLst>
            </p:cNvPr>
            <p:cNvCxnSpPr/>
            <p:nvPr/>
          </p:nvCxnSpPr>
          <p:spPr>
            <a:xfrm>
              <a:off x="0" y="65659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36D4A581-DE57-4A63-996B-BE800760E15C}"/>
                </a:ext>
              </a:extLst>
            </p:cNvPr>
            <p:cNvCxnSpPr/>
            <p:nvPr/>
          </p:nvCxnSpPr>
          <p:spPr>
            <a:xfrm>
              <a:off x="0" y="68580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DDABA573-5574-4F8A-A22B-83348FDE631E}"/>
                </a:ext>
              </a:extLst>
            </p:cNvPr>
            <p:cNvCxnSpPr/>
            <p:nvPr/>
          </p:nvCxnSpPr>
          <p:spPr>
            <a:xfrm>
              <a:off x="0" y="87788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F00EC732-F52C-4DCC-969C-5C03983A6864}"/>
                </a:ext>
              </a:extLst>
            </p:cNvPr>
            <p:cNvCxnSpPr/>
            <p:nvPr/>
          </p:nvCxnSpPr>
          <p:spPr>
            <a:xfrm>
              <a:off x="0" y="116998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E1970F0B-BC66-48A4-AFE3-81E6AD0DF714}"/>
                </a:ext>
              </a:extLst>
            </p:cNvPr>
            <p:cNvCxnSpPr/>
            <p:nvPr/>
          </p:nvCxnSpPr>
          <p:spPr>
            <a:xfrm>
              <a:off x="0" y="14636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1B18F09C-04FE-456E-B005-DCF9AD18BDE2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29FE731-4088-4B63-9BDA-0CECFD8FE6BF}"/>
                </a:ext>
              </a:extLst>
            </p:cNvPr>
            <p:cNvCxnSpPr/>
            <p:nvPr/>
          </p:nvCxnSpPr>
          <p:spPr>
            <a:xfrm>
              <a:off x="585788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35232B1C-BA17-47D7-8EC4-A6FA94639357}"/>
                </a:ext>
              </a:extLst>
            </p:cNvPr>
            <p:cNvCxnSpPr/>
            <p:nvPr/>
          </p:nvCxnSpPr>
          <p:spPr>
            <a:xfrm>
              <a:off x="2921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9C0B7A88-07B8-4006-83A4-9775E56330FC}"/>
                </a:ext>
              </a:extLst>
            </p:cNvPr>
            <p:cNvCxnSpPr/>
            <p:nvPr/>
          </p:nvCxnSpPr>
          <p:spPr>
            <a:xfrm>
              <a:off x="87788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C95DC405-8389-4A07-9075-49586FC5C38A}"/>
                </a:ext>
              </a:extLst>
            </p:cNvPr>
            <p:cNvCxnSpPr/>
            <p:nvPr/>
          </p:nvCxnSpPr>
          <p:spPr>
            <a:xfrm>
              <a:off x="116998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C98523BC-FB5E-4A17-8196-29101995A258}"/>
                </a:ext>
              </a:extLst>
            </p:cNvPr>
            <p:cNvCxnSpPr/>
            <p:nvPr/>
          </p:nvCxnSpPr>
          <p:spPr>
            <a:xfrm>
              <a:off x="11022013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9ACD9206-271F-48E7-BF40-5D3BA0E55523}"/>
                </a:ext>
              </a:extLst>
            </p:cNvPr>
            <p:cNvCxnSpPr/>
            <p:nvPr/>
          </p:nvCxnSpPr>
          <p:spPr>
            <a:xfrm>
              <a:off x="11606213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8A29F7B5-876C-4712-8DC6-7CADEB1A6132}"/>
                </a:ext>
              </a:extLst>
            </p:cNvPr>
            <p:cNvCxnSpPr/>
            <p:nvPr/>
          </p:nvCxnSpPr>
          <p:spPr>
            <a:xfrm>
              <a:off x="11314113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14EA0CCB-1F5D-4570-AA71-CDC176FF7307}"/>
                </a:ext>
              </a:extLst>
            </p:cNvPr>
            <p:cNvCxnSpPr/>
            <p:nvPr/>
          </p:nvCxnSpPr>
          <p:spPr>
            <a:xfrm>
              <a:off x="118999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D24AB1E-218C-429C-B96B-6F40E2E367C5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E4BACA4F-5C8E-4A1D-A2F2-2B9C468C19AB}"/>
                </a:ext>
              </a:extLst>
            </p:cNvPr>
            <p:cNvCxnSpPr/>
            <p:nvPr/>
          </p:nvCxnSpPr>
          <p:spPr>
            <a:xfrm>
              <a:off x="0" y="17557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8D1FD41-F515-4223-9316-CF49B10CA595}"/>
                </a:ext>
              </a:extLst>
            </p:cNvPr>
            <p:cNvCxnSpPr/>
            <p:nvPr/>
          </p:nvCxnSpPr>
          <p:spPr>
            <a:xfrm>
              <a:off x="0" y="20478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7CF3AD4F-5C51-48A8-90BA-A2B91CD10C8B}"/>
                </a:ext>
              </a:extLst>
            </p:cNvPr>
            <p:cNvCxnSpPr/>
            <p:nvPr/>
          </p:nvCxnSpPr>
          <p:spPr>
            <a:xfrm>
              <a:off x="0" y="23415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D0521A3-05EF-4F79-8505-9E2B2C339477}"/>
                </a:ext>
              </a:extLst>
            </p:cNvPr>
            <p:cNvCxnSpPr/>
            <p:nvPr/>
          </p:nvCxnSpPr>
          <p:spPr>
            <a:xfrm>
              <a:off x="0" y="26336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48810284-E24B-4D8D-BF44-856187577D2E}"/>
                </a:ext>
              </a:extLst>
            </p:cNvPr>
            <p:cNvCxnSpPr/>
            <p:nvPr/>
          </p:nvCxnSpPr>
          <p:spPr>
            <a:xfrm>
              <a:off x="0" y="29257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59626754-7ED6-4733-A6F7-0E45D9C47A48}"/>
                </a:ext>
              </a:extLst>
            </p:cNvPr>
            <p:cNvCxnSpPr/>
            <p:nvPr/>
          </p:nvCxnSpPr>
          <p:spPr>
            <a:xfrm>
              <a:off x="0" y="32194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2F52ADDF-24EC-47E3-83F8-3918E93DE11D}"/>
                </a:ext>
              </a:extLst>
            </p:cNvPr>
            <p:cNvCxnSpPr/>
            <p:nvPr/>
          </p:nvCxnSpPr>
          <p:spPr>
            <a:xfrm>
              <a:off x="0" y="35115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80AE4D0A-1497-4DA2-88D3-3815D6D31063}"/>
                </a:ext>
              </a:extLst>
            </p:cNvPr>
            <p:cNvCxnSpPr/>
            <p:nvPr/>
          </p:nvCxnSpPr>
          <p:spPr>
            <a:xfrm>
              <a:off x="0" y="38036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BDC60C3-9A65-4C10-AECB-C4427D8D5D31}"/>
                </a:ext>
              </a:extLst>
            </p:cNvPr>
            <p:cNvCxnSpPr/>
            <p:nvPr/>
          </p:nvCxnSpPr>
          <p:spPr>
            <a:xfrm>
              <a:off x="0" y="40957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C9FB55BF-AEB3-4AB1-B936-CBBF4162DAD5}"/>
                </a:ext>
              </a:extLst>
            </p:cNvPr>
            <p:cNvCxnSpPr/>
            <p:nvPr/>
          </p:nvCxnSpPr>
          <p:spPr>
            <a:xfrm>
              <a:off x="0" y="43894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D1890F9C-92E3-48D3-B57D-EF175EC62B01}"/>
                </a:ext>
              </a:extLst>
            </p:cNvPr>
            <p:cNvCxnSpPr/>
            <p:nvPr/>
          </p:nvCxnSpPr>
          <p:spPr>
            <a:xfrm>
              <a:off x="0" y="46815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F66EE5B9-25FA-4221-91A5-6C39DC942699}"/>
                </a:ext>
              </a:extLst>
            </p:cNvPr>
            <p:cNvCxnSpPr/>
            <p:nvPr/>
          </p:nvCxnSpPr>
          <p:spPr>
            <a:xfrm>
              <a:off x="0" y="49736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FFA7A0E3-84C0-4C49-BE98-62AF2F82E299}"/>
                </a:ext>
              </a:extLst>
            </p:cNvPr>
            <p:cNvCxnSpPr/>
            <p:nvPr/>
          </p:nvCxnSpPr>
          <p:spPr>
            <a:xfrm>
              <a:off x="0" y="52673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F93ACC3E-E2E4-4C54-8203-100979D0BA58}"/>
                </a:ext>
              </a:extLst>
            </p:cNvPr>
            <p:cNvCxnSpPr/>
            <p:nvPr/>
          </p:nvCxnSpPr>
          <p:spPr>
            <a:xfrm>
              <a:off x="0" y="55594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031AC7C3-0670-4E5F-863D-1A6F8AA689A9}"/>
                </a:ext>
              </a:extLst>
            </p:cNvPr>
            <p:cNvCxnSpPr/>
            <p:nvPr/>
          </p:nvCxnSpPr>
          <p:spPr>
            <a:xfrm>
              <a:off x="0" y="58515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A8AF3FCD-9C81-4FDC-B538-783D0C0F93B7}"/>
              </a:ext>
            </a:extLst>
          </p:cNvPr>
          <p:cNvSpPr/>
          <p:nvPr/>
        </p:nvSpPr>
        <p:spPr bwMode="auto">
          <a:xfrm>
            <a:off x="0" y="0"/>
            <a:ext cx="585788" cy="58578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82880" tIns="146304" rIns="182880" bIns="146304"/>
          <a:lstStyle/>
          <a:p>
            <a:pPr algn="ctr" defTabSz="932472" eaLnBrk="1" hangingPunct="1">
              <a:lnSpc>
                <a:spcPct val="90000"/>
              </a:lnSpc>
              <a:defRPr/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33EF2950-F2B6-4DD3-A9C0-1CF8A171AA34}"/>
              </a:ext>
            </a:extLst>
          </p:cNvPr>
          <p:cNvSpPr/>
          <p:nvPr/>
        </p:nvSpPr>
        <p:spPr bwMode="auto">
          <a:xfrm>
            <a:off x="0" y="0"/>
            <a:ext cx="292100" cy="292100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82880" tIns="146304" rIns="182880" bIns="146304"/>
          <a:lstStyle/>
          <a:p>
            <a:pPr algn="ctr" defTabSz="932472" eaLnBrk="1" hangingPunct="1">
              <a:lnSpc>
                <a:spcPct val="90000"/>
              </a:lnSpc>
              <a:defRPr/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7" name="Slide number">
            <a:extLst>
              <a:ext uri="{FF2B5EF4-FFF2-40B4-BE49-F238E27FC236}">
                <a16:creationId xmlns:a16="http://schemas.microsoft.com/office/drawing/2014/main" id="{78A77D8C-4052-44F0-B298-BB9D28111FB8}"/>
              </a:ext>
            </a:extLst>
          </p:cNvPr>
          <p:cNvSpPr txBox="1"/>
          <p:nvPr userDrawn="1"/>
        </p:nvSpPr>
        <p:spPr bwMode="black">
          <a:xfrm>
            <a:off x="11306061" y="6464866"/>
            <a:ext cx="31443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lvl="0" indent="0" algn="r">
              <a:buNone/>
            </a:pPr>
            <a:fld id="{0BDC132A-5C91-4078-9777-31DA19A62E0A}" type="slidenum">
              <a:rPr lang="en-US" sz="900" noProof="0" smtClean="0">
                <a:latin typeface="72" panose="020B0503030000000003" pitchFamily="34" charset="0"/>
                <a:cs typeface="72" panose="020B0503030000000003" pitchFamily="34" charset="0"/>
              </a:rPr>
              <a:pPr marL="0" lvl="0" indent="0" algn="r">
                <a:buNone/>
              </a:pPr>
              <a:t>‹#›</a:t>
            </a:fld>
            <a:endParaRPr lang="en-US" sz="900" noProof="0">
              <a:latin typeface="72" panose="020B0503030000000003" pitchFamily="34" charset="0"/>
              <a:cs typeface="72" panose="020B0503030000000003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030" r:id="rId1"/>
    <p:sldLayoutId id="2147485031" r:id="rId2"/>
    <p:sldLayoutId id="2147484947" r:id="rId3"/>
    <p:sldLayoutId id="2147484946" r:id="rId4"/>
    <p:sldLayoutId id="2147484934" r:id="rId5"/>
    <p:sldLayoutId id="2147484926" r:id="rId6"/>
    <p:sldLayoutId id="2147484935" r:id="rId7"/>
    <p:sldLayoutId id="2147484927" r:id="rId8"/>
    <p:sldLayoutId id="2147484928" r:id="rId9"/>
    <p:sldLayoutId id="2147484929" r:id="rId10"/>
    <p:sldLayoutId id="2147484936" r:id="rId11"/>
    <p:sldLayoutId id="2147484937" r:id="rId12"/>
    <p:sldLayoutId id="2147484939" r:id="rId13"/>
    <p:sldLayoutId id="2147484950" r:id="rId14"/>
    <p:sldLayoutId id="2147484940" r:id="rId15"/>
    <p:sldLayoutId id="2147484941" r:id="rId16"/>
    <p:sldLayoutId id="2147484951" r:id="rId17"/>
    <p:sldLayoutId id="2147484942" r:id="rId18"/>
    <p:sldLayoutId id="2147484930" r:id="rId19"/>
    <p:sldLayoutId id="2147484943" r:id="rId20"/>
    <p:sldLayoutId id="2147484931" r:id="rId21"/>
    <p:sldLayoutId id="2147484948" r:id="rId22"/>
    <p:sldLayoutId id="2147485032" r:id="rId23"/>
    <p:sldLayoutId id="2147484949" r:id="rId24"/>
    <p:sldLayoutId id="2147484945" r:id="rId25"/>
    <p:sldLayoutId id="2147485008" r:id="rId26"/>
  </p:sldLayoutIdLst>
  <p:transition>
    <p:fade/>
  </p:transition>
  <p:hf sldNum="0" hdr="0" ftr="0" dt="0"/>
  <p:txStyles>
    <p:titleStyle>
      <a:lvl1pPr algn="l" defTabSz="931863" rtl="0" eaLnBrk="1" fontAlgn="base" hangingPunct="1">
        <a:spcBef>
          <a:spcPct val="0"/>
        </a:spcBef>
        <a:spcAft>
          <a:spcPct val="0"/>
        </a:spcAft>
        <a:defRPr lang="en-US" sz="3600" b="0" i="0" kern="1200" spc="-50" dirty="0">
          <a:ln w="3175">
            <a:noFill/>
          </a:ln>
          <a:solidFill>
            <a:schemeClr val="tx1"/>
          </a:solidFill>
          <a:latin typeface="72" panose="020B0503030000000003" pitchFamily="34" charset="0"/>
          <a:ea typeface="+mn-ea"/>
          <a:cs typeface="72" panose="020B0503030000000003" pitchFamily="34" charset="0"/>
        </a:defRPr>
      </a:lvl1pPr>
      <a:lvl2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228600" indent="-228600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2800" b="0" i="0" kern="1200">
          <a:solidFill>
            <a:schemeClr val="tx1"/>
          </a:solidFill>
          <a:latin typeface="72" panose="020B0503030000000003" pitchFamily="34" charset="0"/>
          <a:ea typeface="+mn-ea"/>
          <a:cs typeface="72" panose="020B0503030000000003" pitchFamily="34" charset="0"/>
        </a:defRPr>
      </a:lvl1pPr>
      <a:lvl2pPr marL="457200" indent="-228600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2000" b="0" i="0" kern="1200">
          <a:solidFill>
            <a:schemeClr val="tx1"/>
          </a:solidFill>
          <a:latin typeface="72" panose="020B0503030000000003" pitchFamily="34" charset="0"/>
          <a:ea typeface="+mn-ea"/>
          <a:cs typeface="72" panose="020B0503030000000003" pitchFamily="34" charset="0"/>
        </a:defRPr>
      </a:lvl2pPr>
      <a:lvl3pPr marL="657225" indent="-20002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600" b="0" i="0" kern="1200">
          <a:solidFill>
            <a:schemeClr val="tx1"/>
          </a:solidFill>
          <a:latin typeface="72" panose="020B0503030000000003" pitchFamily="34" charset="0"/>
          <a:ea typeface="+mn-ea"/>
          <a:cs typeface="72" panose="020B0503030000000003" pitchFamily="34" charset="0"/>
        </a:defRPr>
      </a:lvl3pPr>
      <a:lvl4pPr marL="842963" indent="-18097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400" b="0" i="0" kern="1200">
          <a:solidFill>
            <a:schemeClr val="tx1"/>
          </a:solidFill>
          <a:latin typeface="72" panose="020B0503030000000003" pitchFamily="34" charset="0"/>
          <a:ea typeface="+mn-ea"/>
          <a:cs typeface="72" panose="020B0503030000000003" pitchFamily="34" charset="0"/>
        </a:defRPr>
      </a:lvl4pPr>
      <a:lvl5pPr marL="1023938" indent="-16827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400" b="0" i="0" kern="1200">
          <a:solidFill>
            <a:schemeClr val="tx1"/>
          </a:solidFill>
          <a:latin typeface="72" panose="020B0503030000000003" pitchFamily="34" charset="0"/>
          <a:ea typeface="+mn-ea"/>
          <a:cs typeface="72" panose="020B0503030000000003" pitchFamily="34" charset="0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54" userDrawn="1">
          <p15:clr>
            <a:srgbClr val="F26B43"/>
          </p15:clr>
        </p15:guide>
        <p15:guide id="2" pos="360" userDrawn="1">
          <p15:clr>
            <a:srgbClr val="F26B43"/>
          </p15:clr>
        </p15:guide>
        <p15:guide id="3" pos="7320" userDrawn="1">
          <p15:clr>
            <a:srgbClr val="F26B43"/>
          </p15:clr>
        </p15:guide>
        <p15:guide id="4" orient="horz" pos="360" userDrawn="1">
          <p15:clr>
            <a:srgbClr val="F26B43"/>
          </p15:clr>
        </p15:guide>
        <p15:guide id="5" pos="184" userDrawn="1">
          <p15:clr>
            <a:srgbClr val="F26B43"/>
          </p15:clr>
        </p15:guide>
        <p15:guide id="6" pos="7496" userDrawn="1">
          <p15:clr>
            <a:srgbClr val="F26B43"/>
          </p15:clr>
        </p15:guide>
        <p15:guide id="7" orient="horz" pos="175" userDrawn="1">
          <p15:clr>
            <a:srgbClr val="F26B43"/>
          </p15:clr>
        </p15:guide>
        <p15:guide id="8" orient="horz" pos="413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B4D4A0BF-D967-11AB-9DCC-EDF47A3A6E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260958548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3" imgW="7772400" imgH="10058400" progId="TCLayout.ActiveDocument.1">
                  <p:embed/>
                </p:oleObj>
              </mc:Choice>
              <mc:Fallback>
                <p:oleObj name="think-cell Folie" r:id="rId23" imgW="7772400" imgH="1005840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B4D4A0BF-D967-11AB-9DCC-EDF47A3A6E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F8DD38F-4A35-4671-BE35-E2D589FC8333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88963" y="469640"/>
            <a:ext cx="11017250" cy="55403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27" name="Text Placeholder 3">
            <a:extLst>
              <a:ext uri="{FF2B5EF4-FFF2-40B4-BE49-F238E27FC236}">
                <a16:creationId xmlns:a16="http://schemas.microsoft.com/office/drawing/2014/main" id="{C506EEC7-28C3-447D-A092-08572597C259}"/>
              </a:ext>
            </a:extLst>
          </p:cNvPr>
          <p:cNvSpPr>
            <a:spLocks noGrp="1" noChangeArrowheads="1"/>
          </p:cNvSpPr>
          <p:nvPr userDrawn="1">
            <p:ph type="body" idx="1"/>
          </p:nvPr>
        </p:nvSpPr>
        <p:spPr bwMode="auto">
          <a:xfrm>
            <a:off x="584200" y="1435100"/>
            <a:ext cx="11018838" cy="161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grpSp>
        <p:nvGrpSpPr>
          <p:cNvPr id="1028" name="GRID" hidden="1">
            <a:extLst>
              <a:ext uri="{FF2B5EF4-FFF2-40B4-BE49-F238E27FC236}">
                <a16:creationId xmlns:a16="http://schemas.microsoft.com/office/drawing/2014/main" id="{A2A9D185-79AB-4AD0-89DA-D60F0C62253C}"/>
              </a:ext>
            </a:extLst>
          </p:cNvPr>
          <p:cNvGrpSpPr>
            <a:grpSpLocks/>
          </p:cNvGrpSpPr>
          <p:nvPr/>
        </p:nvGrpSpPr>
        <p:grpSpPr bwMode="auto"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B3E11977-8CF9-485D-ACE5-33EEB0D46437}"/>
                </a:ext>
              </a:extLst>
            </p:cNvPr>
            <p:cNvCxnSpPr/>
            <p:nvPr/>
          </p:nvCxnSpPr>
          <p:spPr>
            <a:xfrm>
              <a:off x="0" y="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EFBB5E38-506A-44DD-A315-56E157E16AF0}"/>
                </a:ext>
              </a:extLst>
            </p:cNvPr>
            <p:cNvCxnSpPr/>
            <p:nvPr/>
          </p:nvCxnSpPr>
          <p:spPr>
            <a:xfrm>
              <a:off x="0" y="2921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4E40CB70-5AC0-476B-AA40-C2241BEB8DFF}"/>
                </a:ext>
              </a:extLst>
            </p:cNvPr>
            <p:cNvCxnSpPr/>
            <p:nvPr/>
          </p:nvCxnSpPr>
          <p:spPr>
            <a:xfrm>
              <a:off x="0" y="585788"/>
              <a:ext cx="12188825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FACEF339-045A-4996-8036-3371D72B7792}"/>
                </a:ext>
              </a:extLst>
            </p:cNvPr>
            <p:cNvCxnSpPr/>
            <p:nvPr/>
          </p:nvCxnSpPr>
          <p:spPr>
            <a:xfrm>
              <a:off x="0" y="6272213"/>
              <a:ext cx="12188825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ABCC50FD-86C8-42F8-9D68-7DADB5458B31}"/>
                </a:ext>
              </a:extLst>
            </p:cNvPr>
            <p:cNvCxnSpPr/>
            <p:nvPr/>
          </p:nvCxnSpPr>
          <p:spPr>
            <a:xfrm>
              <a:off x="0" y="65659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36D4A581-DE57-4A63-996B-BE800760E15C}"/>
                </a:ext>
              </a:extLst>
            </p:cNvPr>
            <p:cNvCxnSpPr/>
            <p:nvPr/>
          </p:nvCxnSpPr>
          <p:spPr>
            <a:xfrm>
              <a:off x="0" y="68580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DDABA573-5574-4F8A-A22B-83348FDE631E}"/>
                </a:ext>
              </a:extLst>
            </p:cNvPr>
            <p:cNvCxnSpPr/>
            <p:nvPr/>
          </p:nvCxnSpPr>
          <p:spPr>
            <a:xfrm>
              <a:off x="0" y="87788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F00EC732-F52C-4DCC-969C-5C03983A6864}"/>
                </a:ext>
              </a:extLst>
            </p:cNvPr>
            <p:cNvCxnSpPr/>
            <p:nvPr/>
          </p:nvCxnSpPr>
          <p:spPr>
            <a:xfrm>
              <a:off x="0" y="116998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E1970F0B-BC66-48A4-AFE3-81E6AD0DF714}"/>
                </a:ext>
              </a:extLst>
            </p:cNvPr>
            <p:cNvCxnSpPr/>
            <p:nvPr/>
          </p:nvCxnSpPr>
          <p:spPr>
            <a:xfrm>
              <a:off x="0" y="14636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1B18F09C-04FE-456E-B005-DCF9AD18BDE2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29FE731-4088-4B63-9BDA-0CECFD8FE6BF}"/>
                </a:ext>
              </a:extLst>
            </p:cNvPr>
            <p:cNvCxnSpPr/>
            <p:nvPr/>
          </p:nvCxnSpPr>
          <p:spPr>
            <a:xfrm>
              <a:off x="585788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35232B1C-BA17-47D7-8EC4-A6FA94639357}"/>
                </a:ext>
              </a:extLst>
            </p:cNvPr>
            <p:cNvCxnSpPr/>
            <p:nvPr/>
          </p:nvCxnSpPr>
          <p:spPr>
            <a:xfrm>
              <a:off x="2921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9C0B7A88-07B8-4006-83A4-9775E56330FC}"/>
                </a:ext>
              </a:extLst>
            </p:cNvPr>
            <p:cNvCxnSpPr/>
            <p:nvPr/>
          </p:nvCxnSpPr>
          <p:spPr>
            <a:xfrm>
              <a:off x="87788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C95DC405-8389-4A07-9075-49586FC5C38A}"/>
                </a:ext>
              </a:extLst>
            </p:cNvPr>
            <p:cNvCxnSpPr/>
            <p:nvPr/>
          </p:nvCxnSpPr>
          <p:spPr>
            <a:xfrm>
              <a:off x="116998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C98523BC-FB5E-4A17-8196-29101995A258}"/>
                </a:ext>
              </a:extLst>
            </p:cNvPr>
            <p:cNvCxnSpPr/>
            <p:nvPr/>
          </p:nvCxnSpPr>
          <p:spPr>
            <a:xfrm>
              <a:off x="11022013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9ACD9206-271F-48E7-BF40-5D3BA0E55523}"/>
                </a:ext>
              </a:extLst>
            </p:cNvPr>
            <p:cNvCxnSpPr/>
            <p:nvPr/>
          </p:nvCxnSpPr>
          <p:spPr>
            <a:xfrm>
              <a:off x="11606213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8A29F7B5-876C-4712-8DC6-7CADEB1A6132}"/>
                </a:ext>
              </a:extLst>
            </p:cNvPr>
            <p:cNvCxnSpPr/>
            <p:nvPr/>
          </p:nvCxnSpPr>
          <p:spPr>
            <a:xfrm>
              <a:off x="11314113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14EA0CCB-1F5D-4570-AA71-CDC176FF7307}"/>
                </a:ext>
              </a:extLst>
            </p:cNvPr>
            <p:cNvCxnSpPr/>
            <p:nvPr/>
          </p:nvCxnSpPr>
          <p:spPr>
            <a:xfrm>
              <a:off x="118999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D24AB1E-218C-429C-B96B-6F40E2E367C5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E4BACA4F-5C8E-4A1D-A2F2-2B9C468C19AB}"/>
                </a:ext>
              </a:extLst>
            </p:cNvPr>
            <p:cNvCxnSpPr/>
            <p:nvPr/>
          </p:nvCxnSpPr>
          <p:spPr>
            <a:xfrm>
              <a:off x="0" y="17557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8D1FD41-F515-4223-9316-CF49B10CA595}"/>
                </a:ext>
              </a:extLst>
            </p:cNvPr>
            <p:cNvCxnSpPr/>
            <p:nvPr/>
          </p:nvCxnSpPr>
          <p:spPr>
            <a:xfrm>
              <a:off x="0" y="20478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7CF3AD4F-5C51-48A8-90BA-A2B91CD10C8B}"/>
                </a:ext>
              </a:extLst>
            </p:cNvPr>
            <p:cNvCxnSpPr/>
            <p:nvPr/>
          </p:nvCxnSpPr>
          <p:spPr>
            <a:xfrm>
              <a:off x="0" y="23415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D0521A3-05EF-4F79-8505-9E2B2C339477}"/>
                </a:ext>
              </a:extLst>
            </p:cNvPr>
            <p:cNvCxnSpPr/>
            <p:nvPr/>
          </p:nvCxnSpPr>
          <p:spPr>
            <a:xfrm>
              <a:off x="0" y="26336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48810284-E24B-4D8D-BF44-856187577D2E}"/>
                </a:ext>
              </a:extLst>
            </p:cNvPr>
            <p:cNvCxnSpPr/>
            <p:nvPr/>
          </p:nvCxnSpPr>
          <p:spPr>
            <a:xfrm>
              <a:off x="0" y="29257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59626754-7ED6-4733-A6F7-0E45D9C47A48}"/>
                </a:ext>
              </a:extLst>
            </p:cNvPr>
            <p:cNvCxnSpPr/>
            <p:nvPr/>
          </p:nvCxnSpPr>
          <p:spPr>
            <a:xfrm>
              <a:off x="0" y="32194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2F52ADDF-24EC-47E3-83F8-3918E93DE11D}"/>
                </a:ext>
              </a:extLst>
            </p:cNvPr>
            <p:cNvCxnSpPr/>
            <p:nvPr/>
          </p:nvCxnSpPr>
          <p:spPr>
            <a:xfrm>
              <a:off x="0" y="35115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80AE4D0A-1497-4DA2-88D3-3815D6D31063}"/>
                </a:ext>
              </a:extLst>
            </p:cNvPr>
            <p:cNvCxnSpPr/>
            <p:nvPr/>
          </p:nvCxnSpPr>
          <p:spPr>
            <a:xfrm>
              <a:off x="0" y="38036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BDC60C3-9A65-4C10-AECB-C4427D8D5D31}"/>
                </a:ext>
              </a:extLst>
            </p:cNvPr>
            <p:cNvCxnSpPr/>
            <p:nvPr/>
          </p:nvCxnSpPr>
          <p:spPr>
            <a:xfrm>
              <a:off x="0" y="40957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C9FB55BF-AEB3-4AB1-B936-CBBF4162DAD5}"/>
                </a:ext>
              </a:extLst>
            </p:cNvPr>
            <p:cNvCxnSpPr/>
            <p:nvPr/>
          </p:nvCxnSpPr>
          <p:spPr>
            <a:xfrm>
              <a:off x="0" y="43894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D1890F9C-92E3-48D3-B57D-EF175EC62B01}"/>
                </a:ext>
              </a:extLst>
            </p:cNvPr>
            <p:cNvCxnSpPr/>
            <p:nvPr/>
          </p:nvCxnSpPr>
          <p:spPr>
            <a:xfrm>
              <a:off x="0" y="46815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F66EE5B9-25FA-4221-91A5-6C39DC942699}"/>
                </a:ext>
              </a:extLst>
            </p:cNvPr>
            <p:cNvCxnSpPr/>
            <p:nvPr/>
          </p:nvCxnSpPr>
          <p:spPr>
            <a:xfrm>
              <a:off x="0" y="49736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FFA7A0E3-84C0-4C49-BE98-62AF2F82E299}"/>
                </a:ext>
              </a:extLst>
            </p:cNvPr>
            <p:cNvCxnSpPr/>
            <p:nvPr/>
          </p:nvCxnSpPr>
          <p:spPr>
            <a:xfrm>
              <a:off x="0" y="52673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F93ACC3E-E2E4-4C54-8203-100979D0BA58}"/>
                </a:ext>
              </a:extLst>
            </p:cNvPr>
            <p:cNvCxnSpPr/>
            <p:nvPr/>
          </p:nvCxnSpPr>
          <p:spPr>
            <a:xfrm>
              <a:off x="0" y="55594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031AC7C3-0670-4E5F-863D-1A6F8AA689A9}"/>
                </a:ext>
              </a:extLst>
            </p:cNvPr>
            <p:cNvCxnSpPr/>
            <p:nvPr/>
          </p:nvCxnSpPr>
          <p:spPr>
            <a:xfrm>
              <a:off x="0" y="58515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A8AF3FCD-9C81-4FDC-B538-783D0C0F93B7}"/>
              </a:ext>
            </a:extLst>
          </p:cNvPr>
          <p:cNvSpPr/>
          <p:nvPr/>
        </p:nvSpPr>
        <p:spPr bwMode="auto">
          <a:xfrm>
            <a:off x="0" y="0"/>
            <a:ext cx="585788" cy="58578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82880" tIns="146304" rIns="182880" bIns="146304"/>
          <a:lstStyle/>
          <a:p>
            <a:pPr algn="ctr" defTabSz="932472" eaLnBrk="1" hangingPunct="1">
              <a:lnSpc>
                <a:spcPct val="90000"/>
              </a:lnSpc>
              <a:defRPr/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33EF2950-F2B6-4DD3-A9C0-1CF8A171AA34}"/>
              </a:ext>
            </a:extLst>
          </p:cNvPr>
          <p:cNvSpPr/>
          <p:nvPr/>
        </p:nvSpPr>
        <p:spPr bwMode="auto">
          <a:xfrm>
            <a:off x="0" y="0"/>
            <a:ext cx="292100" cy="292100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82880" tIns="146304" rIns="182880" bIns="146304"/>
          <a:lstStyle/>
          <a:p>
            <a:pPr algn="ctr" defTabSz="932472" eaLnBrk="1" hangingPunct="1">
              <a:lnSpc>
                <a:spcPct val="90000"/>
              </a:lnSpc>
              <a:defRPr/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7" name="Slide number">
            <a:extLst>
              <a:ext uri="{FF2B5EF4-FFF2-40B4-BE49-F238E27FC236}">
                <a16:creationId xmlns:a16="http://schemas.microsoft.com/office/drawing/2014/main" id="{78A77D8C-4052-44F0-B298-BB9D28111FB8}"/>
              </a:ext>
            </a:extLst>
          </p:cNvPr>
          <p:cNvSpPr txBox="1"/>
          <p:nvPr userDrawn="1"/>
        </p:nvSpPr>
        <p:spPr bwMode="black">
          <a:xfrm>
            <a:off x="11481455" y="6549107"/>
            <a:ext cx="141064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lvl="0" indent="0" algn="r">
              <a:buNone/>
            </a:pPr>
            <a:fld id="{0BDC132A-5C91-4078-9777-31DA19A62E0A}" type="slidenum">
              <a:rPr lang="en-US" sz="900" noProof="0" smtClean="0">
                <a:latin typeface="72" panose="020B0503030000000003" pitchFamily="34" charset="0"/>
                <a:cs typeface="72" panose="020B0503030000000003" pitchFamily="34" charset="0"/>
              </a:rPr>
              <a:pPr marL="0" lvl="0" indent="0" algn="r">
                <a:buNone/>
              </a:pPr>
              <a:t>‹#›</a:t>
            </a:fld>
            <a:endParaRPr lang="en-US" sz="900" noProof="0">
              <a:latin typeface="72" panose="020B0503030000000003" pitchFamily="34" charset="0"/>
              <a:cs typeface="72" panose="020B0503030000000003" pitchFamily="34" charset="0"/>
            </a:endParaRPr>
          </a:p>
        </p:txBody>
      </p:sp>
      <p:sp>
        <p:nvSpPr>
          <p:cNvPr id="4" name="Copyright Placeholder" descr="{&quot;templafy&quot;:{&quot;id&quot;:&quot;d557962c-d886-416f-bd4f-663185a6c887&quot;}}">
            <a:extLst>
              <a:ext uri="{FF2B5EF4-FFF2-40B4-BE49-F238E27FC236}">
                <a16:creationId xmlns:a16="http://schemas.microsoft.com/office/drawing/2014/main" id="{9757753E-AEFC-9F9D-F6BB-B7D7130559A3}"/>
              </a:ext>
            </a:extLst>
          </p:cNvPr>
          <p:cNvSpPr txBox="1">
            <a:spLocks/>
          </p:cNvSpPr>
          <p:nvPr userDrawn="1"/>
        </p:nvSpPr>
        <p:spPr>
          <a:xfrm>
            <a:off x="571500" y="6536751"/>
            <a:ext cx="10155600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11644312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18" r:id="rId1"/>
    <p:sldLayoutId id="2147485019" r:id="rId2"/>
    <p:sldLayoutId id="2147484955" r:id="rId3"/>
    <p:sldLayoutId id="2147484956" r:id="rId4"/>
    <p:sldLayoutId id="2147484957" r:id="rId5"/>
    <p:sldLayoutId id="2147484958" r:id="rId6"/>
    <p:sldLayoutId id="2147484959" r:id="rId7"/>
    <p:sldLayoutId id="2147484960" r:id="rId8"/>
    <p:sldLayoutId id="2147484961" r:id="rId9"/>
    <p:sldLayoutId id="2147484962" r:id="rId10"/>
    <p:sldLayoutId id="2147484963" r:id="rId11"/>
    <p:sldLayoutId id="2147484964" r:id="rId12"/>
    <p:sldLayoutId id="2147484965" r:id="rId13"/>
    <p:sldLayoutId id="2147484966" r:id="rId14"/>
    <p:sldLayoutId id="2147484967" r:id="rId15"/>
    <p:sldLayoutId id="2147484968" r:id="rId16"/>
    <p:sldLayoutId id="2147484969" r:id="rId17"/>
    <p:sldLayoutId id="2147485020" r:id="rId18"/>
    <p:sldLayoutId id="2147484971" r:id="rId19"/>
    <p:sldLayoutId id="2147484972" r:id="rId20"/>
  </p:sldLayoutIdLst>
  <p:transition>
    <p:fade/>
  </p:transition>
  <p:hf sldNum="0" hdr="0" ftr="0" dt="0"/>
  <p:txStyles>
    <p:titleStyle>
      <a:lvl1pPr algn="l" defTabSz="931863" rtl="0" eaLnBrk="1" fontAlgn="base" hangingPunct="1">
        <a:spcBef>
          <a:spcPct val="0"/>
        </a:spcBef>
        <a:spcAft>
          <a:spcPct val="0"/>
        </a:spcAft>
        <a:defRPr lang="en-US" sz="3600" b="0" i="0" kern="1200" spc="-50" dirty="0">
          <a:ln w="3175">
            <a:noFill/>
          </a:ln>
          <a:solidFill>
            <a:schemeClr val="tx1"/>
          </a:solidFill>
          <a:latin typeface="72" panose="020B0503030000000003" pitchFamily="34" charset="0"/>
          <a:ea typeface="+mn-ea"/>
          <a:cs typeface="72" panose="020B0503030000000003" pitchFamily="34" charset="0"/>
        </a:defRPr>
      </a:lvl1pPr>
      <a:lvl2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228600" indent="-228600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2800" b="0" i="0" kern="1200">
          <a:solidFill>
            <a:schemeClr val="tx1"/>
          </a:solidFill>
          <a:latin typeface="72" panose="020B0503030000000003" pitchFamily="34" charset="0"/>
          <a:ea typeface="+mn-ea"/>
          <a:cs typeface="72" panose="020B0503030000000003" pitchFamily="34" charset="0"/>
        </a:defRPr>
      </a:lvl1pPr>
      <a:lvl2pPr marL="457200" indent="-228600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2000" b="0" i="0" kern="1200">
          <a:solidFill>
            <a:schemeClr val="tx1"/>
          </a:solidFill>
          <a:latin typeface="72" panose="020B0503030000000003" pitchFamily="34" charset="0"/>
          <a:ea typeface="+mn-ea"/>
          <a:cs typeface="72" panose="020B0503030000000003" pitchFamily="34" charset="0"/>
        </a:defRPr>
      </a:lvl2pPr>
      <a:lvl3pPr marL="657225" indent="-20002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600" b="0" i="0" kern="1200">
          <a:solidFill>
            <a:schemeClr val="tx1"/>
          </a:solidFill>
          <a:latin typeface="72" panose="020B0503030000000003" pitchFamily="34" charset="0"/>
          <a:ea typeface="+mn-ea"/>
          <a:cs typeface="72" panose="020B0503030000000003" pitchFamily="34" charset="0"/>
        </a:defRPr>
      </a:lvl3pPr>
      <a:lvl4pPr marL="842963" indent="-18097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400" b="0" i="0" kern="1200">
          <a:solidFill>
            <a:schemeClr val="tx1"/>
          </a:solidFill>
          <a:latin typeface="72" panose="020B0503030000000003" pitchFamily="34" charset="0"/>
          <a:ea typeface="+mn-ea"/>
          <a:cs typeface="72" panose="020B0503030000000003" pitchFamily="34" charset="0"/>
        </a:defRPr>
      </a:lvl4pPr>
      <a:lvl5pPr marL="1023938" indent="-16827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400" b="0" i="0" kern="1200">
          <a:solidFill>
            <a:schemeClr val="tx1"/>
          </a:solidFill>
          <a:latin typeface="72" panose="020B0503030000000003" pitchFamily="34" charset="0"/>
          <a:ea typeface="+mn-ea"/>
          <a:cs typeface="72" panose="020B0503030000000003" pitchFamily="34" charset="0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54">
          <p15:clr>
            <a:srgbClr val="F26B43"/>
          </p15:clr>
        </p15:guide>
        <p15:guide id="2" pos="360">
          <p15:clr>
            <a:srgbClr val="F26B43"/>
          </p15:clr>
        </p15:guide>
        <p15:guide id="3" pos="7320">
          <p15:clr>
            <a:srgbClr val="F26B43"/>
          </p15:clr>
        </p15:guide>
        <p15:guide id="4" orient="horz" pos="360">
          <p15:clr>
            <a:srgbClr val="F26B43"/>
          </p15:clr>
        </p15:guide>
        <p15:guide id="5" pos="184">
          <p15:clr>
            <a:srgbClr val="F26B43"/>
          </p15:clr>
        </p15:guide>
        <p15:guide id="6" pos="7496">
          <p15:clr>
            <a:srgbClr val="F26B43"/>
          </p15:clr>
        </p15:guide>
        <p15:guide id="7" orient="horz" pos="175">
          <p15:clr>
            <a:srgbClr val="F26B43"/>
          </p15:clr>
        </p15:guide>
        <p15:guide id="8" orient="horz" pos="4134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1060CA3-1FB9-13FD-54C2-28855DFC6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202842801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54" imgW="7772400" imgH="10058400" progId="TCLayout.ActiveDocument.1">
                  <p:embed/>
                </p:oleObj>
              </mc:Choice>
              <mc:Fallback>
                <p:oleObj name="think-cell Folie" r:id="rId154" imgW="7772400" imgH="1005840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81060CA3-1FB9-13FD-54C2-28855DFC6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Slide number"/>
          <p:cNvSpPr txBox="1"/>
          <p:nvPr userDrawn="1"/>
        </p:nvSpPr>
        <p:spPr bwMode="black">
          <a:xfrm>
            <a:off x="11546406" y="6536752"/>
            <a:ext cx="141027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lvl="0" indent="0" algn="r">
              <a:buNone/>
            </a:pPr>
            <a:fld id="{0BDC132A-5C91-4078-9777-31DA19A62E0A}" type="slidenum">
              <a:rPr lang="en-US" sz="900" noProof="0" smtClean="0"/>
              <a:pPr marL="0" lvl="0" indent="0" algn="r">
                <a:buNone/>
              </a:pPr>
              <a:t>‹#›</a:t>
            </a:fld>
            <a:endParaRPr lang="en-US" sz="900" noProof="0"/>
          </a:p>
        </p:txBody>
      </p:sp>
      <p:sp>
        <p:nvSpPr>
          <p:cNvPr id="12" name="Copyright Placeholder" descr="{&quot;templafy&quot;:{&quot;id&quot;:&quot;3fb88df3-eaa2-4d6d-adef-56a3d48829d6&quot;}}">
            <a:extLst>
              <a:ext uri="{FF2B5EF4-FFF2-40B4-BE49-F238E27FC236}">
                <a16:creationId xmlns:a16="http://schemas.microsoft.com/office/drawing/2014/main" id="{539D88F9-B48F-F143-B90F-EDFB85A350E8}"/>
              </a:ext>
            </a:extLst>
          </p:cNvPr>
          <p:cNvSpPr txBox="1">
            <a:spLocks/>
          </p:cNvSpPr>
          <p:nvPr userDrawn="1"/>
        </p:nvSpPr>
        <p:spPr>
          <a:xfrm>
            <a:off x="503870" y="6536751"/>
            <a:ext cx="10152956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/>
              <a:t>Public</a:t>
            </a:r>
          </a:p>
        </p:txBody>
      </p:sp>
      <p:sp>
        <p:nvSpPr>
          <p:cNvPr id="3" name="Text Placeholder"/>
          <p:cNvSpPr>
            <a:spLocks noGrp="1"/>
          </p:cNvSpPr>
          <p:nvPr userDrawn="1">
            <p:ph type="body" idx="1"/>
          </p:nvPr>
        </p:nvSpPr>
        <p:spPr bwMode="black">
          <a:xfrm>
            <a:off x="503870" y="1620000"/>
            <a:ext cx="11183564" cy="471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Placeholder"/>
          <p:cNvSpPr>
            <a:spLocks noGrp="1"/>
          </p:cNvSpPr>
          <p:nvPr userDrawn="1">
            <p:ph type="title"/>
          </p:nvPr>
        </p:nvSpPr>
        <p:spPr bwMode="black">
          <a:xfrm>
            <a:off x="503870" y="504000"/>
            <a:ext cx="11183564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/>
              <a:t>Insert page title (sentence case)</a:t>
            </a:r>
          </a:p>
        </p:txBody>
      </p:sp>
      <p:grpSp>
        <p:nvGrpSpPr>
          <p:cNvPr id="6" name="Harvey 3" hidden="1">
            <a:extLst>
              <a:ext uri="{FF2B5EF4-FFF2-40B4-BE49-F238E27FC236}">
                <a16:creationId xmlns:a16="http://schemas.microsoft.com/office/drawing/2014/main" id="{B3E7C216-6801-4AB8-8D95-E7D60F39B210}"/>
              </a:ext>
            </a:extLst>
          </p:cNvPr>
          <p:cNvGrpSpPr>
            <a:grpSpLocks/>
          </p:cNvGrpSpPr>
          <p:nvPr userDrawn="1">
            <p:custDataLst>
              <p:tags r:id="rId31"/>
            </p:custDataLst>
          </p:nvPr>
        </p:nvGrpSpPr>
        <p:grpSpPr>
          <a:xfrm>
            <a:off x="3937773" y="3978000"/>
            <a:ext cx="1024611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7" name="Harvey 0/3 [0]">
              <a:extLst>
                <a:ext uri="{FF2B5EF4-FFF2-40B4-BE49-F238E27FC236}">
                  <a16:creationId xmlns:a16="http://schemas.microsoft.com/office/drawing/2014/main" id="{FC8CECD5-A3FB-4DD5-A846-DC09FDB6EB04}"/>
                </a:ext>
              </a:extLst>
            </p:cNvPr>
            <p:cNvSpPr>
              <a:spLocks noChangeAspect="1"/>
            </p:cNvSpPr>
            <p:nvPr>
              <p:custDataLst>
                <p:tags r:id="rId15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>
                <a:solidFill>
                  <a:schemeClr val="tx1"/>
                </a:solidFill>
              </a:endParaRPr>
            </a:p>
          </p:txBody>
        </p:sp>
        <p:sp>
          <p:nvSpPr>
            <p:cNvPr id="8" name="Harvey 1/3 [1]">
              <a:extLst>
                <a:ext uri="{FF2B5EF4-FFF2-40B4-BE49-F238E27FC236}">
                  <a16:creationId xmlns:a16="http://schemas.microsoft.com/office/drawing/2014/main" id="{750B853B-8389-4427-AFB9-1CE880FE9BEE}"/>
                </a:ext>
              </a:extLst>
            </p:cNvPr>
            <p:cNvSpPr>
              <a:spLocks noChangeAspect="1"/>
            </p:cNvSpPr>
            <p:nvPr>
              <p:custDataLst>
                <p:tags r:id="rId15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2463" y="476249"/>
                  </a:moveTo>
                  <a:arcTo wR="317500" hR="317500" stAng="1800000" swAng="14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>
                <a:solidFill>
                  <a:schemeClr val="tx1"/>
                </a:solidFill>
              </a:endParaRPr>
            </a:p>
          </p:txBody>
        </p:sp>
        <p:sp>
          <p:nvSpPr>
            <p:cNvPr id="9" name="Harvey 2/3 [2]">
              <a:extLst>
                <a:ext uri="{FF2B5EF4-FFF2-40B4-BE49-F238E27FC236}">
                  <a16:creationId xmlns:a16="http://schemas.microsoft.com/office/drawing/2014/main" id="{0CA9A207-7055-4A72-8ED2-D82605C3D0C8}"/>
                </a:ext>
              </a:extLst>
            </p:cNvPr>
            <p:cNvSpPr>
              <a:spLocks noChangeAspect="1"/>
            </p:cNvSpPr>
            <p:nvPr>
              <p:custDataLst>
                <p:tags r:id="rId15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2536" y="476250"/>
                  </a:moveTo>
                  <a:arcTo wR="317500" hR="317500" stAng="9000000" swAng="7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>
                <a:solidFill>
                  <a:schemeClr val="tx1"/>
                </a:solidFill>
              </a:endParaRPr>
            </a:p>
          </p:txBody>
        </p:sp>
        <p:sp>
          <p:nvSpPr>
            <p:cNvPr id="10" name="Harvey 3/3 [3]">
              <a:extLst>
                <a:ext uri="{FF2B5EF4-FFF2-40B4-BE49-F238E27FC236}">
                  <a16:creationId xmlns:a16="http://schemas.microsoft.com/office/drawing/2014/main" id="{4422C816-875A-41F5-9DC0-8DBAE4C5C6CB}"/>
                </a:ext>
              </a:extLst>
            </p:cNvPr>
            <p:cNvSpPr>
              <a:spLocks noChangeAspect="1"/>
            </p:cNvSpPr>
            <p:nvPr>
              <p:custDataLst>
                <p:tags r:id="rId15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>
                <a:solidFill>
                  <a:schemeClr val="tx1"/>
                </a:solidFill>
              </a:endParaRPr>
            </a:p>
          </p:txBody>
        </p:sp>
      </p:grpSp>
      <p:grpSp>
        <p:nvGrpSpPr>
          <p:cNvPr id="11" name="Harvey 4" hidden="1">
            <a:extLst>
              <a:ext uri="{FF2B5EF4-FFF2-40B4-BE49-F238E27FC236}">
                <a16:creationId xmlns:a16="http://schemas.microsoft.com/office/drawing/2014/main" id="{DDC5C333-7028-4F79-8940-98DC17723588}"/>
              </a:ext>
            </a:extLst>
          </p:cNvPr>
          <p:cNvGrpSpPr>
            <a:grpSpLocks/>
          </p:cNvGrpSpPr>
          <p:nvPr userDrawn="1">
            <p:custDataLst>
              <p:tags r:id="rId32"/>
            </p:custDataLst>
          </p:nvPr>
        </p:nvGrpSpPr>
        <p:grpSpPr>
          <a:xfrm>
            <a:off x="5390102" y="3978000"/>
            <a:ext cx="1024611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3" name="Harvey 0/4 [0]">
              <a:extLst>
                <a:ext uri="{FF2B5EF4-FFF2-40B4-BE49-F238E27FC236}">
                  <a16:creationId xmlns:a16="http://schemas.microsoft.com/office/drawing/2014/main" id="{70B331E2-39A8-4BAF-8DDD-C631B51EB56E}"/>
                </a:ext>
              </a:extLst>
            </p:cNvPr>
            <p:cNvSpPr>
              <a:spLocks noChangeAspect="1"/>
            </p:cNvSpPr>
            <p:nvPr>
              <p:custDataLst>
                <p:tags r:id="rId14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>
                <a:solidFill>
                  <a:schemeClr val="tx1"/>
                </a:solidFill>
              </a:endParaRPr>
            </a:p>
          </p:txBody>
        </p:sp>
        <p:sp>
          <p:nvSpPr>
            <p:cNvPr id="14" name="Harvey 1/4 [1]">
              <a:extLst>
                <a:ext uri="{FF2B5EF4-FFF2-40B4-BE49-F238E27FC236}">
                  <a16:creationId xmlns:a16="http://schemas.microsoft.com/office/drawing/2014/main" id="{47F66FBA-2801-4875-BD13-0BF512FC3C6A}"/>
                </a:ext>
              </a:extLst>
            </p:cNvPr>
            <p:cNvSpPr>
              <a:spLocks noChangeAspect="1"/>
            </p:cNvSpPr>
            <p:nvPr>
              <p:custDataLst>
                <p:tags r:id="rId14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>
                <a:solidFill>
                  <a:schemeClr val="tx1"/>
                </a:solidFill>
              </a:endParaRPr>
            </a:p>
          </p:txBody>
        </p:sp>
        <p:sp>
          <p:nvSpPr>
            <p:cNvPr id="15" name="Harvey 2/4 [2]">
              <a:extLst>
                <a:ext uri="{FF2B5EF4-FFF2-40B4-BE49-F238E27FC236}">
                  <a16:creationId xmlns:a16="http://schemas.microsoft.com/office/drawing/2014/main" id="{99673DAB-5272-45DC-B222-CA8CAA9FD2BB}"/>
                </a:ext>
              </a:extLst>
            </p:cNvPr>
            <p:cNvSpPr>
              <a:spLocks noChangeAspect="1"/>
            </p:cNvSpPr>
            <p:nvPr>
              <p:custDataLst>
                <p:tags r:id="rId14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>
                <a:solidFill>
                  <a:schemeClr val="tx1"/>
                </a:solidFill>
              </a:endParaRPr>
            </a:p>
          </p:txBody>
        </p:sp>
        <p:sp>
          <p:nvSpPr>
            <p:cNvPr id="16" name="Harvey 3/4 [3]">
              <a:extLst>
                <a:ext uri="{FF2B5EF4-FFF2-40B4-BE49-F238E27FC236}">
                  <a16:creationId xmlns:a16="http://schemas.microsoft.com/office/drawing/2014/main" id="{F9B9444B-C98D-45FC-BA92-881D06827328}"/>
                </a:ext>
              </a:extLst>
            </p:cNvPr>
            <p:cNvSpPr>
              <a:spLocks noChangeAspect="1"/>
            </p:cNvSpPr>
            <p:nvPr>
              <p:custDataLst>
                <p:tags r:id="rId14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>
                <a:solidFill>
                  <a:schemeClr val="tx1"/>
                </a:solidFill>
              </a:endParaRPr>
            </a:p>
          </p:txBody>
        </p:sp>
        <p:sp>
          <p:nvSpPr>
            <p:cNvPr id="17" name="Harvey 4/4 [4]">
              <a:extLst>
                <a:ext uri="{FF2B5EF4-FFF2-40B4-BE49-F238E27FC236}">
                  <a16:creationId xmlns:a16="http://schemas.microsoft.com/office/drawing/2014/main" id="{5FFB853D-F550-4F16-8269-A070A19E381C}"/>
                </a:ext>
              </a:extLst>
            </p:cNvPr>
            <p:cNvSpPr>
              <a:spLocks noChangeAspect="1"/>
            </p:cNvSpPr>
            <p:nvPr>
              <p:custDataLst>
                <p:tags r:id="rId14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>
                <a:solidFill>
                  <a:schemeClr val="tx1"/>
                </a:solidFill>
              </a:endParaRPr>
            </a:p>
          </p:txBody>
        </p:sp>
      </p:grpSp>
      <p:grpSp>
        <p:nvGrpSpPr>
          <p:cNvPr id="18" name="Harvey 8" hidden="1">
            <a:extLst>
              <a:ext uri="{FF2B5EF4-FFF2-40B4-BE49-F238E27FC236}">
                <a16:creationId xmlns:a16="http://schemas.microsoft.com/office/drawing/2014/main" id="{0630AB66-7B5F-41CE-A2EB-2EB4C67794AE}"/>
              </a:ext>
            </a:extLst>
          </p:cNvPr>
          <p:cNvGrpSpPr>
            <a:grpSpLocks/>
          </p:cNvGrpSpPr>
          <p:nvPr userDrawn="1">
            <p:custDataLst>
              <p:tags r:id="rId33"/>
            </p:custDataLst>
          </p:nvPr>
        </p:nvGrpSpPr>
        <p:grpSpPr>
          <a:xfrm>
            <a:off x="6842432" y="3978000"/>
            <a:ext cx="1024611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9" name="Harvey 0/8 [0]">
              <a:extLst>
                <a:ext uri="{FF2B5EF4-FFF2-40B4-BE49-F238E27FC236}">
                  <a16:creationId xmlns:a16="http://schemas.microsoft.com/office/drawing/2014/main" id="{051D5678-1EFE-40CF-8563-B5E9EA35A271}"/>
                </a:ext>
              </a:extLst>
            </p:cNvPr>
            <p:cNvSpPr>
              <a:spLocks noChangeAspect="1"/>
            </p:cNvSpPr>
            <p:nvPr>
              <p:custDataLst>
                <p:tags r:id="rId13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>
                <a:solidFill>
                  <a:schemeClr val="tx1"/>
                </a:solidFill>
              </a:endParaRPr>
            </a:p>
          </p:txBody>
        </p:sp>
        <p:sp>
          <p:nvSpPr>
            <p:cNvPr id="20" name="Harvey 1/8 [1]">
              <a:extLst>
                <a:ext uri="{FF2B5EF4-FFF2-40B4-BE49-F238E27FC236}">
                  <a16:creationId xmlns:a16="http://schemas.microsoft.com/office/drawing/2014/main" id="{E5DDEB4B-B8B3-42DA-AF30-4FD0A1770D91}"/>
                </a:ext>
              </a:extLst>
            </p:cNvPr>
            <p:cNvSpPr>
              <a:spLocks noChangeAspect="1"/>
            </p:cNvSpPr>
            <p:nvPr>
              <p:custDataLst>
                <p:tags r:id="rId13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7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92993"/>
                  </a:moveTo>
                  <a:arcTo wR="317500" hR="317500" stAng="-2700000" swAng="189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>
                <a:solidFill>
                  <a:schemeClr val="tx1"/>
                </a:solidFill>
              </a:endParaRPr>
            </a:p>
          </p:txBody>
        </p:sp>
        <p:sp>
          <p:nvSpPr>
            <p:cNvPr id="21" name="Harvey 2/8 [2]">
              <a:extLst>
                <a:ext uri="{FF2B5EF4-FFF2-40B4-BE49-F238E27FC236}">
                  <a16:creationId xmlns:a16="http://schemas.microsoft.com/office/drawing/2014/main" id="{FB9200C4-0418-4CEF-BBB8-18F997AD7CA8}"/>
                </a:ext>
              </a:extLst>
            </p:cNvPr>
            <p:cNvSpPr>
              <a:spLocks noChangeAspect="1"/>
            </p:cNvSpPr>
            <p:nvPr>
              <p:custDataLst>
                <p:tags r:id="rId13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>
                <a:solidFill>
                  <a:schemeClr val="tx1"/>
                </a:solidFill>
              </a:endParaRPr>
            </a:p>
          </p:txBody>
        </p:sp>
        <p:sp>
          <p:nvSpPr>
            <p:cNvPr id="22" name="Harvey 3/8 [3]">
              <a:extLst>
                <a:ext uri="{FF2B5EF4-FFF2-40B4-BE49-F238E27FC236}">
                  <a16:creationId xmlns:a16="http://schemas.microsoft.com/office/drawing/2014/main" id="{8E4DE7E8-0809-4E2E-BE6A-E989A6AEBF62}"/>
                </a:ext>
              </a:extLst>
            </p:cNvPr>
            <p:cNvSpPr>
              <a:spLocks noChangeAspect="1"/>
            </p:cNvSpPr>
            <p:nvPr>
              <p:custDataLst>
                <p:tags r:id="rId13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1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542006"/>
                  </a:moveTo>
                  <a:arcTo wR="317500" hR="317500" stAng="2700000" swAng="135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>
                <a:solidFill>
                  <a:schemeClr val="tx1"/>
                </a:solidFill>
              </a:endParaRPr>
            </a:p>
          </p:txBody>
        </p:sp>
        <p:sp>
          <p:nvSpPr>
            <p:cNvPr id="23" name="Harvey 4/8 [4]">
              <a:extLst>
                <a:ext uri="{FF2B5EF4-FFF2-40B4-BE49-F238E27FC236}">
                  <a16:creationId xmlns:a16="http://schemas.microsoft.com/office/drawing/2014/main" id="{F839E6A9-0DED-402B-8F4C-2176769B55CD}"/>
                </a:ext>
              </a:extLst>
            </p:cNvPr>
            <p:cNvSpPr>
              <a:spLocks noChangeAspect="1"/>
            </p:cNvSpPr>
            <p:nvPr>
              <p:custDataLst>
                <p:tags r:id="rId14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>
                <a:solidFill>
                  <a:schemeClr val="tx1"/>
                </a:solidFill>
              </a:endParaRPr>
            </a:p>
          </p:txBody>
        </p:sp>
        <p:sp>
          <p:nvSpPr>
            <p:cNvPr id="24" name="Harvey 5/8 [5]">
              <a:extLst>
                <a:ext uri="{FF2B5EF4-FFF2-40B4-BE49-F238E27FC236}">
                  <a16:creationId xmlns:a16="http://schemas.microsoft.com/office/drawing/2014/main" id="{C3EE8663-AD08-4237-8344-6543EC4B688C}"/>
                </a:ext>
              </a:extLst>
            </p:cNvPr>
            <p:cNvSpPr>
              <a:spLocks noChangeAspect="1"/>
            </p:cNvSpPr>
            <p:nvPr>
              <p:custDataLst>
                <p:tags r:id="rId14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5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542006"/>
                  </a:moveTo>
                  <a:arcTo wR="317500" hR="317500" stAng="8100000" swAng="81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>
                <a:solidFill>
                  <a:schemeClr val="tx1"/>
                </a:solidFill>
              </a:endParaRPr>
            </a:p>
          </p:txBody>
        </p:sp>
        <p:sp>
          <p:nvSpPr>
            <p:cNvPr id="25" name="Harvey 6/8 [6]">
              <a:extLst>
                <a:ext uri="{FF2B5EF4-FFF2-40B4-BE49-F238E27FC236}">
                  <a16:creationId xmlns:a16="http://schemas.microsoft.com/office/drawing/2014/main" id="{ADE6F931-D156-4E59-A3ED-0B14B5F0EF7E}"/>
                </a:ext>
              </a:extLst>
            </p:cNvPr>
            <p:cNvSpPr>
              <a:spLocks noChangeAspect="1"/>
            </p:cNvSpPr>
            <p:nvPr>
              <p:custDataLst>
                <p:tags r:id="rId14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>
                <a:solidFill>
                  <a:schemeClr val="tx1"/>
                </a:solidFill>
              </a:endParaRPr>
            </a:p>
          </p:txBody>
        </p:sp>
        <p:sp>
          <p:nvSpPr>
            <p:cNvPr id="26" name="Harvey 7/8 [7]">
              <a:extLst>
                <a:ext uri="{FF2B5EF4-FFF2-40B4-BE49-F238E27FC236}">
                  <a16:creationId xmlns:a16="http://schemas.microsoft.com/office/drawing/2014/main" id="{A36821AE-2FF1-4F6E-AAF3-1BEA6AE153B8}"/>
                </a:ext>
              </a:extLst>
            </p:cNvPr>
            <p:cNvSpPr>
              <a:spLocks noChangeAspect="1"/>
            </p:cNvSpPr>
            <p:nvPr>
              <p:custDataLst>
                <p:tags r:id="rId14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9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92993"/>
                  </a:moveTo>
                  <a:arcTo wR="317500" hR="317500" stAng="13500000" swAng="27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>
                <a:solidFill>
                  <a:schemeClr val="tx1"/>
                </a:solidFill>
              </a:endParaRPr>
            </a:p>
          </p:txBody>
        </p:sp>
        <p:sp>
          <p:nvSpPr>
            <p:cNvPr id="27" name="Harvey 8/8 [8]">
              <a:extLst>
                <a:ext uri="{FF2B5EF4-FFF2-40B4-BE49-F238E27FC236}">
                  <a16:creationId xmlns:a16="http://schemas.microsoft.com/office/drawing/2014/main" id="{2D277E47-45D5-4503-8443-BED560C6560A}"/>
                </a:ext>
              </a:extLst>
            </p:cNvPr>
            <p:cNvSpPr>
              <a:spLocks noChangeAspect="1"/>
            </p:cNvSpPr>
            <p:nvPr>
              <p:custDataLst>
                <p:tags r:id="rId14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>
                <a:solidFill>
                  <a:schemeClr val="tx1"/>
                </a:solidFill>
              </a:endParaRPr>
            </a:p>
          </p:txBody>
        </p:sp>
      </p:grpSp>
      <p:grpSp>
        <p:nvGrpSpPr>
          <p:cNvPr id="28" name="Harvey 100" hidden="1">
            <a:extLst>
              <a:ext uri="{FF2B5EF4-FFF2-40B4-BE49-F238E27FC236}">
                <a16:creationId xmlns:a16="http://schemas.microsoft.com/office/drawing/2014/main" id="{6D5D9337-395C-4FE4-97E6-E1CD47A644E9}"/>
              </a:ext>
            </a:extLst>
          </p:cNvPr>
          <p:cNvGrpSpPr/>
          <p:nvPr userDrawn="1">
            <p:custDataLst>
              <p:tags r:id="rId34"/>
            </p:custDataLst>
          </p:nvPr>
        </p:nvGrpSpPr>
        <p:grpSpPr>
          <a:xfrm>
            <a:off x="8294762" y="3978000"/>
            <a:ext cx="1024611" cy="1024878"/>
            <a:chOff x="4334905" y="3282696"/>
            <a:chExt cx="292608" cy="292608"/>
          </a:xfrm>
          <a:solidFill>
            <a:schemeClr val="accent1"/>
          </a:solidFill>
        </p:grpSpPr>
        <p:sp>
          <p:nvSpPr>
            <p:cNvPr id="29" name="Harvey 0/100 [0]">
              <a:extLst>
                <a:ext uri="{FF2B5EF4-FFF2-40B4-BE49-F238E27FC236}">
                  <a16:creationId xmlns:a16="http://schemas.microsoft.com/office/drawing/2014/main" id="{C2D4C837-2D4B-4D6B-81F8-9B001989609B}"/>
                </a:ext>
              </a:extLst>
            </p:cNvPr>
            <p:cNvSpPr>
              <a:spLocks noChangeAspect="1"/>
            </p:cNvSpPr>
            <p:nvPr>
              <p:custDataLst>
                <p:tags r:id="rId3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30" name="Harvey 1/100 [1]">
              <a:extLst>
                <a:ext uri="{FF2B5EF4-FFF2-40B4-BE49-F238E27FC236}">
                  <a16:creationId xmlns:a16="http://schemas.microsoft.com/office/drawing/2014/main" id="{BACD6AAA-4A1C-46BE-B491-9A4A9C7C56F3}"/>
                </a:ext>
              </a:extLst>
            </p:cNvPr>
            <p:cNvSpPr>
              <a:spLocks noChangeAspect="1"/>
            </p:cNvSpPr>
            <p:nvPr>
              <p:custDataLst>
                <p:tags r:id="rId3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26"/>
                  </a:moveTo>
                  <a:arcTo wR="317500" hR="317500" stAng="-5184000" swAng="213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31" name="Harvey 2/100 [2]">
              <a:extLst>
                <a:ext uri="{FF2B5EF4-FFF2-40B4-BE49-F238E27FC236}">
                  <a16:creationId xmlns:a16="http://schemas.microsoft.com/office/drawing/2014/main" id="{701024C3-4DEF-477C-9CFB-100E0303499E}"/>
                </a:ext>
              </a:extLst>
            </p:cNvPr>
            <p:cNvSpPr>
              <a:spLocks noChangeAspect="1"/>
            </p:cNvSpPr>
            <p:nvPr>
              <p:custDataLst>
                <p:tags r:id="rId3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2503"/>
                  </a:moveTo>
                  <a:arcTo wR="317500" hR="317500" stAng="-4968000" swAng="211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32" name="Harvey 3/100 [3]">
              <a:extLst>
                <a:ext uri="{FF2B5EF4-FFF2-40B4-BE49-F238E27FC236}">
                  <a16:creationId xmlns:a16="http://schemas.microsoft.com/office/drawing/2014/main" id="{46A461CD-8D28-4422-AF2A-8267EFA51CAD}"/>
                </a:ext>
              </a:extLst>
            </p:cNvPr>
            <p:cNvSpPr>
              <a:spLocks noChangeAspect="1"/>
            </p:cNvSpPr>
            <p:nvPr>
              <p:custDataLst>
                <p:tags r:id="rId3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5623"/>
                  </a:moveTo>
                  <a:arcTo wR="317500" hR="317500" stAng="-4752000" swAng="209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33" name="Harvey 4/100 [4]">
              <a:extLst>
                <a:ext uri="{FF2B5EF4-FFF2-40B4-BE49-F238E27FC236}">
                  <a16:creationId xmlns:a16="http://schemas.microsoft.com/office/drawing/2014/main" id="{0A337C3A-F021-437D-9E3D-FDE5AF266029}"/>
                </a:ext>
              </a:extLst>
            </p:cNvPr>
            <p:cNvSpPr>
              <a:spLocks noChangeAspect="1"/>
            </p:cNvSpPr>
            <p:nvPr>
              <p:custDataLst>
                <p:tags r:id="rId3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9974"/>
                  </a:moveTo>
                  <a:arcTo wR="317500" hR="317500" stAng="-4536000" swAng="2073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35" name="Harvey 5/100 [5]">
              <a:extLst>
                <a:ext uri="{FF2B5EF4-FFF2-40B4-BE49-F238E27FC236}">
                  <a16:creationId xmlns:a16="http://schemas.microsoft.com/office/drawing/2014/main" id="{BDF66AF7-3D75-4118-B7E6-241B2C41B2C9}"/>
                </a:ext>
              </a:extLst>
            </p:cNvPr>
            <p:cNvSpPr>
              <a:spLocks noChangeAspect="1"/>
            </p:cNvSpPr>
            <p:nvPr>
              <p:custDataLst>
                <p:tags r:id="rId4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15539"/>
                  </a:moveTo>
                  <a:arcTo wR="317500" hR="317500" stAng="-4320000" swAng="2052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36" name="Harvey 6/100 [6]">
              <a:extLst>
                <a:ext uri="{FF2B5EF4-FFF2-40B4-BE49-F238E27FC236}">
                  <a16:creationId xmlns:a16="http://schemas.microsoft.com/office/drawing/2014/main" id="{E74E7438-4315-4097-9BA7-F0CE3252AC14}"/>
                </a:ext>
              </a:extLst>
            </p:cNvPr>
            <p:cNvSpPr>
              <a:spLocks noChangeAspect="1"/>
            </p:cNvSpPr>
            <p:nvPr>
              <p:custDataLst>
                <p:tags r:id="rId4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22295"/>
                  </a:moveTo>
                  <a:arcTo wR="317500" hR="317500" stAng="-4104000" swAng="2030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37" name="Harvey 7/100 [7]">
              <a:extLst>
                <a:ext uri="{FF2B5EF4-FFF2-40B4-BE49-F238E27FC236}">
                  <a16:creationId xmlns:a16="http://schemas.microsoft.com/office/drawing/2014/main" id="{FEBA4E91-97BB-4DAC-B193-66FA4828DB26}"/>
                </a:ext>
              </a:extLst>
            </p:cNvPr>
            <p:cNvSpPr>
              <a:spLocks noChangeAspect="1"/>
            </p:cNvSpPr>
            <p:nvPr>
              <p:custDataLst>
                <p:tags r:id="rId4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30217"/>
                  </a:moveTo>
                  <a:arcTo wR="317500" hR="317500" stAng="-3888000" swAng="200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38" name="Harvey 8/100 [8]">
              <a:extLst>
                <a:ext uri="{FF2B5EF4-FFF2-40B4-BE49-F238E27FC236}">
                  <a16:creationId xmlns:a16="http://schemas.microsoft.com/office/drawing/2014/main" id="{EEB85E02-177B-40CF-B926-A4423CC7C827}"/>
                </a:ext>
              </a:extLst>
            </p:cNvPr>
            <p:cNvSpPr>
              <a:spLocks noChangeAspect="1"/>
            </p:cNvSpPr>
            <p:nvPr>
              <p:custDataLst>
                <p:tags r:id="rId4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39272"/>
                  </a:moveTo>
                  <a:arcTo wR="317500" hR="317500" stAng="-3672000" swAng="198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39" name="Harvey 9/100 [9]">
              <a:extLst>
                <a:ext uri="{FF2B5EF4-FFF2-40B4-BE49-F238E27FC236}">
                  <a16:creationId xmlns:a16="http://schemas.microsoft.com/office/drawing/2014/main" id="{C133BC7F-B0E3-404F-92D1-BB930C4F3311}"/>
                </a:ext>
              </a:extLst>
            </p:cNvPr>
            <p:cNvSpPr>
              <a:spLocks noChangeAspect="1"/>
            </p:cNvSpPr>
            <p:nvPr>
              <p:custDataLst>
                <p:tags r:id="rId4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49425"/>
                  </a:moveTo>
                  <a:arcTo wR="317500" hR="317500" stAng="-3456000" swAng="196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40" name="Harvey 10/100 [10]">
              <a:extLst>
                <a:ext uri="{FF2B5EF4-FFF2-40B4-BE49-F238E27FC236}">
                  <a16:creationId xmlns:a16="http://schemas.microsoft.com/office/drawing/2014/main" id="{F2FB72A6-CDF7-48B3-A3B8-5A5FC061802C}"/>
                </a:ext>
              </a:extLst>
            </p:cNvPr>
            <p:cNvSpPr>
              <a:spLocks noChangeAspect="1"/>
            </p:cNvSpPr>
            <p:nvPr>
              <p:custDataLst>
                <p:tags r:id="rId4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60637"/>
                  </a:moveTo>
                  <a:arcTo wR="317500" hR="317500" stAng="-3240000" swAng="194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41" name="Harvey 11/100 [11]">
              <a:extLst>
                <a:ext uri="{FF2B5EF4-FFF2-40B4-BE49-F238E27FC236}">
                  <a16:creationId xmlns:a16="http://schemas.microsoft.com/office/drawing/2014/main" id="{F3110C8B-1B18-4579-AB3F-0F4A0840CF38}"/>
                </a:ext>
              </a:extLst>
            </p:cNvPr>
            <p:cNvSpPr>
              <a:spLocks noChangeAspect="1"/>
            </p:cNvSpPr>
            <p:nvPr>
              <p:custDataLst>
                <p:tags r:id="rId4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3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72862"/>
                  </a:moveTo>
                  <a:arcTo wR="317500" hR="317500" stAng="-3024000" swAng="192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42" name="Harvey 12/100 [12]">
              <a:extLst>
                <a:ext uri="{FF2B5EF4-FFF2-40B4-BE49-F238E27FC236}">
                  <a16:creationId xmlns:a16="http://schemas.microsoft.com/office/drawing/2014/main" id="{84A1B722-E5AC-45F7-9498-7FF502B6FA2B}"/>
                </a:ext>
              </a:extLst>
            </p:cNvPr>
            <p:cNvSpPr>
              <a:spLocks noChangeAspect="1"/>
            </p:cNvSpPr>
            <p:nvPr>
              <p:custDataLst>
                <p:tags r:id="rId4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5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86052"/>
                  </a:moveTo>
                  <a:arcTo wR="317500" hR="317500" stAng="-2808000" swAng="190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43" name="Harvey 13/100 [13]">
              <a:extLst>
                <a:ext uri="{FF2B5EF4-FFF2-40B4-BE49-F238E27FC236}">
                  <a16:creationId xmlns:a16="http://schemas.microsoft.com/office/drawing/2014/main" id="{A5599F20-B957-4DF9-8B04-F2B77AAF0BDB}"/>
                </a:ext>
              </a:extLst>
            </p:cNvPr>
            <p:cNvSpPr>
              <a:spLocks noChangeAspect="1"/>
            </p:cNvSpPr>
            <p:nvPr>
              <p:custDataLst>
                <p:tags r:id="rId4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8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100156"/>
                  </a:moveTo>
                  <a:arcTo wR="317500" hR="317500" stAng="-2591999" swAng="187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44" name="Harvey 14/100 [14]">
              <a:extLst>
                <a:ext uri="{FF2B5EF4-FFF2-40B4-BE49-F238E27FC236}">
                  <a16:creationId xmlns:a16="http://schemas.microsoft.com/office/drawing/2014/main" id="{F74357FC-EB3D-46C4-B56A-5007C9F4FB84}"/>
                </a:ext>
              </a:extLst>
            </p:cNvPr>
            <p:cNvSpPr>
              <a:spLocks noChangeAspect="1"/>
            </p:cNvSpPr>
            <p:nvPr>
              <p:custDataLst>
                <p:tags r:id="rId4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0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115117"/>
                  </a:moveTo>
                  <a:arcTo wR="317500" hR="317500" stAng="-2375999" swAng="185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45" name="Harvey 15/100 [15]">
              <a:extLst>
                <a:ext uri="{FF2B5EF4-FFF2-40B4-BE49-F238E27FC236}">
                  <a16:creationId xmlns:a16="http://schemas.microsoft.com/office/drawing/2014/main" id="{32E8E8F3-9DBC-46F4-9700-CAF071913650}"/>
                </a:ext>
              </a:extLst>
            </p:cNvPr>
            <p:cNvSpPr>
              <a:spLocks noChangeAspect="1"/>
            </p:cNvSpPr>
            <p:nvPr>
              <p:custDataLst>
                <p:tags r:id="rId5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2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130878"/>
                  </a:moveTo>
                  <a:arcTo wR="317500" hR="317500" stAng="-2160000" swAng="183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46" name="Harvey 16/100 [16]">
              <a:extLst>
                <a:ext uri="{FF2B5EF4-FFF2-40B4-BE49-F238E27FC236}">
                  <a16:creationId xmlns:a16="http://schemas.microsoft.com/office/drawing/2014/main" id="{71360883-3CF3-4439-9568-E456C60454A8}"/>
                </a:ext>
              </a:extLst>
            </p:cNvPr>
            <p:cNvSpPr>
              <a:spLocks noChangeAspect="1"/>
            </p:cNvSpPr>
            <p:nvPr>
              <p:custDataLst>
                <p:tags r:id="rId5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4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147374"/>
                  </a:moveTo>
                  <a:arcTo wR="317500" hR="317500" stAng="-1944000" swAng="181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47" name="Harvey 17/100 [17]">
              <a:extLst>
                <a:ext uri="{FF2B5EF4-FFF2-40B4-BE49-F238E27FC236}">
                  <a16:creationId xmlns:a16="http://schemas.microsoft.com/office/drawing/2014/main" id="{AE88FC9E-FB95-4413-AE3E-B8BF504735B5}"/>
                </a:ext>
              </a:extLst>
            </p:cNvPr>
            <p:cNvSpPr>
              <a:spLocks noChangeAspect="1"/>
            </p:cNvSpPr>
            <p:nvPr>
              <p:custDataLst>
                <p:tags r:id="rId5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6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164543"/>
                  </a:moveTo>
                  <a:arcTo wR="317500" hR="317500" stAng="-1727999" swAng="179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48" name="Harvey 18/100 [18]">
              <a:extLst>
                <a:ext uri="{FF2B5EF4-FFF2-40B4-BE49-F238E27FC236}">
                  <a16:creationId xmlns:a16="http://schemas.microsoft.com/office/drawing/2014/main" id="{62593B83-E4BE-4CE8-9B0B-25AF9B7D4254}"/>
                </a:ext>
              </a:extLst>
            </p:cNvPr>
            <p:cNvSpPr>
              <a:spLocks noChangeAspect="1"/>
            </p:cNvSpPr>
            <p:nvPr>
              <p:custDataLst>
                <p:tags r:id="rId5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8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182315"/>
                  </a:moveTo>
                  <a:arcTo wR="317500" hR="317500" stAng="-1512000" swAng="177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49" name="Harvey 19/100 [19]">
              <a:extLst>
                <a:ext uri="{FF2B5EF4-FFF2-40B4-BE49-F238E27FC236}">
                  <a16:creationId xmlns:a16="http://schemas.microsoft.com/office/drawing/2014/main" id="{CD41838E-0172-403D-9B68-FD51310F5400}"/>
                </a:ext>
              </a:extLst>
            </p:cNvPr>
            <p:cNvSpPr>
              <a:spLocks noChangeAspect="1"/>
            </p:cNvSpPr>
            <p:nvPr>
              <p:custDataLst>
                <p:tags r:id="rId5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1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200620"/>
                  </a:moveTo>
                  <a:arcTo wR="317500" hR="317500" stAng="-1295999" swAng="174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50" name="Harvey 20/100 [20]">
              <a:extLst>
                <a:ext uri="{FF2B5EF4-FFF2-40B4-BE49-F238E27FC236}">
                  <a16:creationId xmlns:a16="http://schemas.microsoft.com/office/drawing/2014/main" id="{EDE3F4CF-CB3E-40C2-B070-AC09F1E8FBD5}"/>
                </a:ext>
              </a:extLst>
            </p:cNvPr>
            <p:cNvSpPr>
              <a:spLocks noChangeAspect="1"/>
            </p:cNvSpPr>
            <p:nvPr>
              <p:custDataLst>
                <p:tags r:id="rId5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219387"/>
                  </a:moveTo>
                  <a:arcTo wR="317500" hR="317500" stAng="-1080000" swAng="172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51" name="Harvey 21/100 [21]">
              <a:extLst>
                <a:ext uri="{FF2B5EF4-FFF2-40B4-BE49-F238E27FC236}">
                  <a16:creationId xmlns:a16="http://schemas.microsoft.com/office/drawing/2014/main" id="{CD8E25E7-83D2-4F78-92A7-435281704491}"/>
                </a:ext>
              </a:extLst>
            </p:cNvPr>
            <p:cNvSpPr>
              <a:spLocks noChangeAspect="1"/>
            </p:cNvSpPr>
            <p:nvPr>
              <p:custDataLst>
                <p:tags r:id="rId5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5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238540"/>
                  </a:moveTo>
                  <a:arcTo wR="317500" hR="317500" stAng="-864000" swAng="170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52" name="Harvey 22/100 [22]">
              <a:extLst>
                <a:ext uri="{FF2B5EF4-FFF2-40B4-BE49-F238E27FC236}">
                  <a16:creationId xmlns:a16="http://schemas.microsoft.com/office/drawing/2014/main" id="{C6A696FB-9EFC-47F6-9860-247C48C1FC3D}"/>
                </a:ext>
              </a:extLst>
            </p:cNvPr>
            <p:cNvSpPr>
              <a:spLocks noChangeAspect="1"/>
            </p:cNvSpPr>
            <p:nvPr>
              <p:custDataLst>
                <p:tags r:id="rId5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7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258006"/>
                  </a:moveTo>
                  <a:arcTo wR="317500" hR="317500" stAng="-647999" swAng="168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53" name="Harvey 23/100 [23]">
              <a:extLst>
                <a:ext uri="{FF2B5EF4-FFF2-40B4-BE49-F238E27FC236}">
                  <a16:creationId xmlns:a16="http://schemas.microsoft.com/office/drawing/2014/main" id="{252958D2-EE89-4FBF-BF7B-C8AFAD704413}"/>
                </a:ext>
              </a:extLst>
            </p:cNvPr>
            <p:cNvSpPr>
              <a:spLocks noChangeAspect="1"/>
            </p:cNvSpPr>
            <p:nvPr>
              <p:custDataLst>
                <p:tags r:id="rId5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9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277706"/>
                  </a:moveTo>
                  <a:arcTo wR="317500" hR="317500" stAng="-432000" swAng="166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54" name="Harvey 24/100 [24]">
              <a:extLst>
                <a:ext uri="{FF2B5EF4-FFF2-40B4-BE49-F238E27FC236}">
                  <a16:creationId xmlns:a16="http://schemas.microsoft.com/office/drawing/2014/main" id="{314E82DC-04B6-406C-9D65-1115F4D2AA22}"/>
                </a:ext>
              </a:extLst>
            </p:cNvPr>
            <p:cNvSpPr>
              <a:spLocks noChangeAspect="1"/>
            </p:cNvSpPr>
            <p:nvPr>
              <p:custDataLst>
                <p:tags r:id="rId5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1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297564"/>
                  </a:moveTo>
                  <a:arcTo wR="317500" hR="317500" stAng="-216000" swAng="164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55" name="Harvey 25/100 [25]">
              <a:extLst>
                <a:ext uri="{FF2B5EF4-FFF2-40B4-BE49-F238E27FC236}">
                  <a16:creationId xmlns:a16="http://schemas.microsoft.com/office/drawing/2014/main" id="{669D1B60-A74F-4296-8610-F3DCDDC15022}"/>
                </a:ext>
              </a:extLst>
            </p:cNvPr>
            <p:cNvSpPr>
              <a:spLocks noChangeAspect="1"/>
            </p:cNvSpPr>
            <p:nvPr>
              <p:custDataLst>
                <p:tags r:id="rId6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56" name="Harvey 26/100 [26]">
              <a:extLst>
                <a:ext uri="{FF2B5EF4-FFF2-40B4-BE49-F238E27FC236}">
                  <a16:creationId xmlns:a16="http://schemas.microsoft.com/office/drawing/2014/main" id="{FF6DD112-04B6-4656-AB9D-1F9950FEE2D9}"/>
                </a:ext>
              </a:extLst>
            </p:cNvPr>
            <p:cNvSpPr>
              <a:spLocks noChangeAspect="1"/>
            </p:cNvSpPr>
            <p:nvPr>
              <p:custDataLst>
                <p:tags r:id="rId6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6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337435"/>
                  </a:moveTo>
                  <a:arcTo wR="317500" hR="317500" stAng="216000" swAng="159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57" name="Harvey 27/100 [27]">
              <a:extLst>
                <a:ext uri="{FF2B5EF4-FFF2-40B4-BE49-F238E27FC236}">
                  <a16:creationId xmlns:a16="http://schemas.microsoft.com/office/drawing/2014/main" id="{E2928B53-FC5C-427C-AE65-9286773D84B2}"/>
                </a:ext>
              </a:extLst>
            </p:cNvPr>
            <p:cNvSpPr>
              <a:spLocks noChangeAspect="1"/>
            </p:cNvSpPr>
            <p:nvPr>
              <p:custDataLst>
                <p:tags r:id="rId6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8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357293"/>
                  </a:moveTo>
                  <a:arcTo wR="317500" hR="317500" stAng="432000" swAng="157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58" name="Harvey 28/100 [28]">
              <a:extLst>
                <a:ext uri="{FF2B5EF4-FFF2-40B4-BE49-F238E27FC236}">
                  <a16:creationId xmlns:a16="http://schemas.microsoft.com/office/drawing/2014/main" id="{D8CF4F20-8FEC-47FF-9B86-E818143B2C19}"/>
                </a:ext>
              </a:extLst>
            </p:cNvPr>
            <p:cNvSpPr>
              <a:spLocks noChangeAspect="1"/>
            </p:cNvSpPr>
            <p:nvPr>
              <p:custDataLst>
                <p:tags r:id="rId6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0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376993"/>
                  </a:moveTo>
                  <a:arcTo wR="317500" hR="317500" stAng="648000" swAng="155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59" name="Harvey 29/100 [29]">
              <a:extLst>
                <a:ext uri="{FF2B5EF4-FFF2-40B4-BE49-F238E27FC236}">
                  <a16:creationId xmlns:a16="http://schemas.microsoft.com/office/drawing/2014/main" id="{E1AF074D-4599-4D0E-8078-66303FEBDE44}"/>
                </a:ext>
              </a:extLst>
            </p:cNvPr>
            <p:cNvSpPr>
              <a:spLocks noChangeAspect="1"/>
            </p:cNvSpPr>
            <p:nvPr>
              <p:custDataLst>
                <p:tags r:id="rId6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26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396459"/>
                  </a:moveTo>
                  <a:arcTo wR="317500" hR="317500" stAng="863999" swAng="153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60" name="Harvey 30/100 [30]">
              <a:extLst>
                <a:ext uri="{FF2B5EF4-FFF2-40B4-BE49-F238E27FC236}">
                  <a16:creationId xmlns:a16="http://schemas.microsoft.com/office/drawing/2014/main" id="{2DF9C982-C062-4899-8A5F-20F49AD9E1B5}"/>
                </a:ext>
              </a:extLst>
            </p:cNvPr>
            <p:cNvSpPr>
              <a:spLocks noChangeAspect="1"/>
            </p:cNvSpPr>
            <p:nvPr>
              <p:custDataLst>
                <p:tags r:id="rId6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415612"/>
                  </a:moveTo>
                  <a:arcTo wR="317500" hR="317500" stAng="1080000" swAng="151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61" name="Harvey 31/100 [31]">
              <a:extLst>
                <a:ext uri="{FF2B5EF4-FFF2-40B4-BE49-F238E27FC236}">
                  <a16:creationId xmlns:a16="http://schemas.microsoft.com/office/drawing/2014/main" id="{E98CD797-9DD9-4143-9058-D1ABF95E7406}"/>
                </a:ext>
              </a:extLst>
            </p:cNvPr>
            <p:cNvSpPr>
              <a:spLocks noChangeAspect="1"/>
            </p:cNvSpPr>
            <p:nvPr>
              <p:custDataLst>
                <p:tags r:id="rId6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6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434379"/>
                  </a:moveTo>
                  <a:arcTo wR="317500" hR="317500" stAng="1295999" swAng="149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62" name="Harvey 32/100 [32]">
              <a:extLst>
                <a:ext uri="{FF2B5EF4-FFF2-40B4-BE49-F238E27FC236}">
                  <a16:creationId xmlns:a16="http://schemas.microsoft.com/office/drawing/2014/main" id="{39029FE4-844F-47DA-8FEF-FB68673FF10C}"/>
                </a:ext>
              </a:extLst>
            </p:cNvPr>
            <p:cNvSpPr>
              <a:spLocks noChangeAspect="1"/>
            </p:cNvSpPr>
            <p:nvPr>
              <p:custDataLst>
                <p:tags r:id="rId6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9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452684"/>
                  </a:moveTo>
                  <a:arcTo wR="317500" hR="317500" stAng="1512000" swAng="146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63" name="Harvey 33/100 [33]">
              <a:extLst>
                <a:ext uri="{FF2B5EF4-FFF2-40B4-BE49-F238E27FC236}">
                  <a16:creationId xmlns:a16="http://schemas.microsoft.com/office/drawing/2014/main" id="{B99AA4D4-9C74-447B-89EF-8FD268FF95EE}"/>
                </a:ext>
              </a:extLst>
            </p:cNvPr>
            <p:cNvSpPr>
              <a:spLocks noChangeAspect="1"/>
            </p:cNvSpPr>
            <p:nvPr>
              <p:custDataLst>
                <p:tags r:id="rId6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1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470456"/>
                  </a:moveTo>
                  <a:arcTo wR="317500" hR="317500" stAng="1728000" swAng="144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64" name="Harvey 34/100 [34]">
              <a:extLst>
                <a:ext uri="{FF2B5EF4-FFF2-40B4-BE49-F238E27FC236}">
                  <a16:creationId xmlns:a16="http://schemas.microsoft.com/office/drawing/2014/main" id="{0880CCDE-4DDE-49A8-AFB2-FDDCE314B4D3}"/>
                </a:ext>
              </a:extLst>
            </p:cNvPr>
            <p:cNvSpPr>
              <a:spLocks noChangeAspect="1"/>
            </p:cNvSpPr>
            <p:nvPr>
              <p:custDataLst>
                <p:tags r:id="rId6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3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487625"/>
                  </a:moveTo>
                  <a:arcTo wR="317500" hR="317500" stAng="1944000" swAng="1425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65" name="Harvey 35/100 [35]">
              <a:extLst>
                <a:ext uri="{FF2B5EF4-FFF2-40B4-BE49-F238E27FC236}">
                  <a16:creationId xmlns:a16="http://schemas.microsoft.com/office/drawing/2014/main" id="{F37E834A-F9D8-4623-BC85-60359856CCD0}"/>
                </a:ext>
              </a:extLst>
            </p:cNvPr>
            <p:cNvSpPr>
              <a:spLocks noChangeAspect="1"/>
            </p:cNvSpPr>
            <p:nvPr>
              <p:custDataLst>
                <p:tags r:id="rId7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55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504121"/>
                  </a:moveTo>
                  <a:arcTo wR="317500" hR="317500" stAng="2159999" swAng="140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66" name="Harvey 36/100 [36]">
              <a:extLst>
                <a:ext uri="{FF2B5EF4-FFF2-40B4-BE49-F238E27FC236}">
                  <a16:creationId xmlns:a16="http://schemas.microsoft.com/office/drawing/2014/main" id="{15163940-B229-4368-B727-3714123C78AB}"/>
                </a:ext>
              </a:extLst>
            </p:cNvPr>
            <p:cNvSpPr>
              <a:spLocks noChangeAspect="1"/>
            </p:cNvSpPr>
            <p:nvPr>
              <p:custDataLst>
                <p:tags r:id="rId7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7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519882"/>
                  </a:moveTo>
                  <a:arcTo wR="317500" hR="317500" stAng="2375999" swAng="138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67" name="Harvey 37/100 [37]">
              <a:extLst>
                <a:ext uri="{FF2B5EF4-FFF2-40B4-BE49-F238E27FC236}">
                  <a16:creationId xmlns:a16="http://schemas.microsoft.com/office/drawing/2014/main" id="{64BAECDC-27C7-4333-B9D8-59DE42A1B1AA}"/>
                </a:ext>
              </a:extLst>
            </p:cNvPr>
            <p:cNvSpPr>
              <a:spLocks noChangeAspect="1"/>
            </p:cNvSpPr>
            <p:nvPr>
              <p:custDataLst>
                <p:tags r:id="rId7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9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534843"/>
                  </a:moveTo>
                  <a:arcTo wR="317500" hR="317500" stAng="2591999" swAng="136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68" name="Harvey 38/100 [38]">
              <a:extLst>
                <a:ext uri="{FF2B5EF4-FFF2-40B4-BE49-F238E27FC236}">
                  <a16:creationId xmlns:a16="http://schemas.microsoft.com/office/drawing/2014/main" id="{4F018A0A-A74A-4E47-BC47-203679D4F8C0}"/>
                </a:ext>
              </a:extLst>
            </p:cNvPr>
            <p:cNvSpPr>
              <a:spLocks noChangeAspect="1"/>
            </p:cNvSpPr>
            <p:nvPr>
              <p:custDataLst>
                <p:tags r:id="rId7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2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548947"/>
                  </a:moveTo>
                  <a:arcTo wR="317500" hR="317500" stAng="2808000" swAng="133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69" name="Harvey 39/100 [39]">
              <a:extLst>
                <a:ext uri="{FF2B5EF4-FFF2-40B4-BE49-F238E27FC236}">
                  <a16:creationId xmlns:a16="http://schemas.microsoft.com/office/drawing/2014/main" id="{ACA75957-9FDB-46A2-82EC-77103CBEAC52}"/>
                </a:ext>
              </a:extLst>
            </p:cNvPr>
            <p:cNvSpPr>
              <a:spLocks noChangeAspect="1"/>
            </p:cNvSpPr>
            <p:nvPr>
              <p:custDataLst>
                <p:tags r:id="rId7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4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562137"/>
                  </a:moveTo>
                  <a:arcTo wR="317500" hR="317500" stAng="3024000" swAng="131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70" name="Harvey 40/100 [40]">
              <a:extLst>
                <a:ext uri="{FF2B5EF4-FFF2-40B4-BE49-F238E27FC236}">
                  <a16:creationId xmlns:a16="http://schemas.microsoft.com/office/drawing/2014/main" id="{025DFA7F-A073-422A-8D20-E27D1ABE4342}"/>
                </a:ext>
              </a:extLst>
            </p:cNvPr>
            <p:cNvSpPr>
              <a:spLocks noChangeAspect="1"/>
            </p:cNvSpPr>
            <p:nvPr>
              <p:custDataLst>
                <p:tags r:id="rId7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574362"/>
                  </a:moveTo>
                  <a:arcTo wR="317500" hR="317500" stAng="3240000" swAng="129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71" name="Harvey 41/100 [41]">
              <a:extLst>
                <a:ext uri="{FF2B5EF4-FFF2-40B4-BE49-F238E27FC236}">
                  <a16:creationId xmlns:a16="http://schemas.microsoft.com/office/drawing/2014/main" id="{BF311CE9-A4CB-4965-8F0F-5B6811E9FB20}"/>
                </a:ext>
              </a:extLst>
            </p:cNvPr>
            <p:cNvSpPr>
              <a:spLocks noChangeAspect="1"/>
            </p:cNvSpPr>
            <p:nvPr>
              <p:custDataLst>
                <p:tags r:id="rId7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8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585574"/>
                  </a:moveTo>
                  <a:arcTo wR="317500" hR="317500" stAng="3455999" swAng="127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72" name="Harvey 42/100 [42]">
              <a:extLst>
                <a:ext uri="{FF2B5EF4-FFF2-40B4-BE49-F238E27FC236}">
                  <a16:creationId xmlns:a16="http://schemas.microsoft.com/office/drawing/2014/main" id="{1B415A3D-1E85-4E6A-8BAB-3BB56600BA4F}"/>
                </a:ext>
              </a:extLst>
            </p:cNvPr>
            <p:cNvSpPr>
              <a:spLocks noChangeAspect="1"/>
            </p:cNvSpPr>
            <p:nvPr>
              <p:custDataLst>
                <p:tags r:id="rId7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0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595727"/>
                  </a:moveTo>
                  <a:arcTo wR="317500" hR="317500" stAng="3671999" swAng="125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73" name="Harvey 43/100 [43]">
              <a:extLst>
                <a:ext uri="{FF2B5EF4-FFF2-40B4-BE49-F238E27FC236}">
                  <a16:creationId xmlns:a16="http://schemas.microsoft.com/office/drawing/2014/main" id="{7EAD6077-4487-4E7D-846D-445E65B5291C}"/>
                </a:ext>
              </a:extLst>
            </p:cNvPr>
            <p:cNvSpPr>
              <a:spLocks noChangeAspect="1"/>
            </p:cNvSpPr>
            <p:nvPr>
              <p:custDataLst>
                <p:tags r:id="rId7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2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604782"/>
                  </a:moveTo>
                  <a:arcTo wR="317500" hR="317500" stAng="3888000" swAng="123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74" name="Harvey 44/100 [44]">
              <a:extLst>
                <a:ext uri="{FF2B5EF4-FFF2-40B4-BE49-F238E27FC236}">
                  <a16:creationId xmlns:a16="http://schemas.microsoft.com/office/drawing/2014/main" id="{4B57ADAF-4A83-4CB4-8920-E2B9F994E83E}"/>
                </a:ext>
              </a:extLst>
            </p:cNvPr>
            <p:cNvSpPr>
              <a:spLocks noChangeAspect="1"/>
            </p:cNvSpPr>
            <p:nvPr>
              <p:custDataLst>
                <p:tags r:id="rId7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5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612704"/>
                  </a:moveTo>
                  <a:arcTo wR="317500" hR="317500" stAng="4104000" swAng="120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75" name="Harvey 45/100 [45]">
              <a:extLst>
                <a:ext uri="{FF2B5EF4-FFF2-40B4-BE49-F238E27FC236}">
                  <a16:creationId xmlns:a16="http://schemas.microsoft.com/office/drawing/2014/main" id="{FF3E5416-AC43-4CBB-A32A-A966ED03106F}"/>
                </a:ext>
              </a:extLst>
            </p:cNvPr>
            <p:cNvSpPr>
              <a:spLocks noChangeAspect="1"/>
            </p:cNvSpPr>
            <p:nvPr>
              <p:custDataLst>
                <p:tags r:id="rId8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7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619460"/>
                  </a:moveTo>
                  <a:arcTo wR="317500" hR="317500" stAng="4320000" swAng="118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76" name="Harvey 46/100 [46]">
              <a:extLst>
                <a:ext uri="{FF2B5EF4-FFF2-40B4-BE49-F238E27FC236}">
                  <a16:creationId xmlns:a16="http://schemas.microsoft.com/office/drawing/2014/main" id="{49AFF9C1-C19A-487C-A4C1-47DA87277C3B}"/>
                </a:ext>
              </a:extLst>
            </p:cNvPr>
            <p:cNvSpPr>
              <a:spLocks noChangeAspect="1"/>
            </p:cNvSpPr>
            <p:nvPr>
              <p:custDataLst>
                <p:tags r:id="rId8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9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625025"/>
                  </a:moveTo>
                  <a:arcTo wR="317500" hR="317500" stAng="4536000" swAng="116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77" name="Harvey 47/100 [47]">
              <a:extLst>
                <a:ext uri="{FF2B5EF4-FFF2-40B4-BE49-F238E27FC236}">
                  <a16:creationId xmlns:a16="http://schemas.microsoft.com/office/drawing/2014/main" id="{F35AEE09-D82F-438F-9D01-96C6876241F1}"/>
                </a:ext>
              </a:extLst>
            </p:cNvPr>
            <p:cNvSpPr>
              <a:spLocks noChangeAspect="1"/>
            </p:cNvSpPr>
            <p:nvPr>
              <p:custDataLst>
                <p:tags r:id="rId8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1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629376"/>
                  </a:moveTo>
                  <a:arcTo wR="317500" hR="317500" stAng="4751999" swAng="114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78" name="Harvey 48/100 [48]">
              <a:extLst>
                <a:ext uri="{FF2B5EF4-FFF2-40B4-BE49-F238E27FC236}">
                  <a16:creationId xmlns:a16="http://schemas.microsoft.com/office/drawing/2014/main" id="{4FC3325B-EEB2-4420-9715-1149CEACE9AC}"/>
                </a:ext>
              </a:extLst>
            </p:cNvPr>
            <p:cNvSpPr>
              <a:spLocks noChangeAspect="1"/>
            </p:cNvSpPr>
            <p:nvPr>
              <p:custDataLst>
                <p:tags r:id="rId8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36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632496"/>
                  </a:moveTo>
                  <a:arcTo wR="317500" hR="317500" stAng="4967999" swAng="112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79" name="Harvey 49/100 [49]">
              <a:extLst>
                <a:ext uri="{FF2B5EF4-FFF2-40B4-BE49-F238E27FC236}">
                  <a16:creationId xmlns:a16="http://schemas.microsoft.com/office/drawing/2014/main" id="{3BE00D50-8FCE-4E11-AA24-10B621732F20}"/>
                </a:ext>
              </a:extLst>
            </p:cNvPr>
            <p:cNvSpPr>
              <a:spLocks noChangeAspect="1"/>
            </p:cNvSpPr>
            <p:nvPr>
              <p:custDataLst>
                <p:tags r:id="rId8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5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34373"/>
                  </a:moveTo>
                  <a:arcTo wR="317500" hR="317500" stAng="5184000" swAng="110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80" name="Harvey 50/100 [50]">
              <a:extLst>
                <a:ext uri="{FF2B5EF4-FFF2-40B4-BE49-F238E27FC236}">
                  <a16:creationId xmlns:a16="http://schemas.microsoft.com/office/drawing/2014/main" id="{97083993-8BFD-443F-A3A3-D28EF389CE2B}"/>
                </a:ext>
              </a:extLst>
            </p:cNvPr>
            <p:cNvSpPr>
              <a:spLocks noChangeAspect="1"/>
            </p:cNvSpPr>
            <p:nvPr>
              <p:custDataLst>
                <p:tags r:id="rId8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81" name="Harvey 51/100 [51]">
              <a:extLst>
                <a:ext uri="{FF2B5EF4-FFF2-40B4-BE49-F238E27FC236}">
                  <a16:creationId xmlns:a16="http://schemas.microsoft.com/office/drawing/2014/main" id="{BDE38762-18E9-47FF-895E-325F5976ECAA}"/>
                </a:ext>
              </a:extLst>
            </p:cNvPr>
            <p:cNvSpPr>
              <a:spLocks noChangeAspect="1"/>
            </p:cNvSpPr>
            <p:nvPr>
              <p:custDataLst>
                <p:tags r:id="rId8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0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34373"/>
                  </a:moveTo>
                  <a:arcTo wR="317500" hR="317500" stAng="5616000" swAng="105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82" name="Harvey 52/100 [52]">
              <a:extLst>
                <a:ext uri="{FF2B5EF4-FFF2-40B4-BE49-F238E27FC236}">
                  <a16:creationId xmlns:a16="http://schemas.microsoft.com/office/drawing/2014/main" id="{785EAA21-FBCD-46DC-8430-7AB12F5A66AF}"/>
                </a:ext>
              </a:extLst>
            </p:cNvPr>
            <p:cNvSpPr>
              <a:spLocks noChangeAspect="1"/>
            </p:cNvSpPr>
            <p:nvPr>
              <p:custDataLst>
                <p:tags r:id="rId8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2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632496"/>
                  </a:moveTo>
                  <a:arcTo wR="317500" hR="317500" stAng="5832000" swAng="1036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83" name="Harvey 53/100 [53]">
              <a:extLst>
                <a:ext uri="{FF2B5EF4-FFF2-40B4-BE49-F238E27FC236}">
                  <a16:creationId xmlns:a16="http://schemas.microsoft.com/office/drawing/2014/main" id="{858D54BA-F4A5-4C67-830E-E85FF6EE735D}"/>
                </a:ext>
              </a:extLst>
            </p:cNvPr>
            <p:cNvSpPr>
              <a:spLocks noChangeAspect="1"/>
            </p:cNvSpPr>
            <p:nvPr>
              <p:custDataLst>
                <p:tags r:id="rId8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4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629376"/>
                  </a:moveTo>
                  <a:arcTo wR="317500" hR="317500" stAng="6048000" swAng="101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84" name="Harvey 54/100 [54]">
              <a:extLst>
                <a:ext uri="{FF2B5EF4-FFF2-40B4-BE49-F238E27FC236}">
                  <a16:creationId xmlns:a16="http://schemas.microsoft.com/office/drawing/2014/main" id="{AC41BD7B-E1FA-4AED-B11C-E03936A672E6}"/>
                </a:ext>
              </a:extLst>
            </p:cNvPr>
            <p:cNvSpPr>
              <a:spLocks noChangeAspect="1"/>
            </p:cNvSpPr>
            <p:nvPr>
              <p:custDataLst>
                <p:tags r:id="rId8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6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625025"/>
                  </a:moveTo>
                  <a:arcTo wR="317500" hR="317500" stAng="6264000" swAng="99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85" name="Harvey 55/100 [55]">
              <a:extLst>
                <a:ext uri="{FF2B5EF4-FFF2-40B4-BE49-F238E27FC236}">
                  <a16:creationId xmlns:a16="http://schemas.microsoft.com/office/drawing/2014/main" id="{BAF901A0-5FD1-4B29-9AF9-DB8B19412429}"/>
                </a:ext>
              </a:extLst>
            </p:cNvPr>
            <p:cNvSpPr>
              <a:spLocks noChangeAspect="1"/>
            </p:cNvSpPr>
            <p:nvPr>
              <p:custDataLst>
                <p:tags r:id="rId9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8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619460"/>
                  </a:moveTo>
                  <a:arcTo wR="317500" hR="317500" stAng="6480000" swAng="97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86" name="Harvey 56/100 [56]">
              <a:extLst>
                <a:ext uri="{FF2B5EF4-FFF2-40B4-BE49-F238E27FC236}">
                  <a16:creationId xmlns:a16="http://schemas.microsoft.com/office/drawing/2014/main" id="{3EFF555D-6B7F-481F-ADC2-746953BA7F97}"/>
                </a:ext>
              </a:extLst>
            </p:cNvPr>
            <p:cNvSpPr>
              <a:spLocks noChangeAspect="1"/>
            </p:cNvSpPr>
            <p:nvPr>
              <p:custDataLst>
                <p:tags r:id="rId9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0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612704"/>
                  </a:moveTo>
                  <a:arcTo wR="317500" hR="317500" stAng="6696000" swAng="95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87" name="Harvey 57/100 [57]">
              <a:extLst>
                <a:ext uri="{FF2B5EF4-FFF2-40B4-BE49-F238E27FC236}">
                  <a16:creationId xmlns:a16="http://schemas.microsoft.com/office/drawing/2014/main" id="{A4D3BE31-8C07-4912-AB8B-8331A665C238}"/>
                </a:ext>
              </a:extLst>
            </p:cNvPr>
            <p:cNvSpPr>
              <a:spLocks noChangeAspect="1"/>
            </p:cNvSpPr>
            <p:nvPr>
              <p:custDataLst>
                <p:tags r:id="rId9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3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604782"/>
                  </a:moveTo>
                  <a:arcTo wR="317500" hR="317500" stAng="6911999" swAng="92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88" name="Harvey 58/100 [58]">
              <a:extLst>
                <a:ext uri="{FF2B5EF4-FFF2-40B4-BE49-F238E27FC236}">
                  <a16:creationId xmlns:a16="http://schemas.microsoft.com/office/drawing/2014/main" id="{E7B5A5D9-6DD2-4B0A-9557-7A7AF774103E}"/>
                </a:ext>
              </a:extLst>
            </p:cNvPr>
            <p:cNvSpPr>
              <a:spLocks noChangeAspect="1"/>
            </p:cNvSpPr>
            <p:nvPr>
              <p:custDataLst>
                <p:tags r:id="rId9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52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595727"/>
                  </a:moveTo>
                  <a:arcTo wR="317500" hR="317500" stAng="7127999" swAng="90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89" name="Harvey 59/100 [59]">
              <a:extLst>
                <a:ext uri="{FF2B5EF4-FFF2-40B4-BE49-F238E27FC236}">
                  <a16:creationId xmlns:a16="http://schemas.microsoft.com/office/drawing/2014/main" id="{88458C0E-D234-4C86-A6CC-B8CD6C445F00}"/>
                </a:ext>
              </a:extLst>
            </p:cNvPr>
            <p:cNvSpPr>
              <a:spLocks noChangeAspect="1"/>
            </p:cNvSpPr>
            <p:nvPr>
              <p:custDataLst>
                <p:tags r:id="rId9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74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585574"/>
                  </a:moveTo>
                  <a:arcTo wR="317500" hR="317500" stAng="7343999" swAng="88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90" name="Harvey 60/100 [60]">
              <a:extLst>
                <a:ext uri="{FF2B5EF4-FFF2-40B4-BE49-F238E27FC236}">
                  <a16:creationId xmlns:a16="http://schemas.microsoft.com/office/drawing/2014/main" id="{0924D2C6-D224-49FD-A4B8-312AFD605E78}"/>
                </a:ext>
              </a:extLst>
            </p:cNvPr>
            <p:cNvSpPr>
              <a:spLocks noChangeAspect="1"/>
            </p:cNvSpPr>
            <p:nvPr>
              <p:custDataLst>
                <p:tags r:id="rId9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574362"/>
                  </a:moveTo>
                  <a:arcTo wR="317500" hR="317500" stAng="7560000" swAng="86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91" name="Harvey 61/100 [61]">
              <a:extLst>
                <a:ext uri="{FF2B5EF4-FFF2-40B4-BE49-F238E27FC236}">
                  <a16:creationId xmlns:a16="http://schemas.microsoft.com/office/drawing/2014/main" id="{F9FB23C2-D568-49AC-B8FD-0480EB019739}"/>
                </a:ext>
              </a:extLst>
            </p:cNvPr>
            <p:cNvSpPr>
              <a:spLocks noChangeAspect="1"/>
            </p:cNvSpPr>
            <p:nvPr>
              <p:custDataLst>
                <p:tags r:id="rId9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1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562137"/>
                  </a:moveTo>
                  <a:arcTo wR="317500" hR="317500" stAng="7776000" swAng="84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92" name="Harvey 62/100 [62]">
              <a:extLst>
                <a:ext uri="{FF2B5EF4-FFF2-40B4-BE49-F238E27FC236}">
                  <a16:creationId xmlns:a16="http://schemas.microsoft.com/office/drawing/2014/main" id="{9EF3159D-F4FB-4032-BCCB-55E6ED5EEFC7}"/>
                </a:ext>
              </a:extLst>
            </p:cNvPr>
            <p:cNvSpPr>
              <a:spLocks noChangeAspect="1"/>
            </p:cNvSpPr>
            <p:nvPr>
              <p:custDataLst>
                <p:tags r:id="rId9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3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548947"/>
                  </a:moveTo>
                  <a:arcTo wR="317500" hR="317500" stAng="7991999" swAng="82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93" name="Harvey 63/100 [63]">
              <a:extLst>
                <a:ext uri="{FF2B5EF4-FFF2-40B4-BE49-F238E27FC236}">
                  <a16:creationId xmlns:a16="http://schemas.microsoft.com/office/drawing/2014/main" id="{9362C8EA-6D15-4E0C-8AE9-B1B50EB297B8}"/>
                </a:ext>
              </a:extLst>
            </p:cNvPr>
            <p:cNvSpPr>
              <a:spLocks noChangeAspect="1"/>
            </p:cNvSpPr>
            <p:nvPr>
              <p:custDataLst>
                <p:tags r:id="rId9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6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534843"/>
                  </a:moveTo>
                  <a:arcTo wR="317500" hR="317500" stAng="8208000" swAng="79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94" name="Harvey 64/100 [64]">
              <a:extLst>
                <a:ext uri="{FF2B5EF4-FFF2-40B4-BE49-F238E27FC236}">
                  <a16:creationId xmlns:a16="http://schemas.microsoft.com/office/drawing/2014/main" id="{91EB375D-1444-4BE3-A696-66272A1564CD}"/>
                </a:ext>
              </a:extLst>
            </p:cNvPr>
            <p:cNvSpPr>
              <a:spLocks noChangeAspect="1"/>
            </p:cNvSpPr>
            <p:nvPr>
              <p:custDataLst>
                <p:tags r:id="rId9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8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519882"/>
                  </a:moveTo>
                  <a:arcTo wR="317500" hR="317500" stAng="8424000" swAng="77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95" name="Harvey 65/100 [65]">
              <a:extLst>
                <a:ext uri="{FF2B5EF4-FFF2-40B4-BE49-F238E27FC236}">
                  <a16:creationId xmlns:a16="http://schemas.microsoft.com/office/drawing/2014/main" id="{9A3002B1-5D17-4BCB-9A44-B2FB4025D02F}"/>
                </a:ext>
              </a:extLst>
            </p:cNvPr>
            <p:cNvSpPr>
              <a:spLocks noChangeAspect="1"/>
            </p:cNvSpPr>
            <p:nvPr>
              <p:custDataLst>
                <p:tags r:id="rId10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0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504121"/>
                  </a:moveTo>
                  <a:arcTo wR="317500" hR="317500" stAng="8640000" swAng="75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96" name="Harvey 66/100 [66]">
              <a:extLst>
                <a:ext uri="{FF2B5EF4-FFF2-40B4-BE49-F238E27FC236}">
                  <a16:creationId xmlns:a16="http://schemas.microsoft.com/office/drawing/2014/main" id="{E5F2FDE4-04B2-4A45-A685-14E0C51883A5}"/>
                </a:ext>
              </a:extLst>
            </p:cNvPr>
            <p:cNvSpPr>
              <a:spLocks noChangeAspect="1"/>
            </p:cNvSpPr>
            <p:nvPr>
              <p:custDataLst>
                <p:tags r:id="rId10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2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487625"/>
                  </a:moveTo>
                  <a:arcTo wR="317500" hR="317500" stAng="8856000" swAng="73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97" name="Harvey 67/100 [67]">
              <a:extLst>
                <a:ext uri="{FF2B5EF4-FFF2-40B4-BE49-F238E27FC236}">
                  <a16:creationId xmlns:a16="http://schemas.microsoft.com/office/drawing/2014/main" id="{D399A169-3845-4CD5-A62C-F4586F1FAFE8}"/>
                </a:ext>
              </a:extLst>
            </p:cNvPr>
            <p:cNvSpPr>
              <a:spLocks noChangeAspect="1"/>
            </p:cNvSpPr>
            <p:nvPr>
              <p:custDataLst>
                <p:tags r:id="rId10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470456"/>
                  </a:moveTo>
                  <a:arcTo wR="317500" hR="317500" stAng="9072000" swAng="71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98" name="Harvey 68/100 [68]">
              <a:extLst>
                <a:ext uri="{FF2B5EF4-FFF2-40B4-BE49-F238E27FC236}">
                  <a16:creationId xmlns:a16="http://schemas.microsoft.com/office/drawing/2014/main" id="{E12F5173-9960-47F5-9A91-B043294E14CB}"/>
                </a:ext>
              </a:extLst>
            </p:cNvPr>
            <p:cNvSpPr>
              <a:spLocks noChangeAspect="1"/>
            </p:cNvSpPr>
            <p:nvPr>
              <p:custDataLst>
                <p:tags r:id="rId10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6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452684"/>
                  </a:moveTo>
                  <a:arcTo wR="317500" hR="317500" stAng="9288000" swAng="69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99" name="Harvey 69/100 [69]">
              <a:extLst>
                <a:ext uri="{FF2B5EF4-FFF2-40B4-BE49-F238E27FC236}">
                  <a16:creationId xmlns:a16="http://schemas.microsoft.com/office/drawing/2014/main" id="{DD9B9229-3D3A-4706-BEEC-04C19A30C5C3}"/>
                </a:ext>
              </a:extLst>
            </p:cNvPr>
            <p:cNvSpPr>
              <a:spLocks noChangeAspect="1"/>
            </p:cNvSpPr>
            <p:nvPr>
              <p:custDataLst>
                <p:tags r:id="rId10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90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434379"/>
                  </a:moveTo>
                  <a:arcTo wR="317500" hR="317500" stAng="9503999" swAng="66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100" name="Harvey 70/100 [70]">
              <a:extLst>
                <a:ext uri="{FF2B5EF4-FFF2-40B4-BE49-F238E27FC236}">
                  <a16:creationId xmlns:a16="http://schemas.microsoft.com/office/drawing/2014/main" id="{795A4CC8-0C08-491C-8D7F-95EC8E0E25B8}"/>
                </a:ext>
              </a:extLst>
            </p:cNvPr>
            <p:cNvSpPr>
              <a:spLocks noChangeAspect="1"/>
            </p:cNvSpPr>
            <p:nvPr>
              <p:custDataLst>
                <p:tags r:id="rId10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1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415612"/>
                  </a:moveTo>
                  <a:arcTo wR="317500" hR="317500" stAng="9719999" swAng="64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101" name="Harvey 71/100 [71]">
              <a:extLst>
                <a:ext uri="{FF2B5EF4-FFF2-40B4-BE49-F238E27FC236}">
                  <a16:creationId xmlns:a16="http://schemas.microsoft.com/office/drawing/2014/main" id="{91862A76-5FCC-4C25-9A3F-A10651AC7725}"/>
                </a:ext>
              </a:extLst>
            </p:cNvPr>
            <p:cNvSpPr>
              <a:spLocks noChangeAspect="1"/>
            </p:cNvSpPr>
            <p:nvPr>
              <p:custDataLst>
                <p:tags r:id="rId10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3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396459"/>
                  </a:moveTo>
                  <a:arcTo wR="317500" hR="317500" stAng="9936000" swAng="62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102" name="Harvey 72/100 [72]">
              <a:extLst>
                <a:ext uri="{FF2B5EF4-FFF2-40B4-BE49-F238E27FC236}">
                  <a16:creationId xmlns:a16="http://schemas.microsoft.com/office/drawing/2014/main" id="{46969644-17D9-45C9-A88A-9A88622DCE45}"/>
                </a:ext>
              </a:extLst>
            </p:cNvPr>
            <p:cNvSpPr>
              <a:spLocks noChangeAspect="1"/>
            </p:cNvSpPr>
            <p:nvPr>
              <p:custDataLst>
                <p:tags r:id="rId10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5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376993"/>
                  </a:moveTo>
                  <a:arcTo wR="317500" hR="317500" stAng="10152000" swAng="60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103" name="Harvey 73/100 [73]">
              <a:extLst>
                <a:ext uri="{FF2B5EF4-FFF2-40B4-BE49-F238E27FC236}">
                  <a16:creationId xmlns:a16="http://schemas.microsoft.com/office/drawing/2014/main" id="{F89621F9-3ABB-450D-913E-7B467F289A9B}"/>
                </a:ext>
              </a:extLst>
            </p:cNvPr>
            <p:cNvSpPr>
              <a:spLocks noChangeAspect="1"/>
            </p:cNvSpPr>
            <p:nvPr>
              <p:custDataLst>
                <p:tags r:id="rId10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7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357293"/>
                  </a:moveTo>
                  <a:arcTo wR="317500" hR="317500" stAng="10368000" swAng="58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104" name="Harvey 74/100 [74]">
              <a:extLst>
                <a:ext uri="{FF2B5EF4-FFF2-40B4-BE49-F238E27FC236}">
                  <a16:creationId xmlns:a16="http://schemas.microsoft.com/office/drawing/2014/main" id="{89EE4B1F-E703-471D-8307-BFB9EDEDB9F7}"/>
                </a:ext>
              </a:extLst>
            </p:cNvPr>
            <p:cNvSpPr>
              <a:spLocks noChangeAspect="1"/>
            </p:cNvSpPr>
            <p:nvPr>
              <p:custDataLst>
                <p:tags r:id="rId10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9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337435"/>
                  </a:moveTo>
                  <a:arcTo wR="317500" hR="317500" stAng="10583999" swAng="56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105" name="Harvey 75/100 [75]">
              <a:extLst>
                <a:ext uri="{FF2B5EF4-FFF2-40B4-BE49-F238E27FC236}">
                  <a16:creationId xmlns:a16="http://schemas.microsoft.com/office/drawing/2014/main" id="{8AB2EEA8-04AC-4B6C-8D90-28093DB647E6}"/>
                </a:ext>
              </a:extLst>
            </p:cNvPr>
            <p:cNvSpPr>
              <a:spLocks noChangeAspect="1"/>
            </p:cNvSpPr>
            <p:nvPr>
              <p:custDataLst>
                <p:tags r:id="rId11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106" name="Harvey 76/100 [76]">
              <a:extLst>
                <a:ext uri="{FF2B5EF4-FFF2-40B4-BE49-F238E27FC236}">
                  <a16:creationId xmlns:a16="http://schemas.microsoft.com/office/drawing/2014/main" id="{6F4E00F2-EA6F-4809-B2FD-4CE3ABE8C480}"/>
                </a:ext>
              </a:extLst>
            </p:cNvPr>
            <p:cNvSpPr>
              <a:spLocks noChangeAspect="1"/>
            </p:cNvSpPr>
            <p:nvPr>
              <p:custDataLst>
                <p:tags r:id="rId11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4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297564"/>
                  </a:moveTo>
                  <a:arcTo wR="317500" hR="317500" stAng="11016000" swAng="51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107" name="Harvey 77/100 [77]">
              <a:extLst>
                <a:ext uri="{FF2B5EF4-FFF2-40B4-BE49-F238E27FC236}">
                  <a16:creationId xmlns:a16="http://schemas.microsoft.com/office/drawing/2014/main" id="{CF5CA593-7B87-4492-9B35-2255514CB496}"/>
                </a:ext>
              </a:extLst>
            </p:cNvPr>
            <p:cNvSpPr>
              <a:spLocks noChangeAspect="1"/>
            </p:cNvSpPr>
            <p:nvPr>
              <p:custDataLst>
                <p:tags r:id="rId11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6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277706"/>
                  </a:moveTo>
                  <a:arcTo wR="317500" hR="317500" stAng="11232000" swAng="49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108" name="Harvey 78/100 [78]">
              <a:extLst>
                <a:ext uri="{FF2B5EF4-FFF2-40B4-BE49-F238E27FC236}">
                  <a16:creationId xmlns:a16="http://schemas.microsoft.com/office/drawing/2014/main" id="{8C036464-458E-48D4-BAC8-84819F820C60}"/>
                </a:ext>
              </a:extLst>
            </p:cNvPr>
            <p:cNvSpPr>
              <a:spLocks noChangeAspect="1"/>
            </p:cNvSpPr>
            <p:nvPr>
              <p:custDataLst>
                <p:tags r:id="rId11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8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258006"/>
                  </a:moveTo>
                  <a:arcTo wR="317500" hR="317500" stAng="11448000" swAng="475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109" name="Harvey 79/100 [79]">
              <a:extLst>
                <a:ext uri="{FF2B5EF4-FFF2-40B4-BE49-F238E27FC236}">
                  <a16:creationId xmlns:a16="http://schemas.microsoft.com/office/drawing/2014/main" id="{6FD5AC00-8293-447C-B728-B963DD67B1C2}"/>
                </a:ext>
              </a:extLst>
            </p:cNvPr>
            <p:cNvSpPr>
              <a:spLocks noChangeAspect="1"/>
            </p:cNvSpPr>
            <p:nvPr>
              <p:custDataLst>
                <p:tags r:id="rId11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0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238540"/>
                  </a:moveTo>
                  <a:arcTo wR="317500" hR="317500" stAng="11664000" swAng="45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110" name="Harvey 80/100 [80]">
              <a:extLst>
                <a:ext uri="{FF2B5EF4-FFF2-40B4-BE49-F238E27FC236}">
                  <a16:creationId xmlns:a16="http://schemas.microsoft.com/office/drawing/2014/main" id="{29C0F859-BC49-430F-8C59-C0B9109E47A3}"/>
                </a:ext>
              </a:extLst>
            </p:cNvPr>
            <p:cNvSpPr>
              <a:spLocks noChangeAspect="1"/>
            </p:cNvSpPr>
            <p:nvPr>
              <p:custDataLst>
                <p:tags r:id="rId11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219387"/>
                  </a:moveTo>
                  <a:arcTo wR="317500" hR="317500" stAng="11880000" swAng="43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111" name="Harvey 81/100 [81]">
              <a:extLst>
                <a:ext uri="{FF2B5EF4-FFF2-40B4-BE49-F238E27FC236}">
                  <a16:creationId xmlns:a16="http://schemas.microsoft.com/office/drawing/2014/main" id="{F78719E3-0417-4867-B70D-21538B3AC36E}"/>
                </a:ext>
              </a:extLst>
            </p:cNvPr>
            <p:cNvSpPr>
              <a:spLocks noChangeAspect="1"/>
            </p:cNvSpPr>
            <p:nvPr>
              <p:custDataLst>
                <p:tags r:id="rId11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4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200620"/>
                  </a:moveTo>
                  <a:arcTo wR="317500" hR="317500" stAng="12096000" swAng="41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112" name="Harvey 82/100 [82]">
              <a:extLst>
                <a:ext uri="{FF2B5EF4-FFF2-40B4-BE49-F238E27FC236}">
                  <a16:creationId xmlns:a16="http://schemas.microsoft.com/office/drawing/2014/main" id="{9C5D0905-7412-4C75-BC20-E51105CA783D}"/>
                </a:ext>
              </a:extLst>
            </p:cNvPr>
            <p:cNvSpPr>
              <a:spLocks noChangeAspect="1"/>
            </p:cNvSpPr>
            <p:nvPr>
              <p:custDataLst>
                <p:tags r:id="rId11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7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182315"/>
                  </a:moveTo>
                  <a:arcTo wR="317500" hR="317500" stAng="12312000" swAng="38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113" name="Harvey 83/100 [83]">
              <a:extLst>
                <a:ext uri="{FF2B5EF4-FFF2-40B4-BE49-F238E27FC236}">
                  <a16:creationId xmlns:a16="http://schemas.microsoft.com/office/drawing/2014/main" id="{96AA2E20-CC65-4632-B3D4-93E962B59D4C}"/>
                </a:ext>
              </a:extLst>
            </p:cNvPr>
            <p:cNvSpPr>
              <a:spLocks noChangeAspect="1"/>
            </p:cNvSpPr>
            <p:nvPr>
              <p:custDataLst>
                <p:tags r:id="rId11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9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164543"/>
                  </a:moveTo>
                  <a:arcTo wR="317500" hR="317500" stAng="12528000" swAng="36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114" name="Harvey 84/100 [84]">
              <a:extLst>
                <a:ext uri="{FF2B5EF4-FFF2-40B4-BE49-F238E27FC236}">
                  <a16:creationId xmlns:a16="http://schemas.microsoft.com/office/drawing/2014/main" id="{9B4360A3-E0B2-48F7-B5A8-D24513748A82}"/>
                </a:ext>
              </a:extLst>
            </p:cNvPr>
            <p:cNvSpPr>
              <a:spLocks noChangeAspect="1"/>
            </p:cNvSpPr>
            <p:nvPr>
              <p:custDataLst>
                <p:tags r:id="rId11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1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147374"/>
                  </a:moveTo>
                  <a:arcTo wR="317500" hR="317500" stAng="12743999" swAng="34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115" name="Harvey 85/100 [85]">
              <a:extLst>
                <a:ext uri="{FF2B5EF4-FFF2-40B4-BE49-F238E27FC236}">
                  <a16:creationId xmlns:a16="http://schemas.microsoft.com/office/drawing/2014/main" id="{D694B21E-EEA0-48FA-A35C-7B6570B3F861}"/>
                </a:ext>
              </a:extLst>
            </p:cNvPr>
            <p:cNvSpPr>
              <a:spLocks noChangeAspect="1"/>
            </p:cNvSpPr>
            <p:nvPr>
              <p:custDataLst>
                <p:tags r:id="rId12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3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130878"/>
                  </a:moveTo>
                  <a:arcTo wR="317500" hR="317500" stAng="12960000" swAng="32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116" name="Harvey 86/100 [86]">
              <a:extLst>
                <a:ext uri="{FF2B5EF4-FFF2-40B4-BE49-F238E27FC236}">
                  <a16:creationId xmlns:a16="http://schemas.microsoft.com/office/drawing/2014/main" id="{85E1AF41-C21D-4514-B37E-CC830BC09C0A}"/>
                </a:ext>
              </a:extLst>
            </p:cNvPr>
            <p:cNvSpPr>
              <a:spLocks noChangeAspect="1"/>
            </p:cNvSpPr>
            <p:nvPr>
              <p:custDataLst>
                <p:tags r:id="rId12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5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115117"/>
                  </a:moveTo>
                  <a:arcTo wR="317500" hR="317500" stAng="13176000" swAng="30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117" name="Harvey 87/100 [87]">
              <a:extLst>
                <a:ext uri="{FF2B5EF4-FFF2-40B4-BE49-F238E27FC236}">
                  <a16:creationId xmlns:a16="http://schemas.microsoft.com/office/drawing/2014/main" id="{E3948F2E-FD5F-4107-B122-9AC75FE0CD9E}"/>
                </a:ext>
              </a:extLst>
            </p:cNvPr>
            <p:cNvSpPr>
              <a:spLocks noChangeAspect="1"/>
            </p:cNvSpPr>
            <p:nvPr>
              <p:custDataLst>
                <p:tags r:id="rId12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7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100156"/>
                  </a:moveTo>
                  <a:arcTo wR="317500" hR="317500" stAng="13392000" swAng="28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118" name="Harvey 88/100 [88]">
              <a:extLst>
                <a:ext uri="{FF2B5EF4-FFF2-40B4-BE49-F238E27FC236}">
                  <a16:creationId xmlns:a16="http://schemas.microsoft.com/office/drawing/2014/main" id="{744E57ED-019F-4A8B-A06E-9FB965FEBB23}"/>
                </a:ext>
              </a:extLst>
            </p:cNvPr>
            <p:cNvSpPr>
              <a:spLocks noChangeAspect="1"/>
            </p:cNvSpPr>
            <p:nvPr>
              <p:custDataLst>
                <p:tags r:id="rId12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0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86052"/>
                  </a:moveTo>
                  <a:arcTo wR="317500" hR="317500" stAng="13608000" swAng="25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119" name="Harvey 89/100 [89]">
              <a:extLst>
                <a:ext uri="{FF2B5EF4-FFF2-40B4-BE49-F238E27FC236}">
                  <a16:creationId xmlns:a16="http://schemas.microsoft.com/office/drawing/2014/main" id="{5567719B-31CA-4A86-801E-E0531122E504}"/>
                </a:ext>
              </a:extLst>
            </p:cNvPr>
            <p:cNvSpPr>
              <a:spLocks noChangeAspect="1"/>
            </p:cNvSpPr>
            <p:nvPr>
              <p:custDataLst>
                <p:tags r:id="rId12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2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72862"/>
                  </a:moveTo>
                  <a:arcTo wR="317500" hR="317500" stAng="13823999" swAng="237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120" name="Harvey 90/100 [90]">
              <a:extLst>
                <a:ext uri="{FF2B5EF4-FFF2-40B4-BE49-F238E27FC236}">
                  <a16:creationId xmlns:a16="http://schemas.microsoft.com/office/drawing/2014/main" id="{2CD4B3A1-B882-43A6-A4CA-C9FCA394B28B}"/>
                </a:ext>
              </a:extLst>
            </p:cNvPr>
            <p:cNvSpPr>
              <a:spLocks noChangeAspect="1"/>
            </p:cNvSpPr>
            <p:nvPr>
              <p:custDataLst>
                <p:tags r:id="rId12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60637"/>
                  </a:moveTo>
                  <a:arcTo wR="317500" hR="317500" stAng="14040000" swAng="21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121" name="Harvey 91/100 [91]">
              <a:extLst>
                <a:ext uri="{FF2B5EF4-FFF2-40B4-BE49-F238E27FC236}">
                  <a16:creationId xmlns:a16="http://schemas.microsoft.com/office/drawing/2014/main" id="{68606D93-5175-4900-AD89-6D0710AFE75F}"/>
                </a:ext>
              </a:extLst>
            </p:cNvPr>
            <p:cNvSpPr>
              <a:spLocks noChangeAspect="1"/>
            </p:cNvSpPr>
            <p:nvPr>
              <p:custDataLst>
                <p:tags r:id="rId12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6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49425"/>
                  </a:moveTo>
                  <a:arcTo wR="317500" hR="317500" stAng="14256000" swAng="19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122" name="Harvey 92/100 [92]">
              <a:extLst>
                <a:ext uri="{FF2B5EF4-FFF2-40B4-BE49-F238E27FC236}">
                  <a16:creationId xmlns:a16="http://schemas.microsoft.com/office/drawing/2014/main" id="{7EE30864-DDCC-4BBA-B70A-48810E224581}"/>
                </a:ext>
              </a:extLst>
            </p:cNvPr>
            <p:cNvSpPr>
              <a:spLocks noChangeAspect="1"/>
            </p:cNvSpPr>
            <p:nvPr>
              <p:custDataLst>
                <p:tags r:id="rId12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8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39272"/>
                  </a:moveTo>
                  <a:arcTo wR="317500" hR="317500" stAng="14472000" swAng="17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123" name="Harvey 93/100 [93]">
              <a:extLst>
                <a:ext uri="{FF2B5EF4-FFF2-40B4-BE49-F238E27FC236}">
                  <a16:creationId xmlns:a16="http://schemas.microsoft.com/office/drawing/2014/main" id="{608CA488-A707-4C7A-9287-9DA9A38ED3D4}"/>
                </a:ext>
              </a:extLst>
            </p:cNvPr>
            <p:cNvSpPr>
              <a:spLocks noChangeAspect="1"/>
            </p:cNvSpPr>
            <p:nvPr>
              <p:custDataLst>
                <p:tags r:id="rId12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0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30217"/>
                  </a:moveTo>
                  <a:arcTo wR="317500" hR="317500" stAng="14688000" swAng="15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124" name="Harvey 94/100 [94]">
              <a:extLst>
                <a:ext uri="{FF2B5EF4-FFF2-40B4-BE49-F238E27FC236}">
                  <a16:creationId xmlns:a16="http://schemas.microsoft.com/office/drawing/2014/main" id="{FE1836A9-F92A-4F07-BBB8-2274E290E952}"/>
                </a:ext>
              </a:extLst>
            </p:cNvPr>
            <p:cNvSpPr>
              <a:spLocks noChangeAspect="1"/>
            </p:cNvSpPr>
            <p:nvPr>
              <p:custDataLst>
                <p:tags r:id="rId12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3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22295"/>
                  </a:moveTo>
                  <a:arcTo wR="317500" hR="317500" stAng="14903999" swAng="12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125" name="Harvey 95/100 [95]">
              <a:extLst>
                <a:ext uri="{FF2B5EF4-FFF2-40B4-BE49-F238E27FC236}">
                  <a16:creationId xmlns:a16="http://schemas.microsoft.com/office/drawing/2014/main" id="{3169BE73-7F99-46E3-BDA9-D9BB85BE343E}"/>
                </a:ext>
              </a:extLst>
            </p:cNvPr>
            <p:cNvSpPr>
              <a:spLocks noChangeAspect="1"/>
            </p:cNvSpPr>
            <p:nvPr>
              <p:custDataLst>
                <p:tags r:id="rId13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5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15539"/>
                  </a:moveTo>
                  <a:arcTo wR="317500" hR="317500" stAng="15120000" swAng="10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126" name="Harvey 96/100 [96]">
              <a:extLst>
                <a:ext uri="{FF2B5EF4-FFF2-40B4-BE49-F238E27FC236}">
                  <a16:creationId xmlns:a16="http://schemas.microsoft.com/office/drawing/2014/main" id="{12E3B5ED-B1AB-4A99-BD20-FF638135BE37}"/>
                </a:ext>
              </a:extLst>
            </p:cNvPr>
            <p:cNvSpPr>
              <a:spLocks noChangeAspect="1"/>
            </p:cNvSpPr>
            <p:nvPr>
              <p:custDataLst>
                <p:tags r:id="rId13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73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9974"/>
                  </a:moveTo>
                  <a:arcTo wR="317500" hR="317500" stAng="15335999" swAng="8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127" name="Harvey 97/100 [97]">
              <a:extLst>
                <a:ext uri="{FF2B5EF4-FFF2-40B4-BE49-F238E27FC236}">
                  <a16:creationId xmlns:a16="http://schemas.microsoft.com/office/drawing/2014/main" id="{75A7FEAD-6C4B-4F7A-BB60-3A68D96114DE}"/>
                </a:ext>
              </a:extLst>
            </p:cNvPr>
            <p:cNvSpPr>
              <a:spLocks noChangeAspect="1"/>
            </p:cNvSpPr>
            <p:nvPr>
              <p:custDataLst>
                <p:tags r:id="rId13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9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5623"/>
                  </a:moveTo>
                  <a:arcTo wR="317500" hR="317500" stAng="15552000" swAng="6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128" name="Harvey 98/100 [98]">
              <a:extLst>
                <a:ext uri="{FF2B5EF4-FFF2-40B4-BE49-F238E27FC236}">
                  <a16:creationId xmlns:a16="http://schemas.microsoft.com/office/drawing/2014/main" id="{C4B5128E-9380-4C38-A1EB-CB12E7401609}"/>
                </a:ext>
              </a:extLst>
            </p:cNvPr>
            <p:cNvSpPr>
              <a:spLocks noChangeAspect="1"/>
            </p:cNvSpPr>
            <p:nvPr>
              <p:custDataLst>
                <p:tags r:id="rId13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1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2503"/>
                  </a:moveTo>
                  <a:arcTo wR="317500" hR="317500" stAng="15768000" swAng="4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129" name="Harvey 99/100 [99]">
              <a:extLst>
                <a:ext uri="{FF2B5EF4-FFF2-40B4-BE49-F238E27FC236}">
                  <a16:creationId xmlns:a16="http://schemas.microsoft.com/office/drawing/2014/main" id="{50F634E4-E5B9-4DA6-9F91-8AF5B6ACF1FB}"/>
                </a:ext>
              </a:extLst>
            </p:cNvPr>
            <p:cNvSpPr>
              <a:spLocks noChangeAspect="1"/>
            </p:cNvSpPr>
            <p:nvPr>
              <p:custDataLst>
                <p:tags r:id="rId13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3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26"/>
                  </a:moveTo>
                  <a:arcTo wR="317500" hR="317500" stAng="15983999" swAng="2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130" name="Harvey 100/100 [100]">
              <a:extLst>
                <a:ext uri="{FF2B5EF4-FFF2-40B4-BE49-F238E27FC236}">
                  <a16:creationId xmlns:a16="http://schemas.microsoft.com/office/drawing/2014/main" id="{94AA53CD-8233-470E-AFEE-0BCC721BFAE9}"/>
                </a:ext>
              </a:extLst>
            </p:cNvPr>
            <p:cNvSpPr>
              <a:spLocks noChangeAspect="1"/>
            </p:cNvSpPr>
            <p:nvPr>
              <p:custDataLst>
                <p:tags r:id="rId13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</p:grpSp>
      <p:sp>
        <p:nvSpPr>
          <p:cNvPr id="131" name="Footnote [Placeholder]" hidden="1">
            <a:extLst>
              <a:ext uri="{FF2B5EF4-FFF2-40B4-BE49-F238E27FC236}">
                <a16:creationId xmlns:a16="http://schemas.microsoft.com/office/drawing/2014/main" id="{1B41FB17-6D57-4EE1-9C4C-9C305D5D6BEC}"/>
              </a:ext>
            </a:extLst>
          </p:cNvPr>
          <p:cNvSpPr txBox="1"/>
          <p:nvPr userDrawn="1"/>
        </p:nvSpPr>
        <p:spPr>
          <a:xfrm>
            <a:off x="503107" y="5984669"/>
            <a:ext cx="10185556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900" kern="0">
                <a:ea typeface="Arial Unicode MS" pitchFamily="34" charset="-128"/>
                <a:cs typeface="Arial Unicode MS" pitchFamily="34" charset="-128"/>
              </a:rPr>
              <a:t>(r) Footnote</a:t>
            </a:r>
          </a:p>
        </p:txBody>
      </p:sp>
      <p:sp>
        <p:nvSpPr>
          <p:cNvPr id="132" name="Responsible [Sticker]" hidden="1">
            <a:extLst>
              <a:ext uri="{FF2B5EF4-FFF2-40B4-BE49-F238E27FC236}">
                <a16:creationId xmlns:a16="http://schemas.microsoft.com/office/drawing/2014/main" id="{3CB674C2-91C9-46E6-8AB4-E90ABF1CAFE0}"/>
              </a:ext>
            </a:extLst>
          </p:cNvPr>
          <p:cNvSpPr>
            <a:spLocks/>
          </p:cNvSpPr>
          <p:nvPr userDrawn="1"/>
        </p:nvSpPr>
        <p:spPr>
          <a:xfrm>
            <a:off x="10068483" y="896932"/>
            <a:ext cx="2123517" cy="59540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t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Responsible:</a:t>
            </a:r>
          </a:p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Name Lastname</a:t>
            </a:r>
          </a:p>
        </p:txBody>
      </p:sp>
      <p:sp>
        <p:nvSpPr>
          <p:cNvPr id="133" name="Discussion [Sticker]" hidden="1">
            <a:extLst>
              <a:ext uri="{FF2B5EF4-FFF2-40B4-BE49-F238E27FC236}">
                <a16:creationId xmlns:a16="http://schemas.microsoft.com/office/drawing/2014/main" id="{7C793D27-9296-461C-878D-BA16CBD91587}"/>
              </a:ext>
            </a:extLst>
          </p:cNvPr>
          <p:cNvSpPr>
            <a:spLocks/>
          </p:cNvSpPr>
          <p:nvPr userDrawn="1"/>
        </p:nvSpPr>
        <p:spPr>
          <a:xfrm>
            <a:off x="10068483" y="896921"/>
            <a:ext cx="2123517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Roboto Medium" panose="02000000000000000000" pitchFamily="2" charset="0"/>
                <a:cs typeface="+mn-cs"/>
              </a:rPr>
              <a:t>For discussion</a:t>
            </a:r>
          </a:p>
        </p:txBody>
      </p:sp>
      <p:sp>
        <p:nvSpPr>
          <p:cNvPr id="134" name="Internal [Sticker]" hidden="1">
            <a:extLst>
              <a:ext uri="{FF2B5EF4-FFF2-40B4-BE49-F238E27FC236}">
                <a16:creationId xmlns:a16="http://schemas.microsoft.com/office/drawing/2014/main" id="{704CE42F-5A9B-4CC0-8048-99928A53C0C4}"/>
              </a:ext>
            </a:extLst>
          </p:cNvPr>
          <p:cNvSpPr>
            <a:spLocks/>
          </p:cNvSpPr>
          <p:nvPr userDrawn="1"/>
        </p:nvSpPr>
        <p:spPr>
          <a:xfrm>
            <a:off x="10068483" y="896921"/>
            <a:ext cx="2123517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Internal use only</a:t>
            </a:r>
          </a:p>
        </p:txBody>
      </p:sp>
      <p:sp>
        <p:nvSpPr>
          <p:cNvPr id="135" name="Final [Sticker]" hidden="1">
            <a:extLst>
              <a:ext uri="{FF2B5EF4-FFF2-40B4-BE49-F238E27FC236}">
                <a16:creationId xmlns:a16="http://schemas.microsoft.com/office/drawing/2014/main" id="{348603E9-9858-4213-9B5B-929AD136906A}"/>
              </a:ext>
            </a:extLst>
          </p:cNvPr>
          <p:cNvSpPr>
            <a:spLocks/>
          </p:cNvSpPr>
          <p:nvPr userDrawn="1"/>
        </p:nvSpPr>
        <p:spPr>
          <a:xfrm>
            <a:off x="10068483" y="896921"/>
            <a:ext cx="2123517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Final slide</a:t>
            </a:r>
          </a:p>
        </p:txBody>
      </p:sp>
      <p:sp>
        <p:nvSpPr>
          <p:cNvPr id="136" name="Backup [Sticker]" hidden="1">
            <a:extLst>
              <a:ext uri="{FF2B5EF4-FFF2-40B4-BE49-F238E27FC236}">
                <a16:creationId xmlns:a16="http://schemas.microsoft.com/office/drawing/2014/main" id="{7EEB833A-9AFC-4A66-8469-9D3897CE1E66}"/>
              </a:ext>
            </a:extLst>
          </p:cNvPr>
          <p:cNvSpPr>
            <a:spLocks/>
          </p:cNvSpPr>
          <p:nvPr userDrawn="1"/>
        </p:nvSpPr>
        <p:spPr>
          <a:xfrm>
            <a:off x="10068483" y="896921"/>
            <a:ext cx="2123517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Backup</a:t>
            </a:r>
          </a:p>
        </p:txBody>
      </p:sp>
      <p:sp>
        <p:nvSpPr>
          <p:cNvPr id="137" name="Update [Sticker]" hidden="1">
            <a:extLst>
              <a:ext uri="{FF2B5EF4-FFF2-40B4-BE49-F238E27FC236}">
                <a16:creationId xmlns:a16="http://schemas.microsoft.com/office/drawing/2014/main" id="{D41FF937-AB04-46EE-82EF-FCE26A919A7B}"/>
              </a:ext>
            </a:extLst>
          </p:cNvPr>
          <p:cNvSpPr>
            <a:spLocks/>
          </p:cNvSpPr>
          <p:nvPr userDrawn="1"/>
        </p:nvSpPr>
        <p:spPr>
          <a:xfrm>
            <a:off x="10068483" y="896921"/>
            <a:ext cx="2123517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Update data</a:t>
            </a:r>
          </a:p>
        </p:txBody>
      </p:sp>
      <p:sp>
        <p:nvSpPr>
          <p:cNvPr id="138" name="Dummy [Sticker]" hidden="1">
            <a:extLst>
              <a:ext uri="{FF2B5EF4-FFF2-40B4-BE49-F238E27FC236}">
                <a16:creationId xmlns:a16="http://schemas.microsoft.com/office/drawing/2014/main" id="{06C5579C-7A02-48D6-A733-4B9E6D9F1443}"/>
              </a:ext>
            </a:extLst>
          </p:cNvPr>
          <p:cNvSpPr>
            <a:spLocks/>
          </p:cNvSpPr>
          <p:nvPr userDrawn="1"/>
        </p:nvSpPr>
        <p:spPr>
          <a:xfrm>
            <a:off x="10068483" y="896921"/>
            <a:ext cx="2123517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</a:rPr>
              <a:t>Dummy data</a:t>
            </a:r>
          </a:p>
        </p:txBody>
      </p:sp>
      <p:sp>
        <p:nvSpPr>
          <p:cNvPr id="139" name="Formatting [Comment]" hidden="1">
            <a:extLst>
              <a:ext uri="{FF2B5EF4-FFF2-40B4-BE49-F238E27FC236}">
                <a16:creationId xmlns:a16="http://schemas.microsoft.com/office/drawing/2014/main" id="{89EB4C18-DFF3-4A27-ACBB-99DCDC8961A8}"/>
              </a:ext>
            </a:extLst>
          </p:cNvPr>
          <p:cNvSpPr>
            <a:spLocks/>
          </p:cNvSpPr>
          <p:nvPr userDrawn="1"/>
        </p:nvSpPr>
        <p:spPr>
          <a:xfrm>
            <a:off x="9480875" y="1097679"/>
            <a:ext cx="2478456" cy="1277432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15" tIns="143215" rIns="143215" bIns="143215" rtlCol="0" anchor="t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/date&gt;: </a:t>
            </a:r>
          </a:p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A0A0A"/>
              </a:solidFill>
              <a:effectLst/>
              <a:uLnTx/>
              <a:uFillTx/>
            </a:endParaRPr>
          </a:p>
        </p:txBody>
      </p:sp>
      <p:sp>
        <p:nvSpPr>
          <p:cNvPr id="140" name="Content [Comment]" hidden="1">
            <a:extLst>
              <a:ext uri="{FF2B5EF4-FFF2-40B4-BE49-F238E27FC236}">
                <a16:creationId xmlns:a16="http://schemas.microsoft.com/office/drawing/2014/main" id="{906252E7-98DB-45F0-8278-EB60F71B7340}"/>
              </a:ext>
            </a:extLst>
          </p:cNvPr>
          <p:cNvSpPr>
            <a:spLocks/>
          </p:cNvSpPr>
          <p:nvPr userDrawn="1"/>
        </p:nvSpPr>
        <p:spPr>
          <a:xfrm>
            <a:off x="9480875" y="1097671"/>
            <a:ext cx="2478456" cy="1277440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15" tIns="143215" rIns="143215" bIns="143215" rtlCol="0" anchor="t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/date&gt;: </a:t>
            </a:r>
          </a:p>
        </p:txBody>
      </p:sp>
      <p:sp>
        <p:nvSpPr>
          <p:cNvPr id="141" name="Draft [Sticker]" hidden="1">
            <a:extLst>
              <a:ext uri="{FF2B5EF4-FFF2-40B4-BE49-F238E27FC236}">
                <a16:creationId xmlns:a16="http://schemas.microsoft.com/office/drawing/2014/main" id="{904633E3-6BC9-4C5E-B74A-8B9D4AE95B20}"/>
              </a:ext>
            </a:extLst>
          </p:cNvPr>
          <p:cNvSpPr/>
          <p:nvPr userDrawn="1"/>
        </p:nvSpPr>
        <p:spPr bwMode="gray">
          <a:xfrm rot="18900000">
            <a:off x="2915884" y="2819463"/>
            <a:ext cx="6360233" cy="1219077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8797" b="1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Arial Unicode MS" pitchFamily="34" charset="-128"/>
                <a:cs typeface="Arial Unicode MS" pitchFamily="34" charset="-128"/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21797663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6" r:id="rId1"/>
    <p:sldLayoutId id="2147483987" r:id="rId2"/>
    <p:sldLayoutId id="2147483988" r:id="rId3"/>
    <p:sldLayoutId id="2147483989" r:id="rId4"/>
    <p:sldLayoutId id="2147483990" r:id="rId5"/>
    <p:sldLayoutId id="2147483991" r:id="rId6"/>
    <p:sldLayoutId id="2147483992" r:id="rId7"/>
    <p:sldLayoutId id="2147483993" r:id="rId8"/>
    <p:sldLayoutId id="2147483994" r:id="rId9"/>
    <p:sldLayoutId id="2147483995" r:id="rId10"/>
    <p:sldLayoutId id="2147483996" r:id="rId11"/>
    <p:sldLayoutId id="2147483997" r:id="rId12"/>
    <p:sldLayoutId id="2147483998" r:id="rId13"/>
    <p:sldLayoutId id="2147483999" r:id="rId14"/>
    <p:sldLayoutId id="2147484000" r:id="rId15"/>
    <p:sldLayoutId id="2147484001" r:id="rId16"/>
    <p:sldLayoutId id="2147484002" r:id="rId17"/>
    <p:sldLayoutId id="2147484003" r:id="rId18"/>
    <p:sldLayoutId id="2147484004" r:id="rId19"/>
    <p:sldLayoutId id="2147484005" r:id="rId20"/>
    <p:sldLayoutId id="2147484006" r:id="rId21"/>
    <p:sldLayoutId id="2147484007" r:id="rId22"/>
    <p:sldLayoutId id="2147484008" r:id="rId23"/>
    <p:sldLayoutId id="2147484009" r:id="rId24"/>
    <p:sldLayoutId id="2147484010" r:id="rId25"/>
    <p:sldLayoutId id="2147484011" r:id="rId26"/>
    <p:sldLayoutId id="2147484012" r:id="rId27"/>
    <p:sldLayoutId id="2147484013" r:id="rId28"/>
  </p:sldLayoutIdLst>
  <p:hf hdr="0" ftr="0" dt="0"/>
  <p:txStyles>
    <p:titleStyle>
      <a:lvl1pPr algn="l" defTabSz="1088231" rtl="0" eaLnBrk="1" latinLnBrk="0" hangingPunct="1">
        <a:spcBef>
          <a:spcPct val="0"/>
        </a:spcBef>
        <a:buNone/>
        <a:defRPr sz="2399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088231" rtl="0" eaLnBrk="1" latinLnBrk="0" hangingPunct="1">
        <a:spcBef>
          <a:spcPts val="1799"/>
        </a:spcBef>
        <a:buClr>
          <a:schemeClr val="accent1"/>
        </a:buClr>
        <a:buSzPct val="80000"/>
        <a:buFontTx/>
        <a:buNone/>
        <a:defRPr sz="1999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79910" indent="-179910" algn="l" defTabSz="1088231" rtl="0" eaLnBrk="1" latinLnBrk="0" hangingPunct="1">
        <a:spcBef>
          <a:spcPts val="600"/>
        </a:spcBef>
        <a:buClr>
          <a:schemeClr val="accent1"/>
        </a:buClr>
        <a:buSzPct val="100000"/>
        <a:buFont typeface="Wingdings" pitchFamily="2" charset="2"/>
        <a:buChar char="§"/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358667" indent="-179334" algn="l" defTabSz="1088231" rtl="0" eaLnBrk="1" latinLnBrk="0" hangingPunct="1">
        <a:spcBef>
          <a:spcPts val="300"/>
        </a:spcBef>
        <a:buClr>
          <a:schemeClr val="tx1"/>
        </a:buClr>
        <a:buSzPct val="100000"/>
        <a:buFont typeface="Arial" panose="020B0604020202020204" pitchFamily="34" charset="0"/>
        <a:buChar char="–"/>
        <a:defRPr lang="en-US" sz="1799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39730" indent="-179910" algn="l" defTabSz="1088231" rtl="0" eaLnBrk="1" latinLnBrk="0" hangingPunct="1">
        <a:spcBef>
          <a:spcPts val="300"/>
        </a:spcBef>
        <a:buClr>
          <a:schemeClr val="tx1"/>
        </a:buClr>
        <a:buSzPct val="120000"/>
        <a:buFont typeface="Arial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19640" indent="-179910" algn="l" defTabSz="1088231" rtl="0" eaLnBrk="1" latinLnBrk="0" hangingPunct="1">
        <a:spcBef>
          <a:spcPts val="100"/>
        </a:spcBef>
        <a:buClr>
          <a:schemeClr val="tx1"/>
        </a:buClr>
        <a:buSzPct val="100000"/>
        <a:buFont typeface="Symbol" panose="05050102010706020507" pitchFamily="18" charset="2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92637" indent="-272058" algn="l" defTabSz="1088231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536753" indent="-272058" algn="l" defTabSz="1088231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080868" indent="-272058" algn="l" defTabSz="1088231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624985" indent="-272058" algn="l" defTabSz="1088231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1pPr>
      <a:lvl2pPr marL="544116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2pPr>
      <a:lvl3pPr marL="1088231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3pPr>
      <a:lvl4pPr marL="1632347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4pPr>
      <a:lvl5pPr marL="2176463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5pPr>
      <a:lvl6pPr marL="2720580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6pPr>
      <a:lvl7pPr marL="3264695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7pPr>
      <a:lvl8pPr marL="3808811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8pPr>
      <a:lvl9pPr marL="4352927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Slide number"/>
          <p:cNvSpPr txBox="1"/>
          <p:nvPr userDrawn="1"/>
        </p:nvSpPr>
        <p:spPr bwMode="black">
          <a:xfrm>
            <a:off x="11546406" y="6536752"/>
            <a:ext cx="141027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lvl="0" indent="0" algn="r">
              <a:buNone/>
            </a:pPr>
            <a:fld id="{0BDC132A-5C91-4078-9777-31DA19A62E0A}" type="slidenum">
              <a:rPr lang="en-US" sz="900" b="0" i="0" noProof="0" smtClean="0">
                <a:latin typeface="Arial" panose="020B0604020202020204" pitchFamily="34" charset="0"/>
              </a:rPr>
              <a:pPr marL="0" lvl="0" indent="0" algn="r">
                <a:buNone/>
              </a:pPr>
              <a:t>‹#›</a:t>
            </a:fld>
            <a:endParaRPr lang="en-US" sz="900" b="0" i="0" noProof="0">
              <a:latin typeface="Arial" panose="020B0604020202020204" pitchFamily="34" charset="0"/>
            </a:endParaRPr>
          </a:p>
        </p:txBody>
      </p:sp>
      <p:sp>
        <p:nvSpPr>
          <p:cNvPr id="3" name="Text Placeholder"/>
          <p:cNvSpPr>
            <a:spLocks noGrp="1"/>
          </p:cNvSpPr>
          <p:nvPr userDrawn="1">
            <p:ph type="body" idx="1"/>
          </p:nvPr>
        </p:nvSpPr>
        <p:spPr bwMode="black">
          <a:xfrm>
            <a:off x="503870" y="1620000"/>
            <a:ext cx="11183564" cy="471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Placeholder"/>
          <p:cNvSpPr>
            <a:spLocks noGrp="1"/>
          </p:cNvSpPr>
          <p:nvPr userDrawn="1">
            <p:ph type="title"/>
          </p:nvPr>
        </p:nvSpPr>
        <p:spPr bwMode="black">
          <a:xfrm>
            <a:off x="503870" y="504000"/>
            <a:ext cx="11183564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/>
              <a:t>Insert page title (sentence case)</a:t>
            </a:r>
          </a:p>
        </p:txBody>
      </p:sp>
      <p:grpSp>
        <p:nvGrpSpPr>
          <p:cNvPr id="6" name="Harvey 3" hidden="1">
            <a:extLst>
              <a:ext uri="{FF2B5EF4-FFF2-40B4-BE49-F238E27FC236}">
                <a16:creationId xmlns:a16="http://schemas.microsoft.com/office/drawing/2014/main" id="{B3E7C216-6801-4AB8-8D95-E7D60F39B210}"/>
              </a:ext>
            </a:extLst>
          </p:cNvPr>
          <p:cNvGrpSpPr>
            <a:grpSpLocks/>
          </p:cNvGrpSpPr>
          <p:nvPr userDrawn="1">
            <p:custDataLst>
              <p:tags r:id="rId20"/>
            </p:custDataLst>
          </p:nvPr>
        </p:nvGrpSpPr>
        <p:grpSpPr>
          <a:xfrm>
            <a:off x="3937773" y="3978000"/>
            <a:ext cx="1024611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7" name="Harvey 0/3 [0]">
              <a:extLst>
                <a:ext uri="{FF2B5EF4-FFF2-40B4-BE49-F238E27FC236}">
                  <a16:creationId xmlns:a16="http://schemas.microsoft.com/office/drawing/2014/main" id="{FC8CECD5-A3FB-4DD5-A846-DC09FDB6EB04}"/>
                </a:ext>
              </a:extLst>
            </p:cNvPr>
            <p:cNvSpPr>
              <a:spLocks noChangeAspect="1"/>
            </p:cNvSpPr>
            <p:nvPr>
              <p:custDataLst>
                <p:tags r:id="rId13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" name="Harvey 1/3 [1]">
              <a:extLst>
                <a:ext uri="{FF2B5EF4-FFF2-40B4-BE49-F238E27FC236}">
                  <a16:creationId xmlns:a16="http://schemas.microsoft.com/office/drawing/2014/main" id="{750B853B-8389-4427-AFB9-1CE880FE9BEE}"/>
                </a:ext>
              </a:extLst>
            </p:cNvPr>
            <p:cNvSpPr>
              <a:spLocks noChangeAspect="1"/>
            </p:cNvSpPr>
            <p:nvPr>
              <p:custDataLst>
                <p:tags r:id="rId14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2463" y="476249"/>
                  </a:moveTo>
                  <a:arcTo wR="317500" hR="317500" stAng="1800000" swAng="14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" name="Harvey 2/3 [2]">
              <a:extLst>
                <a:ext uri="{FF2B5EF4-FFF2-40B4-BE49-F238E27FC236}">
                  <a16:creationId xmlns:a16="http://schemas.microsoft.com/office/drawing/2014/main" id="{0CA9A207-7055-4A72-8ED2-D82605C3D0C8}"/>
                </a:ext>
              </a:extLst>
            </p:cNvPr>
            <p:cNvSpPr>
              <a:spLocks noChangeAspect="1"/>
            </p:cNvSpPr>
            <p:nvPr>
              <p:custDataLst>
                <p:tags r:id="rId14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2536" y="476250"/>
                  </a:moveTo>
                  <a:arcTo wR="317500" hR="317500" stAng="9000000" swAng="7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" name="Harvey 3/3 [3]">
              <a:extLst>
                <a:ext uri="{FF2B5EF4-FFF2-40B4-BE49-F238E27FC236}">
                  <a16:creationId xmlns:a16="http://schemas.microsoft.com/office/drawing/2014/main" id="{4422C816-875A-41F5-9DC0-8DBAE4C5C6CB}"/>
                </a:ext>
              </a:extLst>
            </p:cNvPr>
            <p:cNvSpPr>
              <a:spLocks noChangeAspect="1"/>
            </p:cNvSpPr>
            <p:nvPr>
              <p:custDataLst>
                <p:tags r:id="rId14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11" name="Harvey 4" hidden="1">
            <a:extLst>
              <a:ext uri="{FF2B5EF4-FFF2-40B4-BE49-F238E27FC236}">
                <a16:creationId xmlns:a16="http://schemas.microsoft.com/office/drawing/2014/main" id="{DDC5C333-7028-4F79-8940-98DC17723588}"/>
              </a:ext>
            </a:extLst>
          </p:cNvPr>
          <p:cNvGrpSpPr>
            <a:grpSpLocks/>
          </p:cNvGrpSpPr>
          <p:nvPr userDrawn="1">
            <p:custDataLst>
              <p:tags r:id="rId21"/>
            </p:custDataLst>
          </p:nvPr>
        </p:nvGrpSpPr>
        <p:grpSpPr>
          <a:xfrm>
            <a:off x="5390102" y="3978000"/>
            <a:ext cx="1024611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3" name="Harvey 0/4 [0]">
              <a:extLst>
                <a:ext uri="{FF2B5EF4-FFF2-40B4-BE49-F238E27FC236}">
                  <a16:creationId xmlns:a16="http://schemas.microsoft.com/office/drawing/2014/main" id="{70B331E2-39A8-4BAF-8DDD-C631B51EB56E}"/>
                </a:ext>
              </a:extLst>
            </p:cNvPr>
            <p:cNvSpPr>
              <a:spLocks noChangeAspect="1"/>
            </p:cNvSpPr>
            <p:nvPr>
              <p:custDataLst>
                <p:tags r:id="rId13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" name="Harvey 1/4 [1]">
              <a:extLst>
                <a:ext uri="{FF2B5EF4-FFF2-40B4-BE49-F238E27FC236}">
                  <a16:creationId xmlns:a16="http://schemas.microsoft.com/office/drawing/2014/main" id="{47F66FBA-2801-4875-BD13-0BF512FC3C6A}"/>
                </a:ext>
              </a:extLst>
            </p:cNvPr>
            <p:cNvSpPr>
              <a:spLocks noChangeAspect="1"/>
            </p:cNvSpPr>
            <p:nvPr>
              <p:custDataLst>
                <p:tags r:id="rId13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" name="Harvey 2/4 [2]">
              <a:extLst>
                <a:ext uri="{FF2B5EF4-FFF2-40B4-BE49-F238E27FC236}">
                  <a16:creationId xmlns:a16="http://schemas.microsoft.com/office/drawing/2014/main" id="{99673DAB-5272-45DC-B222-CA8CAA9FD2BB}"/>
                </a:ext>
              </a:extLst>
            </p:cNvPr>
            <p:cNvSpPr>
              <a:spLocks noChangeAspect="1"/>
            </p:cNvSpPr>
            <p:nvPr>
              <p:custDataLst>
                <p:tags r:id="rId13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" name="Harvey 3/4 [3]">
              <a:extLst>
                <a:ext uri="{FF2B5EF4-FFF2-40B4-BE49-F238E27FC236}">
                  <a16:creationId xmlns:a16="http://schemas.microsoft.com/office/drawing/2014/main" id="{F9B9444B-C98D-45FC-BA92-881D06827328}"/>
                </a:ext>
              </a:extLst>
            </p:cNvPr>
            <p:cNvSpPr>
              <a:spLocks noChangeAspect="1"/>
            </p:cNvSpPr>
            <p:nvPr>
              <p:custDataLst>
                <p:tags r:id="rId13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" name="Harvey 4/4 [4]">
              <a:extLst>
                <a:ext uri="{FF2B5EF4-FFF2-40B4-BE49-F238E27FC236}">
                  <a16:creationId xmlns:a16="http://schemas.microsoft.com/office/drawing/2014/main" id="{5FFB853D-F550-4F16-8269-A070A19E381C}"/>
                </a:ext>
              </a:extLst>
            </p:cNvPr>
            <p:cNvSpPr>
              <a:spLocks noChangeAspect="1"/>
            </p:cNvSpPr>
            <p:nvPr>
              <p:custDataLst>
                <p:tags r:id="rId13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18" name="Harvey 8" hidden="1">
            <a:extLst>
              <a:ext uri="{FF2B5EF4-FFF2-40B4-BE49-F238E27FC236}">
                <a16:creationId xmlns:a16="http://schemas.microsoft.com/office/drawing/2014/main" id="{0630AB66-7B5F-41CE-A2EB-2EB4C67794AE}"/>
              </a:ext>
            </a:extLst>
          </p:cNvPr>
          <p:cNvGrpSpPr>
            <a:grpSpLocks/>
          </p:cNvGrpSpPr>
          <p:nvPr userDrawn="1">
            <p:custDataLst>
              <p:tags r:id="rId22"/>
            </p:custDataLst>
          </p:nvPr>
        </p:nvGrpSpPr>
        <p:grpSpPr>
          <a:xfrm>
            <a:off x="6842432" y="3978000"/>
            <a:ext cx="1024611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9" name="Harvey 0/8 [0]">
              <a:extLst>
                <a:ext uri="{FF2B5EF4-FFF2-40B4-BE49-F238E27FC236}">
                  <a16:creationId xmlns:a16="http://schemas.microsoft.com/office/drawing/2014/main" id="{051D5678-1EFE-40CF-8563-B5E9EA35A271}"/>
                </a:ext>
              </a:extLst>
            </p:cNvPr>
            <p:cNvSpPr>
              <a:spLocks noChangeAspect="1"/>
            </p:cNvSpPr>
            <p:nvPr>
              <p:custDataLst>
                <p:tags r:id="rId12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" name="Harvey 1/8 [1]">
              <a:extLst>
                <a:ext uri="{FF2B5EF4-FFF2-40B4-BE49-F238E27FC236}">
                  <a16:creationId xmlns:a16="http://schemas.microsoft.com/office/drawing/2014/main" id="{E5DDEB4B-B8B3-42DA-AF30-4FD0A1770D91}"/>
                </a:ext>
              </a:extLst>
            </p:cNvPr>
            <p:cNvSpPr>
              <a:spLocks noChangeAspect="1"/>
            </p:cNvSpPr>
            <p:nvPr>
              <p:custDataLst>
                <p:tags r:id="rId12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7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92993"/>
                  </a:moveTo>
                  <a:arcTo wR="317500" hR="317500" stAng="-2700000" swAng="189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1" name="Harvey 2/8 [2]">
              <a:extLst>
                <a:ext uri="{FF2B5EF4-FFF2-40B4-BE49-F238E27FC236}">
                  <a16:creationId xmlns:a16="http://schemas.microsoft.com/office/drawing/2014/main" id="{FB9200C4-0418-4CEF-BBB8-18F997AD7CA8}"/>
                </a:ext>
              </a:extLst>
            </p:cNvPr>
            <p:cNvSpPr>
              <a:spLocks noChangeAspect="1"/>
            </p:cNvSpPr>
            <p:nvPr>
              <p:custDataLst>
                <p:tags r:id="rId12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2" name="Harvey 3/8 [3]">
              <a:extLst>
                <a:ext uri="{FF2B5EF4-FFF2-40B4-BE49-F238E27FC236}">
                  <a16:creationId xmlns:a16="http://schemas.microsoft.com/office/drawing/2014/main" id="{8E4DE7E8-0809-4E2E-BE6A-E989A6AEBF62}"/>
                </a:ext>
              </a:extLst>
            </p:cNvPr>
            <p:cNvSpPr>
              <a:spLocks noChangeAspect="1"/>
            </p:cNvSpPr>
            <p:nvPr>
              <p:custDataLst>
                <p:tags r:id="rId12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1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542006"/>
                  </a:moveTo>
                  <a:arcTo wR="317500" hR="317500" stAng="2700000" swAng="135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3" name="Harvey 4/8 [4]">
              <a:extLst>
                <a:ext uri="{FF2B5EF4-FFF2-40B4-BE49-F238E27FC236}">
                  <a16:creationId xmlns:a16="http://schemas.microsoft.com/office/drawing/2014/main" id="{F839E6A9-0DED-402B-8F4C-2176769B55CD}"/>
                </a:ext>
              </a:extLst>
            </p:cNvPr>
            <p:cNvSpPr>
              <a:spLocks noChangeAspect="1"/>
            </p:cNvSpPr>
            <p:nvPr>
              <p:custDataLst>
                <p:tags r:id="rId12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4" name="Harvey 5/8 [5]">
              <a:extLst>
                <a:ext uri="{FF2B5EF4-FFF2-40B4-BE49-F238E27FC236}">
                  <a16:creationId xmlns:a16="http://schemas.microsoft.com/office/drawing/2014/main" id="{C3EE8663-AD08-4237-8344-6543EC4B688C}"/>
                </a:ext>
              </a:extLst>
            </p:cNvPr>
            <p:cNvSpPr>
              <a:spLocks noChangeAspect="1"/>
            </p:cNvSpPr>
            <p:nvPr>
              <p:custDataLst>
                <p:tags r:id="rId13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5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542006"/>
                  </a:moveTo>
                  <a:arcTo wR="317500" hR="317500" stAng="8100000" swAng="81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5" name="Harvey 6/8 [6]">
              <a:extLst>
                <a:ext uri="{FF2B5EF4-FFF2-40B4-BE49-F238E27FC236}">
                  <a16:creationId xmlns:a16="http://schemas.microsoft.com/office/drawing/2014/main" id="{ADE6F931-D156-4E59-A3ED-0B14B5F0EF7E}"/>
                </a:ext>
              </a:extLst>
            </p:cNvPr>
            <p:cNvSpPr>
              <a:spLocks noChangeAspect="1"/>
            </p:cNvSpPr>
            <p:nvPr>
              <p:custDataLst>
                <p:tags r:id="rId13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6" name="Harvey 7/8 [7]">
              <a:extLst>
                <a:ext uri="{FF2B5EF4-FFF2-40B4-BE49-F238E27FC236}">
                  <a16:creationId xmlns:a16="http://schemas.microsoft.com/office/drawing/2014/main" id="{A36821AE-2FF1-4F6E-AAF3-1BEA6AE153B8}"/>
                </a:ext>
              </a:extLst>
            </p:cNvPr>
            <p:cNvSpPr>
              <a:spLocks noChangeAspect="1"/>
            </p:cNvSpPr>
            <p:nvPr>
              <p:custDataLst>
                <p:tags r:id="rId13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9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92993"/>
                  </a:moveTo>
                  <a:arcTo wR="317500" hR="317500" stAng="13500000" swAng="27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7" name="Harvey 8/8 [8]">
              <a:extLst>
                <a:ext uri="{FF2B5EF4-FFF2-40B4-BE49-F238E27FC236}">
                  <a16:creationId xmlns:a16="http://schemas.microsoft.com/office/drawing/2014/main" id="{2D277E47-45D5-4503-8443-BED560C6560A}"/>
                </a:ext>
              </a:extLst>
            </p:cNvPr>
            <p:cNvSpPr>
              <a:spLocks noChangeAspect="1"/>
            </p:cNvSpPr>
            <p:nvPr>
              <p:custDataLst>
                <p:tags r:id="rId13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28" name="Harvey 100" hidden="1">
            <a:extLst>
              <a:ext uri="{FF2B5EF4-FFF2-40B4-BE49-F238E27FC236}">
                <a16:creationId xmlns:a16="http://schemas.microsoft.com/office/drawing/2014/main" id="{6D5D9337-395C-4FE4-97E6-E1CD47A644E9}"/>
              </a:ext>
            </a:extLst>
          </p:cNvPr>
          <p:cNvGrpSpPr/>
          <p:nvPr userDrawn="1">
            <p:custDataLst>
              <p:tags r:id="rId23"/>
            </p:custDataLst>
          </p:nvPr>
        </p:nvGrpSpPr>
        <p:grpSpPr>
          <a:xfrm>
            <a:off x="8294762" y="3978000"/>
            <a:ext cx="1024611" cy="1024878"/>
            <a:chOff x="4334905" y="3282696"/>
            <a:chExt cx="292608" cy="292608"/>
          </a:xfrm>
          <a:solidFill>
            <a:schemeClr val="accent1"/>
          </a:solidFill>
        </p:grpSpPr>
        <p:sp>
          <p:nvSpPr>
            <p:cNvPr id="29" name="Harvey 0/100 [0]">
              <a:extLst>
                <a:ext uri="{FF2B5EF4-FFF2-40B4-BE49-F238E27FC236}">
                  <a16:creationId xmlns:a16="http://schemas.microsoft.com/office/drawing/2014/main" id="{C2D4C837-2D4B-4D6B-81F8-9B001989609B}"/>
                </a:ext>
              </a:extLst>
            </p:cNvPr>
            <p:cNvSpPr>
              <a:spLocks noChangeAspect="1"/>
            </p:cNvSpPr>
            <p:nvPr>
              <p:custDataLst>
                <p:tags r:id="rId2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30" name="Harvey 1/100 [1]">
              <a:extLst>
                <a:ext uri="{FF2B5EF4-FFF2-40B4-BE49-F238E27FC236}">
                  <a16:creationId xmlns:a16="http://schemas.microsoft.com/office/drawing/2014/main" id="{BACD6AAA-4A1C-46BE-B491-9A4A9C7C56F3}"/>
                </a:ext>
              </a:extLst>
            </p:cNvPr>
            <p:cNvSpPr>
              <a:spLocks noChangeAspect="1"/>
            </p:cNvSpPr>
            <p:nvPr>
              <p:custDataLst>
                <p:tags r:id="rId2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26"/>
                  </a:moveTo>
                  <a:arcTo wR="317500" hR="317500" stAng="-5184000" swAng="213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31" name="Harvey 2/100 [2]">
              <a:extLst>
                <a:ext uri="{FF2B5EF4-FFF2-40B4-BE49-F238E27FC236}">
                  <a16:creationId xmlns:a16="http://schemas.microsoft.com/office/drawing/2014/main" id="{701024C3-4DEF-477C-9CFB-100E0303499E}"/>
                </a:ext>
              </a:extLst>
            </p:cNvPr>
            <p:cNvSpPr>
              <a:spLocks noChangeAspect="1"/>
            </p:cNvSpPr>
            <p:nvPr>
              <p:custDataLst>
                <p:tags r:id="rId2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2503"/>
                  </a:moveTo>
                  <a:arcTo wR="317500" hR="317500" stAng="-4968000" swAng="211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32" name="Harvey 3/100 [3]">
              <a:extLst>
                <a:ext uri="{FF2B5EF4-FFF2-40B4-BE49-F238E27FC236}">
                  <a16:creationId xmlns:a16="http://schemas.microsoft.com/office/drawing/2014/main" id="{46A461CD-8D28-4422-AF2A-8267EFA51CAD}"/>
                </a:ext>
              </a:extLst>
            </p:cNvPr>
            <p:cNvSpPr>
              <a:spLocks noChangeAspect="1"/>
            </p:cNvSpPr>
            <p:nvPr>
              <p:custDataLst>
                <p:tags r:id="rId2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5623"/>
                  </a:moveTo>
                  <a:arcTo wR="317500" hR="317500" stAng="-4752000" swAng="209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33" name="Harvey 4/100 [4]">
              <a:extLst>
                <a:ext uri="{FF2B5EF4-FFF2-40B4-BE49-F238E27FC236}">
                  <a16:creationId xmlns:a16="http://schemas.microsoft.com/office/drawing/2014/main" id="{0A337C3A-F021-437D-9E3D-FDE5AF266029}"/>
                </a:ext>
              </a:extLst>
            </p:cNvPr>
            <p:cNvSpPr>
              <a:spLocks noChangeAspect="1"/>
            </p:cNvSpPr>
            <p:nvPr>
              <p:custDataLst>
                <p:tags r:id="rId2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9974"/>
                  </a:moveTo>
                  <a:arcTo wR="317500" hR="317500" stAng="-4536000" swAng="2073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35" name="Harvey 5/100 [5]">
              <a:extLst>
                <a:ext uri="{FF2B5EF4-FFF2-40B4-BE49-F238E27FC236}">
                  <a16:creationId xmlns:a16="http://schemas.microsoft.com/office/drawing/2014/main" id="{BDF66AF7-3D75-4118-B7E6-241B2C41B2C9}"/>
                </a:ext>
              </a:extLst>
            </p:cNvPr>
            <p:cNvSpPr>
              <a:spLocks noChangeAspect="1"/>
            </p:cNvSpPr>
            <p:nvPr>
              <p:custDataLst>
                <p:tags r:id="rId2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15539"/>
                  </a:moveTo>
                  <a:arcTo wR="317500" hR="317500" stAng="-4320000" swAng="2052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36" name="Harvey 6/100 [6]">
              <a:extLst>
                <a:ext uri="{FF2B5EF4-FFF2-40B4-BE49-F238E27FC236}">
                  <a16:creationId xmlns:a16="http://schemas.microsoft.com/office/drawing/2014/main" id="{E74E7438-4315-4097-9BA7-F0CE3252AC14}"/>
                </a:ext>
              </a:extLst>
            </p:cNvPr>
            <p:cNvSpPr>
              <a:spLocks noChangeAspect="1"/>
            </p:cNvSpPr>
            <p:nvPr>
              <p:custDataLst>
                <p:tags r:id="rId3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22295"/>
                  </a:moveTo>
                  <a:arcTo wR="317500" hR="317500" stAng="-4104000" swAng="2030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37" name="Harvey 7/100 [7]">
              <a:extLst>
                <a:ext uri="{FF2B5EF4-FFF2-40B4-BE49-F238E27FC236}">
                  <a16:creationId xmlns:a16="http://schemas.microsoft.com/office/drawing/2014/main" id="{FEBA4E91-97BB-4DAC-B193-66FA4828DB26}"/>
                </a:ext>
              </a:extLst>
            </p:cNvPr>
            <p:cNvSpPr>
              <a:spLocks noChangeAspect="1"/>
            </p:cNvSpPr>
            <p:nvPr>
              <p:custDataLst>
                <p:tags r:id="rId3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30217"/>
                  </a:moveTo>
                  <a:arcTo wR="317500" hR="317500" stAng="-3888000" swAng="200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38" name="Harvey 8/100 [8]">
              <a:extLst>
                <a:ext uri="{FF2B5EF4-FFF2-40B4-BE49-F238E27FC236}">
                  <a16:creationId xmlns:a16="http://schemas.microsoft.com/office/drawing/2014/main" id="{EEB85E02-177B-40CF-B926-A4423CC7C827}"/>
                </a:ext>
              </a:extLst>
            </p:cNvPr>
            <p:cNvSpPr>
              <a:spLocks noChangeAspect="1"/>
            </p:cNvSpPr>
            <p:nvPr>
              <p:custDataLst>
                <p:tags r:id="rId3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39272"/>
                  </a:moveTo>
                  <a:arcTo wR="317500" hR="317500" stAng="-3672000" swAng="198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39" name="Harvey 9/100 [9]">
              <a:extLst>
                <a:ext uri="{FF2B5EF4-FFF2-40B4-BE49-F238E27FC236}">
                  <a16:creationId xmlns:a16="http://schemas.microsoft.com/office/drawing/2014/main" id="{C133BC7F-B0E3-404F-92D1-BB930C4F3311}"/>
                </a:ext>
              </a:extLst>
            </p:cNvPr>
            <p:cNvSpPr>
              <a:spLocks noChangeAspect="1"/>
            </p:cNvSpPr>
            <p:nvPr>
              <p:custDataLst>
                <p:tags r:id="rId3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49425"/>
                  </a:moveTo>
                  <a:arcTo wR="317500" hR="317500" stAng="-3456000" swAng="196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40" name="Harvey 10/100 [10]">
              <a:extLst>
                <a:ext uri="{FF2B5EF4-FFF2-40B4-BE49-F238E27FC236}">
                  <a16:creationId xmlns:a16="http://schemas.microsoft.com/office/drawing/2014/main" id="{F2FB72A6-CDF7-48B3-A3B8-5A5FC061802C}"/>
                </a:ext>
              </a:extLst>
            </p:cNvPr>
            <p:cNvSpPr>
              <a:spLocks noChangeAspect="1"/>
            </p:cNvSpPr>
            <p:nvPr>
              <p:custDataLst>
                <p:tags r:id="rId3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60637"/>
                  </a:moveTo>
                  <a:arcTo wR="317500" hR="317500" stAng="-3240000" swAng="194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41" name="Harvey 11/100 [11]">
              <a:extLst>
                <a:ext uri="{FF2B5EF4-FFF2-40B4-BE49-F238E27FC236}">
                  <a16:creationId xmlns:a16="http://schemas.microsoft.com/office/drawing/2014/main" id="{F3110C8B-1B18-4579-AB3F-0F4A0840CF38}"/>
                </a:ext>
              </a:extLst>
            </p:cNvPr>
            <p:cNvSpPr>
              <a:spLocks noChangeAspect="1"/>
            </p:cNvSpPr>
            <p:nvPr>
              <p:custDataLst>
                <p:tags r:id="rId3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3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72862"/>
                  </a:moveTo>
                  <a:arcTo wR="317500" hR="317500" stAng="-3024000" swAng="192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42" name="Harvey 12/100 [12]">
              <a:extLst>
                <a:ext uri="{FF2B5EF4-FFF2-40B4-BE49-F238E27FC236}">
                  <a16:creationId xmlns:a16="http://schemas.microsoft.com/office/drawing/2014/main" id="{84A1B722-E5AC-45F7-9498-7FF502B6FA2B}"/>
                </a:ext>
              </a:extLst>
            </p:cNvPr>
            <p:cNvSpPr>
              <a:spLocks noChangeAspect="1"/>
            </p:cNvSpPr>
            <p:nvPr>
              <p:custDataLst>
                <p:tags r:id="rId3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5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86052"/>
                  </a:moveTo>
                  <a:arcTo wR="317500" hR="317500" stAng="-2808000" swAng="190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43" name="Harvey 13/100 [13]">
              <a:extLst>
                <a:ext uri="{FF2B5EF4-FFF2-40B4-BE49-F238E27FC236}">
                  <a16:creationId xmlns:a16="http://schemas.microsoft.com/office/drawing/2014/main" id="{A5599F20-B957-4DF9-8B04-F2B77AAF0BDB}"/>
                </a:ext>
              </a:extLst>
            </p:cNvPr>
            <p:cNvSpPr>
              <a:spLocks noChangeAspect="1"/>
            </p:cNvSpPr>
            <p:nvPr>
              <p:custDataLst>
                <p:tags r:id="rId3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8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100156"/>
                  </a:moveTo>
                  <a:arcTo wR="317500" hR="317500" stAng="-2591999" swAng="187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44" name="Harvey 14/100 [14]">
              <a:extLst>
                <a:ext uri="{FF2B5EF4-FFF2-40B4-BE49-F238E27FC236}">
                  <a16:creationId xmlns:a16="http://schemas.microsoft.com/office/drawing/2014/main" id="{F74357FC-EB3D-46C4-B56A-5007C9F4FB84}"/>
                </a:ext>
              </a:extLst>
            </p:cNvPr>
            <p:cNvSpPr>
              <a:spLocks noChangeAspect="1"/>
            </p:cNvSpPr>
            <p:nvPr>
              <p:custDataLst>
                <p:tags r:id="rId3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0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115117"/>
                  </a:moveTo>
                  <a:arcTo wR="317500" hR="317500" stAng="-2375999" swAng="185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45" name="Harvey 15/100 [15]">
              <a:extLst>
                <a:ext uri="{FF2B5EF4-FFF2-40B4-BE49-F238E27FC236}">
                  <a16:creationId xmlns:a16="http://schemas.microsoft.com/office/drawing/2014/main" id="{32E8E8F3-9DBC-46F4-9700-CAF071913650}"/>
                </a:ext>
              </a:extLst>
            </p:cNvPr>
            <p:cNvSpPr>
              <a:spLocks noChangeAspect="1"/>
            </p:cNvSpPr>
            <p:nvPr>
              <p:custDataLst>
                <p:tags r:id="rId3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2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130878"/>
                  </a:moveTo>
                  <a:arcTo wR="317500" hR="317500" stAng="-2160000" swAng="183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46" name="Harvey 16/100 [16]">
              <a:extLst>
                <a:ext uri="{FF2B5EF4-FFF2-40B4-BE49-F238E27FC236}">
                  <a16:creationId xmlns:a16="http://schemas.microsoft.com/office/drawing/2014/main" id="{71360883-3CF3-4439-9568-E456C60454A8}"/>
                </a:ext>
              </a:extLst>
            </p:cNvPr>
            <p:cNvSpPr>
              <a:spLocks noChangeAspect="1"/>
            </p:cNvSpPr>
            <p:nvPr>
              <p:custDataLst>
                <p:tags r:id="rId4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4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147374"/>
                  </a:moveTo>
                  <a:arcTo wR="317500" hR="317500" stAng="-1944000" swAng="181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47" name="Harvey 17/100 [17]">
              <a:extLst>
                <a:ext uri="{FF2B5EF4-FFF2-40B4-BE49-F238E27FC236}">
                  <a16:creationId xmlns:a16="http://schemas.microsoft.com/office/drawing/2014/main" id="{AE88FC9E-FB95-4413-AE3E-B8BF504735B5}"/>
                </a:ext>
              </a:extLst>
            </p:cNvPr>
            <p:cNvSpPr>
              <a:spLocks noChangeAspect="1"/>
            </p:cNvSpPr>
            <p:nvPr>
              <p:custDataLst>
                <p:tags r:id="rId4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6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164543"/>
                  </a:moveTo>
                  <a:arcTo wR="317500" hR="317500" stAng="-1727999" swAng="179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48" name="Harvey 18/100 [18]">
              <a:extLst>
                <a:ext uri="{FF2B5EF4-FFF2-40B4-BE49-F238E27FC236}">
                  <a16:creationId xmlns:a16="http://schemas.microsoft.com/office/drawing/2014/main" id="{62593B83-E4BE-4CE8-9B0B-25AF9B7D4254}"/>
                </a:ext>
              </a:extLst>
            </p:cNvPr>
            <p:cNvSpPr>
              <a:spLocks noChangeAspect="1"/>
            </p:cNvSpPr>
            <p:nvPr>
              <p:custDataLst>
                <p:tags r:id="rId4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8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182315"/>
                  </a:moveTo>
                  <a:arcTo wR="317500" hR="317500" stAng="-1512000" swAng="177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49" name="Harvey 19/100 [19]">
              <a:extLst>
                <a:ext uri="{FF2B5EF4-FFF2-40B4-BE49-F238E27FC236}">
                  <a16:creationId xmlns:a16="http://schemas.microsoft.com/office/drawing/2014/main" id="{CD41838E-0172-403D-9B68-FD51310F5400}"/>
                </a:ext>
              </a:extLst>
            </p:cNvPr>
            <p:cNvSpPr>
              <a:spLocks noChangeAspect="1"/>
            </p:cNvSpPr>
            <p:nvPr>
              <p:custDataLst>
                <p:tags r:id="rId4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1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200620"/>
                  </a:moveTo>
                  <a:arcTo wR="317500" hR="317500" stAng="-1295999" swAng="174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50" name="Harvey 20/100 [20]">
              <a:extLst>
                <a:ext uri="{FF2B5EF4-FFF2-40B4-BE49-F238E27FC236}">
                  <a16:creationId xmlns:a16="http://schemas.microsoft.com/office/drawing/2014/main" id="{EDE3F4CF-CB3E-40C2-B070-AC09F1E8FBD5}"/>
                </a:ext>
              </a:extLst>
            </p:cNvPr>
            <p:cNvSpPr>
              <a:spLocks noChangeAspect="1"/>
            </p:cNvSpPr>
            <p:nvPr>
              <p:custDataLst>
                <p:tags r:id="rId4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219387"/>
                  </a:moveTo>
                  <a:arcTo wR="317500" hR="317500" stAng="-1080000" swAng="172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51" name="Harvey 21/100 [21]">
              <a:extLst>
                <a:ext uri="{FF2B5EF4-FFF2-40B4-BE49-F238E27FC236}">
                  <a16:creationId xmlns:a16="http://schemas.microsoft.com/office/drawing/2014/main" id="{CD8E25E7-83D2-4F78-92A7-435281704491}"/>
                </a:ext>
              </a:extLst>
            </p:cNvPr>
            <p:cNvSpPr>
              <a:spLocks noChangeAspect="1"/>
            </p:cNvSpPr>
            <p:nvPr>
              <p:custDataLst>
                <p:tags r:id="rId4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5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238540"/>
                  </a:moveTo>
                  <a:arcTo wR="317500" hR="317500" stAng="-864000" swAng="170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52" name="Harvey 22/100 [22]">
              <a:extLst>
                <a:ext uri="{FF2B5EF4-FFF2-40B4-BE49-F238E27FC236}">
                  <a16:creationId xmlns:a16="http://schemas.microsoft.com/office/drawing/2014/main" id="{C6A696FB-9EFC-47F6-9860-247C48C1FC3D}"/>
                </a:ext>
              </a:extLst>
            </p:cNvPr>
            <p:cNvSpPr>
              <a:spLocks noChangeAspect="1"/>
            </p:cNvSpPr>
            <p:nvPr>
              <p:custDataLst>
                <p:tags r:id="rId4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7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258006"/>
                  </a:moveTo>
                  <a:arcTo wR="317500" hR="317500" stAng="-647999" swAng="168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53" name="Harvey 23/100 [23]">
              <a:extLst>
                <a:ext uri="{FF2B5EF4-FFF2-40B4-BE49-F238E27FC236}">
                  <a16:creationId xmlns:a16="http://schemas.microsoft.com/office/drawing/2014/main" id="{252958D2-EE89-4FBF-BF7B-C8AFAD704413}"/>
                </a:ext>
              </a:extLst>
            </p:cNvPr>
            <p:cNvSpPr>
              <a:spLocks noChangeAspect="1"/>
            </p:cNvSpPr>
            <p:nvPr>
              <p:custDataLst>
                <p:tags r:id="rId4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9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277706"/>
                  </a:moveTo>
                  <a:arcTo wR="317500" hR="317500" stAng="-432000" swAng="166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54" name="Harvey 24/100 [24]">
              <a:extLst>
                <a:ext uri="{FF2B5EF4-FFF2-40B4-BE49-F238E27FC236}">
                  <a16:creationId xmlns:a16="http://schemas.microsoft.com/office/drawing/2014/main" id="{314E82DC-04B6-406C-9D65-1115F4D2AA22}"/>
                </a:ext>
              </a:extLst>
            </p:cNvPr>
            <p:cNvSpPr>
              <a:spLocks noChangeAspect="1"/>
            </p:cNvSpPr>
            <p:nvPr>
              <p:custDataLst>
                <p:tags r:id="rId4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1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297564"/>
                  </a:moveTo>
                  <a:arcTo wR="317500" hR="317500" stAng="-216000" swAng="164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55" name="Harvey 25/100 [25]">
              <a:extLst>
                <a:ext uri="{FF2B5EF4-FFF2-40B4-BE49-F238E27FC236}">
                  <a16:creationId xmlns:a16="http://schemas.microsoft.com/office/drawing/2014/main" id="{669D1B60-A74F-4296-8610-F3DCDDC15022}"/>
                </a:ext>
              </a:extLst>
            </p:cNvPr>
            <p:cNvSpPr>
              <a:spLocks noChangeAspect="1"/>
            </p:cNvSpPr>
            <p:nvPr>
              <p:custDataLst>
                <p:tags r:id="rId4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56" name="Harvey 26/100 [26]">
              <a:extLst>
                <a:ext uri="{FF2B5EF4-FFF2-40B4-BE49-F238E27FC236}">
                  <a16:creationId xmlns:a16="http://schemas.microsoft.com/office/drawing/2014/main" id="{FF6DD112-04B6-4656-AB9D-1F9950FEE2D9}"/>
                </a:ext>
              </a:extLst>
            </p:cNvPr>
            <p:cNvSpPr>
              <a:spLocks noChangeAspect="1"/>
            </p:cNvSpPr>
            <p:nvPr>
              <p:custDataLst>
                <p:tags r:id="rId5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6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337435"/>
                  </a:moveTo>
                  <a:arcTo wR="317500" hR="317500" stAng="216000" swAng="159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57" name="Harvey 27/100 [27]">
              <a:extLst>
                <a:ext uri="{FF2B5EF4-FFF2-40B4-BE49-F238E27FC236}">
                  <a16:creationId xmlns:a16="http://schemas.microsoft.com/office/drawing/2014/main" id="{E2928B53-FC5C-427C-AE65-9286773D84B2}"/>
                </a:ext>
              </a:extLst>
            </p:cNvPr>
            <p:cNvSpPr>
              <a:spLocks noChangeAspect="1"/>
            </p:cNvSpPr>
            <p:nvPr>
              <p:custDataLst>
                <p:tags r:id="rId5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8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357293"/>
                  </a:moveTo>
                  <a:arcTo wR="317500" hR="317500" stAng="432000" swAng="157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58" name="Harvey 28/100 [28]">
              <a:extLst>
                <a:ext uri="{FF2B5EF4-FFF2-40B4-BE49-F238E27FC236}">
                  <a16:creationId xmlns:a16="http://schemas.microsoft.com/office/drawing/2014/main" id="{D8CF4F20-8FEC-47FF-9B86-E818143B2C19}"/>
                </a:ext>
              </a:extLst>
            </p:cNvPr>
            <p:cNvSpPr>
              <a:spLocks noChangeAspect="1"/>
            </p:cNvSpPr>
            <p:nvPr>
              <p:custDataLst>
                <p:tags r:id="rId5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0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376993"/>
                  </a:moveTo>
                  <a:arcTo wR="317500" hR="317500" stAng="648000" swAng="155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59" name="Harvey 29/100 [29]">
              <a:extLst>
                <a:ext uri="{FF2B5EF4-FFF2-40B4-BE49-F238E27FC236}">
                  <a16:creationId xmlns:a16="http://schemas.microsoft.com/office/drawing/2014/main" id="{E1AF074D-4599-4D0E-8078-66303FEBDE44}"/>
                </a:ext>
              </a:extLst>
            </p:cNvPr>
            <p:cNvSpPr>
              <a:spLocks noChangeAspect="1"/>
            </p:cNvSpPr>
            <p:nvPr>
              <p:custDataLst>
                <p:tags r:id="rId5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26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396459"/>
                  </a:moveTo>
                  <a:arcTo wR="317500" hR="317500" stAng="863999" swAng="153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60" name="Harvey 30/100 [30]">
              <a:extLst>
                <a:ext uri="{FF2B5EF4-FFF2-40B4-BE49-F238E27FC236}">
                  <a16:creationId xmlns:a16="http://schemas.microsoft.com/office/drawing/2014/main" id="{2DF9C982-C062-4899-8A5F-20F49AD9E1B5}"/>
                </a:ext>
              </a:extLst>
            </p:cNvPr>
            <p:cNvSpPr>
              <a:spLocks noChangeAspect="1"/>
            </p:cNvSpPr>
            <p:nvPr>
              <p:custDataLst>
                <p:tags r:id="rId5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415612"/>
                  </a:moveTo>
                  <a:arcTo wR="317500" hR="317500" stAng="1080000" swAng="151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61" name="Harvey 31/100 [31]">
              <a:extLst>
                <a:ext uri="{FF2B5EF4-FFF2-40B4-BE49-F238E27FC236}">
                  <a16:creationId xmlns:a16="http://schemas.microsoft.com/office/drawing/2014/main" id="{E98CD797-9DD9-4143-9058-D1ABF95E7406}"/>
                </a:ext>
              </a:extLst>
            </p:cNvPr>
            <p:cNvSpPr>
              <a:spLocks noChangeAspect="1"/>
            </p:cNvSpPr>
            <p:nvPr>
              <p:custDataLst>
                <p:tags r:id="rId5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6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434379"/>
                  </a:moveTo>
                  <a:arcTo wR="317500" hR="317500" stAng="1295999" swAng="149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62" name="Harvey 32/100 [32]">
              <a:extLst>
                <a:ext uri="{FF2B5EF4-FFF2-40B4-BE49-F238E27FC236}">
                  <a16:creationId xmlns:a16="http://schemas.microsoft.com/office/drawing/2014/main" id="{39029FE4-844F-47DA-8FEF-FB68673FF10C}"/>
                </a:ext>
              </a:extLst>
            </p:cNvPr>
            <p:cNvSpPr>
              <a:spLocks noChangeAspect="1"/>
            </p:cNvSpPr>
            <p:nvPr>
              <p:custDataLst>
                <p:tags r:id="rId5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9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452684"/>
                  </a:moveTo>
                  <a:arcTo wR="317500" hR="317500" stAng="1512000" swAng="146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63" name="Harvey 33/100 [33]">
              <a:extLst>
                <a:ext uri="{FF2B5EF4-FFF2-40B4-BE49-F238E27FC236}">
                  <a16:creationId xmlns:a16="http://schemas.microsoft.com/office/drawing/2014/main" id="{B99AA4D4-9C74-447B-89EF-8FD268FF95EE}"/>
                </a:ext>
              </a:extLst>
            </p:cNvPr>
            <p:cNvSpPr>
              <a:spLocks noChangeAspect="1"/>
            </p:cNvSpPr>
            <p:nvPr>
              <p:custDataLst>
                <p:tags r:id="rId5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1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470456"/>
                  </a:moveTo>
                  <a:arcTo wR="317500" hR="317500" stAng="1728000" swAng="144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64" name="Harvey 34/100 [34]">
              <a:extLst>
                <a:ext uri="{FF2B5EF4-FFF2-40B4-BE49-F238E27FC236}">
                  <a16:creationId xmlns:a16="http://schemas.microsoft.com/office/drawing/2014/main" id="{0880CCDE-4DDE-49A8-AFB2-FDDCE314B4D3}"/>
                </a:ext>
              </a:extLst>
            </p:cNvPr>
            <p:cNvSpPr>
              <a:spLocks noChangeAspect="1"/>
            </p:cNvSpPr>
            <p:nvPr>
              <p:custDataLst>
                <p:tags r:id="rId5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3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487625"/>
                  </a:moveTo>
                  <a:arcTo wR="317500" hR="317500" stAng="1944000" swAng="1425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65" name="Harvey 35/100 [35]">
              <a:extLst>
                <a:ext uri="{FF2B5EF4-FFF2-40B4-BE49-F238E27FC236}">
                  <a16:creationId xmlns:a16="http://schemas.microsoft.com/office/drawing/2014/main" id="{F37E834A-F9D8-4623-BC85-60359856CCD0}"/>
                </a:ext>
              </a:extLst>
            </p:cNvPr>
            <p:cNvSpPr>
              <a:spLocks noChangeAspect="1"/>
            </p:cNvSpPr>
            <p:nvPr>
              <p:custDataLst>
                <p:tags r:id="rId5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55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504121"/>
                  </a:moveTo>
                  <a:arcTo wR="317500" hR="317500" stAng="2159999" swAng="140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66" name="Harvey 36/100 [36]">
              <a:extLst>
                <a:ext uri="{FF2B5EF4-FFF2-40B4-BE49-F238E27FC236}">
                  <a16:creationId xmlns:a16="http://schemas.microsoft.com/office/drawing/2014/main" id="{15163940-B229-4368-B727-3714123C78AB}"/>
                </a:ext>
              </a:extLst>
            </p:cNvPr>
            <p:cNvSpPr>
              <a:spLocks noChangeAspect="1"/>
            </p:cNvSpPr>
            <p:nvPr>
              <p:custDataLst>
                <p:tags r:id="rId6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7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519882"/>
                  </a:moveTo>
                  <a:arcTo wR="317500" hR="317500" stAng="2375999" swAng="138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67" name="Harvey 37/100 [37]">
              <a:extLst>
                <a:ext uri="{FF2B5EF4-FFF2-40B4-BE49-F238E27FC236}">
                  <a16:creationId xmlns:a16="http://schemas.microsoft.com/office/drawing/2014/main" id="{64BAECDC-27C7-4333-B9D8-59DE42A1B1AA}"/>
                </a:ext>
              </a:extLst>
            </p:cNvPr>
            <p:cNvSpPr>
              <a:spLocks noChangeAspect="1"/>
            </p:cNvSpPr>
            <p:nvPr>
              <p:custDataLst>
                <p:tags r:id="rId6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9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534843"/>
                  </a:moveTo>
                  <a:arcTo wR="317500" hR="317500" stAng="2591999" swAng="136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68" name="Harvey 38/100 [38]">
              <a:extLst>
                <a:ext uri="{FF2B5EF4-FFF2-40B4-BE49-F238E27FC236}">
                  <a16:creationId xmlns:a16="http://schemas.microsoft.com/office/drawing/2014/main" id="{4F018A0A-A74A-4E47-BC47-203679D4F8C0}"/>
                </a:ext>
              </a:extLst>
            </p:cNvPr>
            <p:cNvSpPr>
              <a:spLocks noChangeAspect="1"/>
            </p:cNvSpPr>
            <p:nvPr>
              <p:custDataLst>
                <p:tags r:id="rId6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2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548947"/>
                  </a:moveTo>
                  <a:arcTo wR="317500" hR="317500" stAng="2808000" swAng="133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69" name="Harvey 39/100 [39]">
              <a:extLst>
                <a:ext uri="{FF2B5EF4-FFF2-40B4-BE49-F238E27FC236}">
                  <a16:creationId xmlns:a16="http://schemas.microsoft.com/office/drawing/2014/main" id="{ACA75957-9FDB-46A2-82EC-77103CBEAC52}"/>
                </a:ext>
              </a:extLst>
            </p:cNvPr>
            <p:cNvSpPr>
              <a:spLocks noChangeAspect="1"/>
            </p:cNvSpPr>
            <p:nvPr>
              <p:custDataLst>
                <p:tags r:id="rId6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4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562137"/>
                  </a:moveTo>
                  <a:arcTo wR="317500" hR="317500" stAng="3024000" swAng="131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70" name="Harvey 40/100 [40]">
              <a:extLst>
                <a:ext uri="{FF2B5EF4-FFF2-40B4-BE49-F238E27FC236}">
                  <a16:creationId xmlns:a16="http://schemas.microsoft.com/office/drawing/2014/main" id="{025DFA7F-A073-422A-8D20-E27D1ABE4342}"/>
                </a:ext>
              </a:extLst>
            </p:cNvPr>
            <p:cNvSpPr>
              <a:spLocks noChangeAspect="1"/>
            </p:cNvSpPr>
            <p:nvPr>
              <p:custDataLst>
                <p:tags r:id="rId6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574362"/>
                  </a:moveTo>
                  <a:arcTo wR="317500" hR="317500" stAng="3240000" swAng="129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71" name="Harvey 41/100 [41]">
              <a:extLst>
                <a:ext uri="{FF2B5EF4-FFF2-40B4-BE49-F238E27FC236}">
                  <a16:creationId xmlns:a16="http://schemas.microsoft.com/office/drawing/2014/main" id="{BF311CE9-A4CB-4965-8F0F-5B6811E9FB20}"/>
                </a:ext>
              </a:extLst>
            </p:cNvPr>
            <p:cNvSpPr>
              <a:spLocks noChangeAspect="1"/>
            </p:cNvSpPr>
            <p:nvPr>
              <p:custDataLst>
                <p:tags r:id="rId6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8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585574"/>
                  </a:moveTo>
                  <a:arcTo wR="317500" hR="317500" stAng="3455999" swAng="127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72" name="Harvey 42/100 [42]">
              <a:extLst>
                <a:ext uri="{FF2B5EF4-FFF2-40B4-BE49-F238E27FC236}">
                  <a16:creationId xmlns:a16="http://schemas.microsoft.com/office/drawing/2014/main" id="{1B415A3D-1E85-4E6A-8BAB-3BB56600BA4F}"/>
                </a:ext>
              </a:extLst>
            </p:cNvPr>
            <p:cNvSpPr>
              <a:spLocks noChangeAspect="1"/>
            </p:cNvSpPr>
            <p:nvPr>
              <p:custDataLst>
                <p:tags r:id="rId6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0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595727"/>
                  </a:moveTo>
                  <a:arcTo wR="317500" hR="317500" stAng="3671999" swAng="125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73" name="Harvey 43/100 [43]">
              <a:extLst>
                <a:ext uri="{FF2B5EF4-FFF2-40B4-BE49-F238E27FC236}">
                  <a16:creationId xmlns:a16="http://schemas.microsoft.com/office/drawing/2014/main" id="{7EAD6077-4487-4E7D-846D-445E65B5291C}"/>
                </a:ext>
              </a:extLst>
            </p:cNvPr>
            <p:cNvSpPr>
              <a:spLocks noChangeAspect="1"/>
            </p:cNvSpPr>
            <p:nvPr>
              <p:custDataLst>
                <p:tags r:id="rId6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2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604782"/>
                  </a:moveTo>
                  <a:arcTo wR="317500" hR="317500" stAng="3888000" swAng="123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74" name="Harvey 44/100 [44]">
              <a:extLst>
                <a:ext uri="{FF2B5EF4-FFF2-40B4-BE49-F238E27FC236}">
                  <a16:creationId xmlns:a16="http://schemas.microsoft.com/office/drawing/2014/main" id="{4B57ADAF-4A83-4CB4-8920-E2B9F994E83E}"/>
                </a:ext>
              </a:extLst>
            </p:cNvPr>
            <p:cNvSpPr>
              <a:spLocks noChangeAspect="1"/>
            </p:cNvSpPr>
            <p:nvPr>
              <p:custDataLst>
                <p:tags r:id="rId6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5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612704"/>
                  </a:moveTo>
                  <a:arcTo wR="317500" hR="317500" stAng="4104000" swAng="120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75" name="Harvey 45/100 [45]">
              <a:extLst>
                <a:ext uri="{FF2B5EF4-FFF2-40B4-BE49-F238E27FC236}">
                  <a16:creationId xmlns:a16="http://schemas.microsoft.com/office/drawing/2014/main" id="{FF3E5416-AC43-4CBB-A32A-A966ED03106F}"/>
                </a:ext>
              </a:extLst>
            </p:cNvPr>
            <p:cNvSpPr>
              <a:spLocks noChangeAspect="1"/>
            </p:cNvSpPr>
            <p:nvPr>
              <p:custDataLst>
                <p:tags r:id="rId6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7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619460"/>
                  </a:moveTo>
                  <a:arcTo wR="317500" hR="317500" stAng="4320000" swAng="118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76" name="Harvey 46/100 [46]">
              <a:extLst>
                <a:ext uri="{FF2B5EF4-FFF2-40B4-BE49-F238E27FC236}">
                  <a16:creationId xmlns:a16="http://schemas.microsoft.com/office/drawing/2014/main" id="{49AFF9C1-C19A-487C-A4C1-47DA87277C3B}"/>
                </a:ext>
              </a:extLst>
            </p:cNvPr>
            <p:cNvSpPr>
              <a:spLocks noChangeAspect="1"/>
            </p:cNvSpPr>
            <p:nvPr>
              <p:custDataLst>
                <p:tags r:id="rId7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9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625025"/>
                  </a:moveTo>
                  <a:arcTo wR="317500" hR="317500" stAng="4536000" swAng="116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77" name="Harvey 47/100 [47]">
              <a:extLst>
                <a:ext uri="{FF2B5EF4-FFF2-40B4-BE49-F238E27FC236}">
                  <a16:creationId xmlns:a16="http://schemas.microsoft.com/office/drawing/2014/main" id="{F35AEE09-D82F-438F-9D01-96C6876241F1}"/>
                </a:ext>
              </a:extLst>
            </p:cNvPr>
            <p:cNvSpPr>
              <a:spLocks noChangeAspect="1"/>
            </p:cNvSpPr>
            <p:nvPr>
              <p:custDataLst>
                <p:tags r:id="rId7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1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629376"/>
                  </a:moveTo>
                  <a:arcTo wR="317500" hR="317500" stAng="4751999" swAng="114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78" name="Harvey 48/100 [48]">
              <a:extLst>
                <a:ext uri="{FF2B5EF4-FFF2-40B4-BE49-F238E27FC236}">
                  <a16:creationId xmlns:a16="http://schemas.microsoft.com/office/drawing/2014/main" id="{4FC3325B-EEB2-4420-9715-1149CEACE9AC}"/>
                </a:ext>
              </a:extLst>
            </p:cNvPr>
            <p:cNvSpPr>
              <a:spLocks noChangeAspect="1"/>
            </p:cNvSpPr>
            <p:nvPr>
              <p:custDataLst>
                <p:tags r:id="rId7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36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632496"/>
                  </a:moveTo>
                  <a:arcTo wR="317500" hR="317500" stAng="4967999" swAng="112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79" name="Harvey 49/100 [49]">
              <a:extLst>
                <a:ext uri="{FF2B5EF4-FFF2-40B4-BE49-F238E27FC236}">
                  <a16:creationId xmlns:a16="http://schemas.microsoft.com/office/drawing/2014/main" id="{3BE00D50-8FCE-4E11-AA24-10B621732F20}"/>
                </a:ext>
              </a:extLst>
            </p:cNvPr>
            <p:cNvSpPr>
              <a:spLocks noChangeAspect="1"/>
            </p:cNvSpPr>
            <p:nvPr>
              <p:custDataLst>
                <p:tags r:id="rId7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5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34373"/>
                  </a:moveTo>
                  <a:arcTo wR="317500" hR="317500" stAng="5184000" swAng="110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80" name="Harvey 50/100 [50]">
              <a:extLst>
                <a:ext uri="{FF2B5EF4-FFF2-40B4-BE49-F238E27FC236}">
                  <a16:creationId xmlns:a16="http://schemas.microsoft.com/office/drawing/2014/main" id="{97083993-8BFD-443F-A3A3-D28EF389CE2B}"/>
                </a:ext>
              </a:extLst>
            </p:cNvPr>
            <p:cNvSpPr>
              <a:spLocks noChangeAspect="1"/>
            </p:cNvSpPr>
            <p:nvPr>
              <p:custDataLst>
                <p:tags r:id="rId7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81" name="Harvey 51/100 [51]">
              <a:extLst>
                <a:ext uri="{FF2B5EF4-FFF2-40B4-BE49-F238E27FC236}">
                  <a16:creationId xmlns:a16="http://schemas.microsoft.com/office/drawing/2014/main" id="{BDE38762-18E9-47FF-895E-325F5976ECAA}"/>
                </a:ext>
              </a:extLst>
            </p:cNvPr>
            <p:cNvSpPr>
              <a:spLocks noChangeAspect="1"/>
            </p:cNvSpPr>
            <p:nvPr>
              <p:custDataLst>
                <p:tags r:id="rId7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0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34373"/>
                  </a:moveTo>
                  <a:arcTo wR="317500" hR="317500" stAng="5616000" swAng="105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82" name="Harvey 52/100 [52]">
              <a:extLst>
                <a:ext uri="{FF2B5EF4-FFF2-40B4-BE49-F238E27FC236}">
                  <a16:creationId xmlns:a16="http://schemas.microsoft.com/office/drawing/2014/main" id="{785EAA21-FBCD-46DC-8430-7AB12F5A66AF}"/>
                </a:ext>
              </a:extLst>
            </p:cNvPr>
            <p:cNvSpPr>
              <a:spLocks noChangeAspect="1"/>
            </p:cNvSpPr>
            <p:nvPr>
              <p:custDataLst>
                <p:tags r:id="rId7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2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632496"/>
                  </a:moveTo>
                  <a:arcTo wR="317500" hR="317500" stAng="5832000" swAng="1036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83" name="Harvey 53/100 [53]">
              <a:extLst>
                <a:ext uri="{FF2B5EF4-FFF2-40B4-BE49-F238E27FC236}">
                  <a16:creationId xmlns:a16="http://schemas.microsoft.com/office/drawing/2014/main" id="{858D54BA-F4A5-4C67-830E-E85FF6EE735D}"/>
                </a:ext>
              </a:extLst>
            </p:cNvPr>
            <p:cNvSpPr>
              <a:spLocks noChangeAspect="1"/>
            </p:cNvSpPr>
            <p:nvPr>
              <p:custDataLst>
                <p:tags r:id="rId7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4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629376"/>
                  </a:moveTo>
                  <a:arcTo wR="317500" hR="317500" stAng="6048000" swAng="101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84" name="Harvey 54/100 [54]">
              <a:extLst>
                <a:ext uri="{FF2B5EF4-FFF2-40B4-BE49-F238E27FC236}">
                  <a16:creationId xmlns:a16="http://schemas.microsoft.com/office/drawing/2014/main" id="{AC41BD7B-E1FA-4AED-B11C-E03936A672E6}"/>
                </a:ext>
              </a:extLst>
            </p:cNvPr>
            <p:cNvSpPr>
              <a:spLocks noChangeAspect="1"/>
            </p:cNvSpPr>
            <p:nvPr>
              <p:custDataLst>
                <p:tags r:id="rId7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6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625025"/>
                  </a:moveTo>
                  <a:arcTo wR="317500" hR="317500" stAng="6264000" swAng="99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85" name="Harvey 55/100 [55]">
              <a:extLst>
                <a:ext uri="{FF2B5EF4-FFF2-40B4-BE49-F238E27FC236}">
                  <a16:creationId xmlns:a16="http://schemas.microsoft.com/office/drawing/2014/main" id="{BAF901A0-5FD1-4B29-9AF9-DB8B19412429}"/>
                </a:ext>
              </a:extLst>
            </p:cNvPr>
            <p:cNvSpPr>
              <a:spLocks noChangeAspect="1"/>
            </p:cNvSpPr>
            <p:nvPr>
              <p:custDataLst>
                <p:tags r:id="rId7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8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619460"/>
                  </a:moveTo>
                  <a:arcTo wR="317500" hR="317500" stAng="6480000" swAng="97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86" name="Harvey 56/100 [56]">
              <a:extLst>
                <a:ext uri="{FF2B5EF4-FFF2-40B4-BE49-F238E27FC236}">
                  <a16:creationId xmlns:a16="http://schemas.microsoft.com/office/drawing/2014/main" id="{3EFF555D-6B7F-481F-ADC2-746953BA7F97}"/>
                </a:ext>
              </a:extLst>
            </p:cNvPr>
            <p:cNvSpPr>
              <a:spLocks noChangeAspect="1"/>
            </p:cNvSpPr>
            <p:nvPr>
              <p:custDataLst>
                <p:tags r:id="rId8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0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612704"/>
                  </a:moveTo>
                  <a:arcTo wR="317500" hR="317500" stAng="6696000" swAng="95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87" name="Harvey 57/100 [57]">
              <a:extLst>
                <a:ext uri="{FF2B5EF4-FFF2-40B4-BE49-F238E27FC236}">
                  <a16:creationId xmlns:a16="http://schemas.microsoft.com/office/drawing/2014/main" id="{A4D3BE31-8C07-4912-AB8B-8331A665C238}"/>
                </a:ext>
              </a:extLst>
            </p:cNvPr>
            <p:cNvSpPr>
              <a:spLocks noChangeAspect="1"/>
            </p:cNvSpPr>
            <p:nvPr>
              <p:custDataLst>
                <p:tags r:id="rId8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3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604782"/>
                  </a:moveTo>
                  <a:arcTo wR="317500" hR="317500" stAng="6911999" swAng="92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88" name="Harvey 58/100 [58]">
              <a:extLst>
                <a:ext uri="{FF2B5EF4-FFF2-40B4-BE49-F238E27FC236}">
                  <a16:creationId xmlns:a16="http://schemas.microsoft.com/office/drawing/2014/main" id="{E7B5A5D9-6DD2-4B0A-9557-7A7AF774103E}"/>
                </a:ext>
              </a:extLst>
            </p:cNvPr>
            <p:cNvSpPr>
              <a:spLocks noChangeAspect="1"/>
            </p:cNvSpPr>
            <p:nvPr>
              <p:custDataLst>
                <p:tags r:id="rId8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52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595727"/>
                  </a:moveTo>
                  <a:arcTo wR="317500" hR="317500" stAng="7127999" swAng="90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89" name="Harvey 59/100 [59]">
              <a:extLst>
                <a:ext uri="{FF2B5EF4-FFF2-40B4-BE49-F238E27FC236}">
                  <a16:creationId xmlns:a16="http://schemas.microsoft.com/office/drawing/2014/main" id="{88458C0E-D234-4C86-A6CC-B8CD6C445F00}"/>
                </a:ext>
              </a:extLst>
            </p:cNvPr>
            <p:cNvSpPr>
              <a:spLocks noChangeAspect="1"/>
            </p:cNvSpPr>
            <p:nvPr>
              <p:custDataLst>
                <p:tags r:id="rId8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74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585574"/>
                  </a:moveTo>
                  <a:arcTo wR="317500" hR="317500" stAng="7343999" swAng="88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90" name="Harvey 60/100 [60]">
              <a:extLst>
                <a:ext uri="{FF2B5EF4-FFF2-40B4-BE49-F238E27FC236}">
                  <a16:creationId xmlns:a16="http://schemas.microsoft.com/office/drawing/2014/main" id="{0924D2C6-D224-49FD-A4B8-312AFD605E78}"/>
                </a:ext>
              </a:extLst>
            </p:cNvPr>
            <p:cNvSpPr>
              <a:spLocks noChangeAspect="1"/>
            </p:cNvSpPr>
            <p:nvPr>
              <p:custDataLst>
                <p:tags r:id="rId8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574362"/>
                  </a:moveTo>
                  <a:arcTo wR="317500" hR="317500" stAng="7560000" swAng="86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91" name="Harvey 61/100 [61]">
              <a:extLst>
                <a:ext uri="{FF2B5EF4-FFF2-40B4-BE49-F238E27FC236}">
                  <a16:creationId xmlns:a16="http://schemas.microsoft.com/office/drawing/2014/main" id="{F9FB23C2-D568-49AC-B8FD-0480EB019739}"/>
                </a:ext>
              </a:extLst>
            </p:cNvPr>
            <p:cNvSpPr>
              <a:spLocks noChangeAspect="1"/>
            </p:cNvSpPr>
            <p:nvPr>
              <p:custDataLst>
                <p:tags r:id="rId8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1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562137"/>
                  </a:moveTo>
                  <a:arcTo wR="317500" hR="317500" stAng="7776000" swAng="84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92" name="Harvey 62/100 [62]">
              <a:extLst>
                <a:ext uri="{FF2B5EF4-FFF2-40B4-BE49-F238E27FC236}">
                  <a16:creationId xmlns:a16="http://schemas.microsoft.com/office/drawing/2014/main" id="{9EF3159D-F4FB-4032-BCCB-55E6ED5EEFC7}"/>
                </a:ext>
              </a:extLst>
            </p:cNvPr>
            <p:cNvSpPr>
              <a:spLocks noChangeAspect="1"/>
            </p:cNvSpPr>
            <p:nvPr>
              <p:custDataLst>
                <p:tags r:id="rId8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3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548947"/>
                  </a:moveTo>
                  <a:arcTo wR="317500" hR="317500" stAng="7991999" swAng="82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93" name="Harvey 63/100 [63]">
              <a:extLst>
                <a:ext uri="{FF2B5EF4-FFF2-40B4-BE49-F238E27FC236}">
                  <a16:creationId xmlns:a16="http://schemas.microsoft.com/office/drawing/2014/main" id="{9362C8EA-6D15-4E0C-8AE9-B1B50EB297B8}"/>
                </a:ext>
              </a:extLst>
            </p:cNvPr>
            <p:cNvSpPr>
              <a:spLocks noChangeAspect="1"/>
            </p:cNvSpPr>
            <p:nvPr>
              <p:custDataLst>
                <p:tags r:id="rId8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6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534843"/>
                  </a:moveTo>
                  <a:arcTo wR="317500" hR="317500" stAng="8208000" swAng="79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94" name="Harvey 64/100 [64]">
              <a:extLst>
                <a:ext uri="{FF2B5EF4-FFF2-40B4-BE49-F238E27FC236}">
                  <a16:creationId xmlns:a16="http://schemas.microsoft.com/office/drawing/2014/main" id="{91EB375D-1444-4BE3-A696-66272A1564CD}"/>
                </a:ext>
              </a:extLst>
            </p:cNvPr>
            <p:cNvSpPr>
              <a:spLocks noChangeAspect="1"/>
            </p:cNvSpPr>
            <p:nvPr>
              <p:custDataLst>
                <p:tags r:id="rId8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8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519882"/>
                  </a:moveTo>
                  <a:arcTo wR="317500" hR="317500" stAng="8424000" swAng="77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95" name="Harvey 65/100 [65]">
              <a:extLst>
                <a:ext uri="{FF2B5EF4-FFF2-40B4-BE49-F238E27FC236}">
                  <a16:creationId xmlns:a16="http://schemas.microsoft.com/office/drawing/2014/main" id="{9A3002B1-5D17-4BCB-9A44-B2FB4025D02F}"/>
                </a:ext>
              </a:extLst>
            </p:cNvPr>
            <p:cNvSpPr>
              <a:spLocks noChangeAspect="1"/>
            </p:cNvSpPr>
            <p:nvPr>
              <p:custDataLst>
                <p:tags r:id="rId8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0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504121"/>
                  </a:moveTo>
                  <a:arcTo wR="317500" hR="317500" stAng="8640000" swAng="75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96" name="Harvey 66/100 [66]">
              <a:extLst>
                <a:ext uri="{FF2B5EF4-FFF2-40B4-BE49-F238E27FC236}">
                  <a16:creationId xmlns:a16="http://schemas.microsoft.com/office/drawing/2014/main" id="{E5F2FDE4-04B2-4A45-A685-14E0C51883A5}"/>
                </a:ext>
              </a:extLst>
            </p:cNvPr>
            <p:cNvSpPr>
              <a:spLocks noChangeAspect="1"/>
            </p:cNvSpPr>
            <p:nvPr>
              <p:custDataLst>
                <p:tags r:id="rId9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2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487625"/>
                  </a:moveTo>
                  <a:arcTo wR="317500" hR="317500" stAng="8856000" swAng="73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97" name="Harvey 67/100 [67]">
              <a:extLst>
                <a:ext uri="{FF2B5EF4-FFF2-40B4-BE49-F238E27FC236}">
                  <a16:creationId xmlns:a16="http://schemas.microsoft.com/office/drawing/2014/main" id="{D399A169-3845-4CD5-A62C-F4586F1FAFE8}"/>
                </a:ext>
              </a:extLst>
            </p:cNvPr>
            <p:cNvSpPr>
              <a:spLocks noChangeAspect="1"/>
            </p:cNvSpPr>
            <p:nvPr>
              <p:custDataLst>
                <p:tags r:id="rId9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470456"/>
                  </a:moveTo>
                  <a:arcTo wR="317500" hR="317500" stAng="9072000" swAng="71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98" name="Harvey 68/100 [68]">
              <a:extLst>
                <a:ext uri="{FF2B5EF4-FFF2-40B4-BE49-F238E27FC236}">
                  <a16:creationId xmlns:a16="http://schemas.microsoft.com/office/drawing/2014/main" id="{E12F5173-9960-47F5-9A91-B043294E14CB}"/>
                </a:ext>
              </a:extLst>
            </p:cNvPr>
            <p:cNvSpPr>
              <a:spLocks noChangeAspect="1"/>
            </p:cNvSpPr>
            <p:nvPr>
              <p:custDataLst>
                <p:tags r:id="rId9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6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452684"/>
                  </a:moveTo>
                  <a:arcTo wR="317500" hR="317500" stAng="9288000" swAng="69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99" name="Harvey 69/100 [69]">
              <a:extLst>
                <a:ext uri="{FF2B5EF4-FFF2-40B4-BE49-F238E27FC236}">
                  <a16:creationId xmlns:a16="http://schemas.microsoft.com/office/drawing/2014/main" id="{DD9B9229-3D3A-4706-BEEC-04C19A30C5C3}"/>
                </a:ext>
              </a:extLst>
            </p:cNvPr>
            <p:cNvSpPr>
              <a:spLocks noChangeAspect="1"/>
            </p:cNvSpPr>
            <p:nvPr>
              <p:custDataLst>
                <p:tags r:id="rId9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90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434379"/>
                  </a:moveTo>
                  <a:arcTo wR="317500" hR="317500" stAng="9503999" swAng="66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100" name="Harvey 70/100 [70]">
              <a:extLst>
                <a:ext uri="{FF2B5EF4-FFF2-40B4-BE49-F238E27FC236}">
                  <a16:creationId xmlns:a16="http://schemas.microsoft.com/office/drawing/2014/main" id="{795A4CC8-0C08-491C-8D7F-95EC8E0E25B8}"/>
                </a:ext>
              </a:extLst>
            </p:cNvPr>
            <p:cNvSpPr>
              <a:spLocks noChangeAspect="1"/>
            </p:cNvSpPr>
            <p:nvPr>
              <p:custDataLst>
                <p:tags r:id="rId9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1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415612"/>
                  </a:moveTo>
                  <a:arcTo wR="317500" hR="317500" stAng="9719999" swAng="64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101" name="Harvey 71/100 [71]">
              <a:extLst>
                <a:ext uri="{FF2B5EF4-FFF2-40B4-BE49-F238E27FC236}">
                  <a16:creationId xmlns:a16="http://schemas.microsoft.com/office/drawing/2014/main" id="{91862A76-5FCC-4C25-9A3F-A10651AC7725}"/>
                </a:ext>
              </a:extLst>
            </p:cNvPr>
            <p:cNvSpPr>
              <a:spLocks noChangeAspect="1"/>
            </p:cNvSpPr>
            <p:nvPr>
              <p:custDataLst>
                <p:tags r:id="rId9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3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396459"/>
                  </a:moveTo>
                  <a:arcTo wR="317500" hR="317500" stAng="9936000" swAng="62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102" name="Harvey 72/100 [72]">
              <a:extLst>
                <a:ext uri="{FF2B5EF4-FFF2-40B4-BE49-F238E27FC236}">
                  <a16:creationId xmlns:a16="http://schemas.microsoft.com/office/drawing/2014/main" id="{46969644-17D9-45C9-A88A-9A88622DCE45}"/>
                </a:ext>
              </a:extLst>
            </p:cNvPr>
            <p:cNvSpPr>
              <a:spLocks noChangeAspect="1"/>
            </p:cNvSpPr>
            <p:nvPr>
              <p:custDataLst>
                <p:tags r:id="rId9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5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376993"/>
                  </a:moveTo>
                  <a:arcTo wR="317500" hR="317500" stAng="10152000" swAng="60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103" name="Harvey 73/100 [73]">
              <a:extLst>
                <a:ext uri="{FF2B5EF4-FFF2-40B4-BE49-F238E27FC236}">
                  <a16:creationId xmlns:a16="http://schemas.microsoft.com/office/drawing/2014/main" id="{F89621F9-3ABB-450D-913E-7B467F289A9B}"/>
                </a:ext>
              </a:extLst>
            </p:cNvPr>
            <p:cNvSpPr>
              <a:spLocks noChangeAspect="1"/>
            </p:cNvSpPr>
            <p:nvPr>
              <p:custDataLst>
                <p:tags r:id="rId9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7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357293"/>
                  </a:moveTo>
                  <a:arcTo wR="317500" hR="317500" stAng="10368000" swAng="58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104" name="Harvey 74/100 [74]">
              <a:extLst>
                <a:ext uri="{FF2B5EF4-FFF2-40B4-BE49-F238E27FC236}">
                  <a16:creationId xmlns:a16="http://schemas.microsoft.com/office/drawing/2014/main" id="{89EE4B1F-E703-471D-8307-BFB9EDEDB9F7}"/>
                </a:ext>
              </a:extLst>
            </p:cNvPr>
            <p:cNvSpPr>
              <a:spLocks noChangeAspect="1"/>
            </p:cNvSpPr>
            <p:nvPr>
              <p:custDataLst>
                <p:tags r:id="rId9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9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337435"/>
                  </a:moveTo>
                  <a:arcTo wR="317500" hR="317500" stAng="10583999" swAng="56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105" name="Harvey 75/100 [75]">
              <a:extLst>
                <a:ext uri="{FF2B5EF4-FFF2-40B4-BE49-F238E27FC236}">
                  <a16:creationId xmlns:a16="http://schemas.microsoft.com/office/drawing/2014/main" id="{8AB2EEA8-04AC-4B6C-8D90-28093DB647E6}"/>
                </a:ext>
              </a:extLst>
            </p:cNvPr>
            <p:cNvSpPr>
              <a:spLocks noChangeAspect="1"/>
            </p:cNvSpPr>
            <p:nvPr>
              <p:custDataLst>
                <p:tags r:id="rId9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106" name="Harvey 76/100 [76]">
              <a:extLst>
                <a:ext uri="{FF2B5EF4-FFF2-40B4-BE49-F238E27FC236}">
                  <a16:creationId xmlns:a16="http://schemas.microsoft.com/office/drawing/2014/main" id="{6F4E00F2-EA6F-4809-B2FD-4CE3ABE8C480}"/>
                </a:ext>
              </a:extLst>
            </p:cNvPr>
            <p:cNvSpPr>
              <a:spLocks noChangeAspect="1"/>
            </p:cNvSpPr>
            <p:nvPr>
              <p:custDataLst>
                <p:tags r:id="rId10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4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297564"/>
                  </a:moveTo>
                  <a:arcTo wR="317500" hR="317500" stAng="11016000" swAng="51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107" name="Harvey 77/100 [77]">
              <a:extLst>
                <a:ext uri="{FF2B5EF4-FFF2-40B4-BE49-F238E27FC236}">
                  <a16:creationId xmlns:a16="http://schemas.microsoft.com/office/drawing/2014/main" id="{CF5CA593-7B87-4492-9B35-2255514CB496}"/>
                </a:ext>
              </a:extLst>
            </p:cNvPr>
            <p:cNvSpPr>
              <a:spLocks noChangeAspect="1"/>
            </p:cNvSpPr>
            <p:nvPr>
              <p:custDataLst>
                <p:tags r:id="rId10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6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277706"/>
                  </a:moveTo>
                  <a:arcTo wR="317500" hR="317500" stAng="11232000" swAng="49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108" name="Harvey 78/100 [78]">
              <a:extLst>
                <a:ext uri="{FF2B5EF4-FFF2-40B4-BE49-F238E27FC236}">
                  <a16:creationId xmlns:a16="http://schemas.microsoft.com/office/drawing/2014/main" id="{8C036464-458E-48D4-BAC8-84819F820C60}"/>
                </a:ext>
              </a:extLst>
            </p:cNvPr>
            <p:cNvSpPr>
              <a:spLocks noChangeAspect="1"/>
            </p:cNvSpPr>
            <p:nvPr>
              <p:custDataLst>
                <p:tags r:id="rId10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8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258006"/>
                  </a:moveTo>
                  <a:arcTo wR="317500" hR="317500" stAng="11448000" swAng="475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109" name="Harvey 79/100 [79]">
              <a:extLst>
                <a:ext uri="{FF2B5EF4-FFF2-40B4-BE49-F238E27FC236}">
                  <a16:creationId xmlns:a16="http://schemas.microsoft.com/office/drawing/2014/main" id="{6FD5AC00-8293-447C-B728-B963DD67B1C2}"/>
                </a:ext>
              </a:extLst>
            </p:cNvPr>
            <p:cNvSpPr>
              <a:spLocks noChangeAspect="1"/>
            </p:cNvSpPr>
            <p:nvPr>
              <p:custDataLst>
                <p:tags r:id="rId10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0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238540"/>
                  </a:moveTo>
                  <a:arcTo wR="317500" hR="317500" stAng="11664000" swAng="45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110" name="Harvey 80/100 [80]">
              <a:extLst>
                <a:ext uri="{FF2B5EF4-FFF2-40B4-BE49-F238E27FC236}">
                  <a16:creationId xmlns:a16="http://schemas.microsoft.com/office/drawing/2014/main" id="{29C0F859-BC49-430F-8C59-C0B9109E47A3}"/>
                </a:ext>
              </a:extLst>
            </p:cNvPr>
            <p:cNvSpPr>
              <a:spLocks noChangeAspect="1"/>
            </p:cNvSpPr>
            <p:nvPr>
              <p:custDataLst>
                <p:tags r:id="rId10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219387"/>
                  </a:moveTo>
                  <a:arcTo wR="317500" hR="317500" stAng="11880000" swAng="43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111" name="Harvey 81/100 [81]">
              <a:extLst>
                <a:ext uri="{FF2B5EF4-FFF2-40B4-BE49-F238E27FC236}">
                  <a16:creationId xmlns:a16="http://schemas.microsoft.com/office/drawing/2014/main" id="{F78719E3-0417-4867-B70D-21538B3AC36E}"/>
                </a:ext>
              </a:extLst>
            </p:cNvPr>
            <p:cNvSpPr>
              <a:spLocks noChangeAspect="1"/>
            </p:cNvSpPr>
            <p:nvPr>
              <p:custDataLst>
                <p:tags r:id="rId10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4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200620"/>
                  </a:moveTo>
                  <a:arcTo wR="317500" hR="317500" stAng="12096000" swAng="41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112" name="Harvey 82/100 [82]">
              <a:extLst>
                <a:ext uri="{FF2B5EF4-FFF2-40B4-BE49-F238E27FC236}">
                  <a16:creationId xmlns:a16="http://schemas.microsoft.com/office/drawing/2014/main" id="{9C5D0905-7412-4C75-BC20-E51105CA783D}"/>
                </a:ext>
              </a:extLst>
            </p:cNvPr>
            <p:cNvSpPr>
              <a:spLocks noChangeAspect="1"/>
            </p:cNvSpPr>
            <p:nvPr>
              <p:custDataLst>
                <p:tags r:id="rId10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7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182315"/>
                  </a:moveTo>
                  <a:arcTo wR="317500" hR="317500" stAng="12312000" swAng="38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113" name="Harvey 83/100 [83]">
              <a:extLst>
                <a:ext uri="{FF2B5EF4-FFF2-40B4-BE49-F238E27FC236}">
                  <a16:creationId xmlns:a16="http://schemas.microsoft.com/office/drawing/2014/main" id="{96AA2E20-CC65-4632-B3D4-93E962B59D4C}"/>
                </a:ext>
              </a:extLst>
            </p:cNvPr>
            <p:cNvSpPr>
              <a:spLocks noChangeAspect="1"/>
            </p:cNvSpPr>
            <p:nvPr>
              <p:custDataLst>
                <p:tags r:id="rId10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9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164543"/>
                  </a:moveTo>
                  <a:arcTo wR="317500" hR="317500" stAng="12528000" swAng="36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114" name="Harvey 84/100 [84]">
              <a:extLst>
                <a:ext uri="{FF2B5EF4-FFF2-40B4-BE49-F238E27FC236}">
                  <a16:creationId xmlns:a16="http://schemas.microsoft.com/office/drawing/2014/main" id="{9B4360A3-E0B2-48F7-B5A8-D24513748A82}"/>
                </a:ext>
              </a:extLst>
            </p:cNvPr>
            <p:cNvSpPr>
              <a:spLocks noChangeAspect="1"/>
            </p:cNvSpPr>
            <p:nvPr>
              <p:custDataLst>
                <p:tags r:id="rId10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1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147374"/>
                  </a:moveTo>
                  <a:arcTo wR="317500" hR="317500" stAng="12743999" swAng="34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115" name="Harvey 85/100 [85]">
              <a:extLst>
                <a:ext uri="{FF2B5EF4-FFF2-40B4-BE49-F238E27FC236}">
                  <a16:creationId xmlns:a16="http://schemas.microsoft.com/office/drawing/2014/main" id="{D694B21E-EEA0-48FA-A35C-7B6570B3F861}"/>
                </a:ext>
              </a:extLst>
            </p:cNvPr>
            <p:cNvSpPr>
              <a:spLocks noChangeAspect="1"/>
            </p:cNvSpPr>
            <p:nvPr>
              <p:custDataLst>
                <p:tags r:id="rId10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3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130878"/>
                  </a:moveTo>
                  <a:arcTo wR="317500" hR="317500" stAng="12960000" swAng="32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116" name="Harvey 86/100 [86]">
              <a:extLst>
                <a:ext uri="{FF2B5EF4-FFF2-40B4-BE49-F238E27FC236}">
                  <a16:creationId xmlns:a16="http://schemas.microsoft.com/office/drawing/2014/main" id="{85E1AF41-C21D-4514-B37E-CC830BC09C0A}"/>
                </a:ext>
              </a:extLst>
            </p:cNvPr>
            <p:cNvSpPr>
              <a:spLocks noChangeAspect="1"/>
            </p:cNvSpPr>
            <p:nvPr>
              <p:custDataLst>
                <p:tags r:id="rId11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5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115117"/>
                  </a:moveTo>
                  <a:arcTo wR="317500" hR="317500" stAng="13176000" swAng="30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117" name="Harvey 87/100 [87]">
              <a:extLst>
                <a:ext uri="{FF2B5EF4-FFF2-40B4-BE49-F238E27FC236}">
                  <a16:creationId xmlns:a16="http://schemas.microsoft.com/office/drawing/2014/main" id="{E3948F2E-FD5F-4107-B122-9AC75FE0CD9E}"/>
                </a:ext>
              </a:extLst>
            </p:cNvPr>
            <p:cNvSpPr>
              <a:spLocks noChangeAspect="1"/>
            </p:cNvSpPr>
            <p:nvPr>
              <p:custDataLst>
                <p:tags r:id="rId11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7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100156"/>
                  </a:moveTo>
                  <a:arcTo wR="317500" hR="317500" stAng="13392000" swAng="28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118" name="Harvey 88/100 [88]">
              <a:extLst>
                <a:ext uri="{FF2B5EF4-FFF2-40B4-BE49-F238E27FC236}">
                  <a16:creationId xmlns:a16="http://schemas.microsoft.com/office/drawing/2014/main" id="{744E57ED-019F-4A8B-A06E-9FB965FEBB23}"/>
                </a:ext>
              </a:extLst>
            </p:cNvPr>
            <p:cNvSpPr>
              <a:spLocks noChangeAspect="1"/>
            </p:cNvSpPr>
            <p:nvPr>
              <p:custDataLst>
                <p:tags r:id="rId11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0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86052"/>
                  </a:moveTo>
                  <a:arcTo wR="317500" hR="317500" stAng="13608000" swAng="25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119" name="Harvey 89/100 [89]">
              <a:extLst>
                <a:ext uri="{FF2B5EF4-FFF2-40B4-BE49-F238E27FC236}">
                  <a16:creationId xmlns:a16="http://schemas.microsoft.com/office/drawing/2014/main" id="{5567719B-31CA-4A86-801E-E0531122E504}"/>
                </a:ext>
              </a:extLst>
            </p:cNvPr>
            <p:cNvSpPr>
              <a:spLocks noChangeAspect="1"/>
            </p:cNvSpPr>
            <p:nvPr>
              <p:custDataLst>
                <p:tags r:id="rId11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2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72862"/>
                  </a:moveTo>
                  <a:arcTo wR="317500" hR="317500" stAng="13823999" swAng="237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120" name="Harvey 90/100 [90]">
              <a:extLst>
                <a:ext uri="{FF2B5EF4-FFF2-40B4-BE49-F238E27FC236}">
                  <a16:creationId xmlns:a16="http://schemas.microsoft.com/office/drawing/2014/main" id="{2CD4B3A1-B882-43A6-A4CA-C9FCA394B28B}"/>
                </a:ext>
              </a:extLst>
            </p:cNvPr>
            <p:cNvSpPr>
              <a:spLocks noChangeAspect="1"/>
            </p:cNvSpPr>
            <p:nvPr>
              <p:custDataLst>
                <p:tags r:id="rId11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60637"/>
                  </a:moveTo>
                  <a:arcTo wR="317500" hR="317500" stAng="14040000" swAng="21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121" name="Harvey 91/100 [91]">
              <a:extLst>
                <a:ext uri="{FF2B5EF4-FFF2-40B4-BE49-F238E27FC236}">
                  <a16:creationId xmlns:a16="http://schemas.microsoft.com/office/drawing/2014/main" id="{68606D93-5175-4900-AD89-6D0710AFE75F}"/>
                </a:ext>
              </a:extLst>
            </p:cNvPr>
            <p:cNvSpPr>
              <a:spLocks noChangeAspect="1"/>
            </p:cNvSpPr>
            <p:nvPr>
              <p:custDataLst>
                <p:tags r:id="rId11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6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49425"/>
                  </a:moveTo>
                  <a:arcTo wR="317500" hR="317500" stAng="14256000" swAng="19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122" name="Harvey 92/100 [92]">
              <a:extLst>
                <a:ext uri="{FF2B5EF4-FFF2-40B4-BE49-F238E27FC236}">
                  <a16:creationId xmlns:a16="http://schemas.microsoft.com/office/drawing/2014/main" id="{7EE30864-DDCC-4BBA-B70A-48810E224581}"/>
                </a:ext>
              </a:extLst>
            </p:cNvPr>
            <p:cNvSpPr>
              <a:spLocks noChangeAspect="1"/>
            </p:cNvSpPr>
            <p:nvPr>
              <p:custDataLst>
                <p:tags r:id="rId11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8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39272"/>
                  </a:moveTo>
                  <a:arcTo wR="317500" hR="317500" stAng="14472000" swAng="17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123" name="Harvey 93/100 [93]">
              <a:extLst>
                <a:ext uri="{FF2B5EF4-FFF2-40B4-BE49-F238E27FC236}">
                  <a16:creationId xmlns:a16="http://schemas.microsoft.com/office/drawing/2014/main" id="{608CA488-A707-4C7A-9287-9DA9A38ED3D4}"/>
                </a:ext>
              </a:extLst>
            </p:cNvPr>
            <p:cNvSpPr>
              <a:spLocks noChangeAspect="1"/>
            </p:cNvSpPr>
            <p:nvPr>
              <p:custDataLst>
                <p:tags r:id="rId11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0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30217"/>
                  </a:moveTo>
                  <a:arcTo wR="317500" hR="317500" stAng="14688000" swAng="15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124" name="Harvey 94/100 [94]">
              <a:extLst>
                <a:ext uri="{FF2B5EF4-FFF2-40B4-BE49-F238E27FC236}">
                  <a16:creationId xmlns:a16="http://schemas.microsoft.com/office/drawing/2014/main" id="{FE1836A9-F92A-4F07-BBB8-2274E290E952}"/>
                </a:ext>
              </a:extLst>
            </p:cNvPr>
            <p:cNvSpPr>
              <a:spLocks noChangeAspect="1"/>
            </p:cNvSpPr>
            <p:nvPr>
              <p:custDataLst>
                <p:tags r:id="rId11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3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22295"/>
                  </a:moveTo>
                  <a:arcTo wR="317500" hR="317500" stAng="14903999" swAng="12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125" name="Harvey 95/100 [95]">
              <a:extLst>
                <a:ext uri="{FF2B5EF4-FFF2-40B4-BE49-F238E27FC236}">
                  <a16:creationId xmlns:a16="http://schemas.microsoft.com/office/drawing/2014/main" id="{3169BE73-7F99-46E3-BDA9-D9BB85BE343E}"/>
                </a:ext>
              </a:extLst>
            </p:cNvPr>
            <p:cNvSpPr>
              <a:spLocks noChangeAspect="1"/>
            </p:cNvSpPr>
            <p:nvPr>
              <p:custDataLst>
                <p:tags r:id="rId11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5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15539"/>
                  </a:moveTo>
                  <a:arcTo wR="317500" hR="317500" stAng="15120000" swAng="10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126" name="Harvey 96/100 [96]">
              <a:extLst>
                <a:ext uri="{FF2B5EF4-FFF2-40B4-BE49-F238E27FC236}">
                  <a16:creationId xmlns:a16="http://schemas.microsoft.com/office/drawing/2014/main" id="{12E3B5ED-B1AB-4A99-BD20-FF638135BE37}"/>
                </a:ext>
              </a:extLst>
            </p:cNvPr>
            <p:cNvSpPr>
              <a:spLocks noChangeAspect="1"/>
            </p:cNvSpPr>
            <p:nvPr>
              <p:custDataLst>
                <p:tags r:id="rId12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73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9974"/>
                  </a:moveTo>
                  <a:arcTo wR="317500" hR="317500" stAng="15335999" swAng="8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127" name="Harvey 97/100 [97]">
              <a:extLst>
                <a:ext uri="{FF2B5EF4-FFF2-40B4-BE49-F238E27FC236}">
                  <a16:creationId xmlns:a16="http://schemas.microsoft.com/office/drawing/2014/main" id="{75A7FEAD-6C4B-4F7A-BB60-3A68D96114DE}"/>
                </a:ext>
              </a:extLst>
            </p:cNvPr>
            <p:cNvSpPr>
              <a:spLocks noChangeAspect="1"/>
            </p:cNvSpPr>
            <p:nvPr>
              <p:custDataLst>
                <p:tags r:id="rId12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9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5623"/>
                  </a:moveTo>
                  <a:arcTo wR="317500" hR="317500" stAng="15552000" swAng="6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128" name="Harvey 98/100 [98]">
              <a:extLst>
                <a:ext uri="{FF2B5EF4-FFF2-40B4-BE49-F238E27FC236}">
                  <a16:creationId xmlns:a16="http://schemas.microsoft.com/office/drawing/2014/main" id="{C4B5128E-9380-4C38-A1EB-CB12E7401609}"/>
                </a:ext>
              </a:extLst>
            </p:cNvPr>
            <p:cNvSpPr>
              <a:spLocks noChangeAspect="1"/>
            </p:cNvSpPr>
            <p:nvPr>
              <p:custDataLst>
                <p:tags r:id="rId12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1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2503"/>
                  </a:moveTo>
                  <a:arcTo wR="317500" hR="317500" stAng="15768000" swAng="4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129" name="Harvey 99/100 [99]">
              <a:extLst>
                <a:ext uri="{FF2B5EF4-FFF2-40B4-BE49-F238E27FC236}">
                  <a16:creationId xmlns:a16="http://schemas.microsoft.com/office/drawing/2014/main" id="{50F634E4-E5B9-4DA6-9F91-8AF5B6ACF1FB}"/>
                </a:ext>
              </a:extLst>
            </p:cNvPr>
            <p:cNvSpPr>
              <a:spLocks noChangeAspect="1"/>
            </p:cNvSpPr>
            <p:nvPr>
              <p:custDataLst>
                <p:tags r:id="rId12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3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26"/>
                  </a:moveTo>
                  <a:arcTo wR="317500" hR="317500" stAng="15983999" swAng="2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130" name="Harvey 100/100 [100]">
              <a:extLst>
                <a:ext uri="{FF2B5EF4-FFF2-40B4-BE49-F238E27FC236}">
                  <a16:creationId xmlns:a16="http://schemas.microsoft.com/office/drawing/2014/main" id="{94AA53CD-8233-470E-AFEE-0BCC721BFAE9}"/>
                </a:ext>
              </a:extLst>
            </p:cNvPr>
            <p:cNvSpPr>
              <a:spLocks noChangeAspect="1"/>
            </p:cNvSpPr>
            <p:nvPr>
              <p:custDataLst>
                <p:tags r:id="rId12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</p:grpSp>
      <p:sp>
        <p:nvSpPr>
          <p:cNvPr id="131" name="Footnote [Placeholder]" hidden="1">
            <a:extLst>
              <a:ext uri="{FF2B5EF4-FFF2-40B4-BE49-F238E27FC236}">
                <a16:creationId xmlns:a16="http://schemas.microsoft.com/office/drawing/2014/main" id="{1B41FB17-6D57-4EE1-9C4C-9C305D5D6BEC}"/>
              </a:ext>
            </a:extLst>
          </p:cNvPr>
          <p:cNvSpPr txBox="1"/>
          <p:nvPr userDrawn="1"/>
        </p:nvSpPr>
        <p:spPr>
          <a:xfrm>
            <a:off x="503107" y="5984669"/>
            <a:ext cx="10185556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900" b="0" i="0" kern="0">
                <a:latin typeface="Arial" panose="020B0604020202020204" pitchFamily="34" charset="0"/>
                <a:ea typeface="Arial Unicode MS" pitchFamily="34" charset="-128"/>
                <a:cs typeface="Arial Unicode MS" pitchFamily="34" charset="-128"/>
              </a:rPr>
              <a:t>(r) Footnote</a:t>
            </a:r>
          </a:p>
        </p:txBody>
      </p:sp>
      <p:sp>
        <p:nvSpPr>
          <p:cNvPr id="132" name="Responsible [Sticker]" hidden="1">
            <a:extLst>
              <a:ext uri="{FF2B5EF4-FFF2-40B4-BE49-F238E27FC236}">
                <a16:creationId xmlns:a16="http://schemas.microsoft.com/office/drawing/2014/main" id="{3CB674C2-91C9-46E6-8AB4-E90ABF1CAFE0}"/>
              </a:ext>
            </a:extLst>
          </p:cNvPr>
          <p:cNvSpPr>
            <a:spLocks/>
          </p:cNvSpPr>
          <p:nvPr userDrawn="1"/>
        </p:nvSpPr>
        <p:spPr>
          <a:xfrm>
            <a:off x="10068483" y="896932"/>
            <a:ext cx="2123517" cy="59540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t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esponsible:</a:t>
            </a:r>
          </a:p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ame Lastname</a:t>
            </a:r>
          </a:p>
        </p:txBody>
      </p:sp>
      <p:sp>
        <p:nvSpPr>
          <p:cNvPr id="133" name="Discussion [Sticker]" hidden="1">
            <a:extLst>
              <a:ext uri="{FF2B5EF4-FFF2-40B4-BE49-F238E27FC236}">
                <a16:creationId xmlns:a16="http://schemas.microsoft.com/office/drawing/2014/main" id="{7C793D27-9296-461C-878D-BA16CBD91587}"/>
              </a:ext>
            </a:extLst>
          </p:cNvPr>
          <p:cNvSpPr>
            <a:spLocks/>
          </p:cNvSpPr>
          <p:nvPr userDrawn="1"/>
        </p:nvSpPr>
        <p:spPr>
          <a:xfrm>
            <a:off x="10068483" y="896921"/>
            <a:ext cx="2123517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Roboto Medium" panose="02000000000000000000" pitchFamily="2" charset="0"/>
                <a:cs typeface="+mn-cs"/>
              </a:rPr>
              <a:t>For discussion</a:t>
            </a:r>
          </a:p>
        </p:txBody>
      </p:sp>
      <p:sp>
        <p:nvSpPr>
          <p:cNvPr id="134" name="Internal [Sticker]" hidden="1">
            <a:extLst>
              <a:ext uri="{FF2B5EF4-FFF2-40B4-BE49-F238E27FC236}">
                <a16:creationId xmlns:a16="http://schemas.microsoft.com/office/drawing/2014/main" id="{704CE42F-5A9B-4CC0-8048-99928A53C0C4}"/>
              </a:ext>
            </a:extLst>
          </p:cNvPr>
          <p:cNvSpPr>
            <a:spLocks/>
          </p:cNvSpPr>
          <p:nvPr userDrawn="1"/>
        </p:nvSpPr>
        <p:spPr>
          <a:xfrm>
            <a:off x="10068483" y="896921"/>
            <a:ext cx="2123517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Internal use only</a:t>
            </a:r>
          </a:p>
        </p:txBody>
      </p:sp>
      <p:sp>
        <p:nvSpPr>
          <p:cNvPr id="135" name="Final [Sticker]" hidden="1">
            <a:extLst>
              <a:ext uri="{FF2B5EF4-FFF2-40B4-BE49-F238E27FC236}">
                <a16:creationId xmlns:a16="http://schemas.microsoft.com/office/drawing/2014/main" id="{348603E9-9858-4213-9B5B-929AD136906A}"/>
              </a:ext>
            </a:extLst>
          </p:cNvPr>
          <p:cNvSpPr>
            <a:spLocks/>
          </p:cNvSpPr>
          <p:nvPr userDrawn="1"/>
        </p:nvSpPr>
        <p:spPr>
          <a:xfrm>
            <a:off x="10068483" y="896921"/>
            <a:ext cx="2123517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Final slide</a:t>
            </a:r>
          </a:p>
        </p:txBody>
      </p:sp>
      <p:sp>
        <p:nvSpPr>
          <p:cNvPr id="136" name="Backup [Sticker]" hidden="1">
            <a:extLst>
              <a:ext uri="{FF2B5EF4-FFF2-40B4-BE49-F238E27FC236}">
                <a16:creationId xmlns:a16="http://schemas.microsoft.com/office/drawing/2014/main" id="{7EEB833A-9AFC-4A66-8469-9D3897CE1E66}"/>
              </a:ext>
            </a:extLst>
          </p:cNvPr>
          <p:cNvSpPr>
            <a:spLocks/>
          </p:cNvSpPr>
          <p:nvPr userDrawn="1"/>
        </p:nvSpPr>
        <p:spPr>
          <a:xfrm>
            <a:off x="10068483" y="896921"/>
            <a:ext cx="2123517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Backup</a:t>
            </a:r>
          </a:p>
        </p:txBody>
      </p:sp>
      <p:sp>
        <p:nvSpPr>
          <p:cNvPr id="137" name="Update [Sticker]" hidden="1">
            <a:extLst>
              <a:ext uri="{FF2B5EF4-FFF2-40B4-BE49-F238E27FC236}">
                <a16:creationId xmlns:a16="http://schemas.microsoft.com/office/drawing/2014/main" id="{D41FF937-AB04-46EE-82EF-FCE26A919A7B}"/>
              </a:ext>
            </a:extLst>
          </p:cNvPr>
          <p:cNvSpPr>
            <a:spLocks/>
          </p:cNvSpPr>
          <p:nvPr userDrawn="1"/>
        </p:nvSpPr>
        <p:spPr>
          <a:xfrm>
            <a:off x="10068483" y="896921"/>
            <a:ext cx="2123517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Update data</a:t>
            </a:r>
          </a:p>
        </p:txBody>
      </p:sp>
      <p:sp>
        <p:nvSpPr>
          <p:cNvPr id="138" name="Dummy [Sticker]" hidden="1">
            <a:extLst>
              <a:ext uri="{FF2B5EF4-FFF2-40B4-BE49-F238E27FC236}">
                <a16:creationId xmlns:a16="http://schemas.microsoft.com/office/drawing/2014/main" id="{06C5579C-7A02-48D6-A733-4B9E6D9F1443}"/>
              </a:ext>
            </a:extLst>
          </p:cNvPr>
          <p:cNvSpPr>
            <a:spLocks/>
          </p:cNvSpPr>
          <p:nvPr userDrawn="1"/>
        </p:nvSpPr>
        <p:spPr>
          <a:xfrm>
            <a:off x="10068483" y="896921"/>
            <a:ext cx="2123517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</a:rPr>
              <a:t>Dummy data</a:t>
            </a:r>
          </a:p>
        </p:txBody>
      </p:sp>
      <p:sp>
        <p:nvSpPr>
          <p:cNvPr id="139" name="Formatting [Comment]" hidden="1">
            <a:extLst>
              <a:ext uri="{FF2B5EF4-FFF2-40B4-BE49-F238E27FC236}">
                <a16:creationId xmlns:a16="http://schemas.microsoft.com/office/drawing/2014/main" id="{89EB4C18-DFF3-4A27-ACBB-99DCDC8961A8}"/>
              </a:ext>
            </a:extLst>
          </p:cNvPr>
          <p:cNvSpPr>
            <a:spLocks/>
          </p:cNvSpPr>
          <p:nvPr userDrawn="1"/>
        </p:nvSpPr>
        <p:spPr>
          <a:xfrm>
            <a:off x="9480875" y="1097679"/>
            <a:ext cx="2478456" cy="1277432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15" tIns="143215" rIns="143215" bIns="143215" rtlCol="0" anchor="t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/date&gt;: </a:t>
            </a:r>
          </a:p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A0A0A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140" name="Content [Comment]" hidden="1">
            <a:extLst>
              <a:ext uri="{FF2B5EF4-FFF2-40B4-BE49-F238E27FC236}">
                <a16:creationId xmlns:a16="http://schemas.microsoft.com/office/drawing/2014/main" id="{906252E7-98DB-45F0-8278-EB60F71B7340}"/>
              </a:ext>
            </a:extLst>
          </p:cNvPr>
          <p:cNvSpPr>
            <a:spLocks/>
          </p:cNvSpPr>
          <p:nvPr userDrawn="1"/>
        </p:nvSpPr>
        <p:spPr>
          <a:xfrm>
            <a:off x="9480875" y="1097671"/>
            <a:ext cx="2478456" cy="1277440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15" tIns="143215" rIns="143215" bIns="143215" rtlCol="0" anchor="t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/date&gt;: </a:t>
            </a:r>
          </a:p>
        </p:txBody>
      </p:sp>
      <p:sp>
        <p:nvSpPr>
          <p:cNvPr id="141" name="Draft [Sticker]" hidden="1">
            <a:extLst>
              <a:ext uri="{FF2B5EF4-FFF2-40B4-BE49-F238E27FC236}">
                <a16:creationId xmlns:a16="http://schemas.microsoft.com/office/drawing/2014/main" id="{904633E3-6BC9-4C5E-B74A-8B9D4AE95B20}"/>
              </a:ext>
            </a:extLst>
          </p:cNvPr>
          <p:cNvSpPr/>
          <p:nvPr userDrawn="1"/>
        </p:nvSpPr>
        <p:spPr bwMode="gray">
          <a:xfrm rot="18900000">
            <a:off x="2915884" y="2819463"/>
            <a:ext cx="6360233" cy="1219077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8797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Arial Unicode MS" pitchFamily="34" charset="-128"/>
                <a:cs typeface="Arial Unicode MS" pitchFamily="34" charset="-128"/>
              </a:rPr>
              <a:t>DRAFT</a:t>
            </a:r>
          </a:p>
        </p:txBody>
      </p:sp>
      <p:sp>
        <p:nvSpPr>
          <p:cNvPr id="5" name="Copyright Placeholder" descr="{&quot;templafy&quot;:{&quot;id&quot;:&quot;9eba5b9f-61ac-4366-8d83-d535533b9592&quot;}}">
            <a:extLst>
              <a:ext uri="{FF2B5EF4-FFF2-40B4-BE49-F238E27FC236}">
                <a16:creationId xmlns:a16="http://schemas.microsoft.com/office/drawing/2014/main" id="{98C5CD0B-2C32-9372-5E4C-7C887024D0C0}"/>
              </a:ext>
            </a:extLst>
          </p:cNvPr>
          <p:cNvSpPr txBox="1">
            <a:spLocks/>
          </p:cNvSpPr>
          <p:nvPr userDrawn="1"/>
        </p:nvSpPr>
        <p:spPr>
          <a:xfrm>
            <a:off x="503870" y="6529846"/>
            <a:ext cx="10152956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28056723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34" r:id="rId1"/>
    <p:sldLayoutId id="2147485035" r:id="rId2"/>
    <p:sldLayoutId id="2147485036" r:id="rId3"/>
    <p:sldLayoutId id="2147485037" r:id="rId4"/>
    <p:sldLayoutId id="2147485038" r:id="rId5"/>
    <p:sldLayoutId id="2147485039" r:id="rId6"/>
    <p:sldLayoutId id="2147485040" r:id="rId7"/>
    <p:sldLayoutId id="2147485041" r:id="rId8"/>
    <p:sldLayoutId id="2147485042" r:id="rId9"/>
    <p:sldLayoutId id="2147485043" r:id="rId10"/>
    <p:sldLayoutId id="2147485044" r:id="rId11"/>
    <p:sldLayoutId id="2147485045" r:id="rId12"/>
    <p:sldLayoutId id="2147485046" r:id="rId13"/>
    <p:sldLayoutId id="2147485047" r:id="rId14"/>
    <p:sldLayoutId id="2147485048" r:id="rId15"/>
    <p:sldLayoutId id="2147485049" r:id="rId16"/>
    <p:sldLayoutId id="2147485050" r:id="rId17"/>
    <p:sldLayoutId id="2147485051" r:id="rId18"/>
  </p:sldLayoutIdLst>
  <p:hf hdr="0" ftr="0" dt="0"/>
  <p:txStyles>
    <p:titleStyle>
      <a:lvl1pPr algn="l" defTabSz="1088231" rtl="0" eaLnBrk="1" latinLnBrk="0" hangingPunct="1">
        <a:spcBef>
          <a:spcPct val="0"/>
        </a:spcBef>
        <a:buNone/>
        <a:defRPr sz="2399" b="1" i="0" kern="1200" baseline="0">
          <a:solidFill>
            <a:schemeClr val="tx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0" indent="0" algn="l" defTabSz="1088231" rtl="0" eaLnBrk="1" latinLnBrk="0" hangingPunct="1">
        <a:spcBef>
          <a:spcPts val="1799"/>
        </a:spcBef>
        <a:buClr>
          <a:schemeClr val="accent1"/>
        </a:buClr>
        <a:buSzPct val="80000"/>
        <a:buFontTx/>
        <a:buNone/>
        <a:defRPr sz="1999" b="0" i="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179910" indent="-179910" algn="l" defTabSz="1088231" rtl="0" eaLnBrk="1" latinLnBrk="0" hangingPunct="1">
        <a:spcBef>
          <a:spcPts val="600"/>
        </a:spcBef>
        <a:buClr>
          <a:schemeClr val="tx1"/>
        </a:buClr>
        <a:buSzPct val="100000"/>
        <a:buFont typeface="Wingdings" pitchFamily="2" charset="2"/>
        <a:buChar char="§"/>
        <a:defRPr sz="1799" b="0" i="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358667" indent="-179334" algn="l" defTabSz="1088231" rtl="0" eaLnBrk="1" latinLnBrk="0" hangingPunct="1">
        <a:spcBef>
          <a:spcPts val="300"/>
        </a:spcBef>
        <a:buClr>
          <a:schemeClr val="tx1"/>
        </a:buClr>
        <a:buSzPct val="100000"/>
        <a:buFont typeface="Arial" panose="020B0604020202020204" pitchFamily="34" charset="0"/>
        <a:buChar char="–"/>
        <a:defRPr lang="en-US" sz="1799" b="0" i="0" kern="1200" noProof="0" dirty="0" smtClean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539730" indent="-179910" algn="l" defTabSz="1088231" rtl="0" eaLnBrk="1" latinLnBrk="0" hangingPunct="1">
        <a:spcBef>
          <a:spcPts val="300"/>
        </a:spcBef>
        <a:buClr>
          <a:schemeClr val="tx1"/>
        </a:buClr>
        <a:buSzPct val="120000"/>
        <a:buFont typeface="Arial" pitchFamily="34" charset="0"/>
        <a:buChar char="▫"/>
        <a:defRPr sz="1600" b="0" i="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719640" indent="-179910" algn="l" defTabSz="1088231" rtl="0" eaLnBrk="1" latinLnBrk="0" hangingPunct="1">
        <a:spcBef>
          <a:spcPts val="100"/>
        </a:spcBef>
        <a:buClr>
          <a:schemeClr val="tx1"/>
        </a:buClr>
        <a:buSzPct val="100000"/>
        <a:buFont typeface="Symbol" panose="05050102010706020507" pitchFamily="18" charset="2"/>
        <a:buChar char="-"/>
        <a:defRPr sz="14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992637" indent="-272058" algn="l" defTabSz="1088231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536753" indent="-272058" algn="l" defTabSz="1088231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080868" indent="-272058" algn="l" defTabSz="1088231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624985" indent="-272058" algn="l" defTabSz="1088231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1pPr>
      <a:lvl2pPr marL="544116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2pPr>
      <a:lvl3pPr marL="1088231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3pPr>
      <a:lvl4pPr marL="1632347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4pPr>
      <a:lvl5pPr marL="2176463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5pPr>
      <a:lvl6pPr marL="2720580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6pPr>
      <a:lvl7pPr marL="3264695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7pPr>
      <a:lvl8pPr marL="3808811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8pPr>
      <a:lvl9pPr marL="4352927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hyperlink" Target="https://learning.sap.com/learning-journey/utilize-sap-build-for-low-code-no-code-applications-and-automations-for-citizen-developers" TargetMode="External"/><Relationship Id="rId3" Type="http://schemas.openxmlformats.org/officeDocument/2006/relationships/hyperlink" Target="https://go2.events.sap.com/TechEd2023/agb/go/agendabuilder.sessions/?l=326&amp;sf=1104&amp;locale=en_US" TargetMode="External"/><Relationship Id="rId7" Type="http://schemas.openxmlformats.org/officeDocument/2006/relationships/hyperlink" Target="https://learning.sap.com/learning-journey/compose-and-automate-with-sap-build-the-no-code-way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hyperlink" Target="https://go3.events.sap.com/sapteched/virtual/2023/reg/flow/sap/sapteched23/catalog/page/catalog?tab.sessionplanned=1692641568884001cZ9d&amp;search.offeringsproducts=1693018299239011TvEG&amp;search.offeringsproducts=1693018299239012Tskl&amp;search.offeringsproducts=1693018299239013TbaB" TargetMode="External"/><Relationship Id="rId9" Type="http://schemas.openxmlformats.org/officeDocument/2006/relationships/image" Target="../media/image4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go2.events.sap.com/TechEd2023/agb/go/agendabuilder.sessions/?l=326&amp;sf=1105&amp;locale=en_US" TargetMode="External"/><Relationship Id="rId7" Type="http://schemas.openxmlformats.org/officeDocument/2006/relationships/image" Target="../media/image4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43.png"/><Relationship Id="rId5" Type="http://schemas.openxmlformats.org/officeDocument/2006/relationships/hyperlink" Target="https://community.sap.com/topics/work-zone" TargetMode="External"/><Relationship Id="rId4" Type="http://schemas.openxmlformats.org/officeDocument/2006/relationships/image" Target="../media/image4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go2.events.sap.com/TechEd2023/agb/go/agendabuilder.sessions/?l=326&amp;sf=1107&amp;locale=en_US" TargetMode="External"/><Relationship Id="rId7" Type="http://schemas.openxmlformats.org/officeDocument/2006/relationships/image" Target="../media/image4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.xml"/><Relationship Id="rId6" Type="http://schemas.openxmlformats.org/officeDocument/2006/relationships/hyperlink" Target="https://www.sap.com/products/technology-platform/enterprise-automation.html" TargetMode="External"/><Relationship Id="rId5" Type="http://schemas.openxmlformats.org/officeDocument/2006/relationships/image" Target="../media/image45.png"/><Relationship Id="rId4" Type="http://schemas.openxmlformats.org/officeDocument/2006/relationships/image" Target="../media/image40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go2.events.sap.com/TechEd2023/agb/go/agendabuilder.sessions/?l=326&amp;sf=1108&amp;locale=en_US" TargetMode="External"/><Relationship Id="rId7" Type="http://schemas.openxmlformats.org/officeDocument/2006/relationships/image" Target="../media/image4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.xml"/><Relationship Id="rId6" Type="http://schemas.openxmlformats.org/officeDocument/2006/relationships/hyperlink" Target="https://community.sap.com/topics/build-apps" TargetMode="External"/><Relationship Id="rId5" Type="http://schemas.openxmlformats.org/officeDocument/2006/relationships/image" Target="../media/image47.png"/><Relationship Id="rId4" Type="http://schemas.openxmlformats.org/officeDocument/2006/relationships/image" Target="../media/image40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learning.sap.com/teched/app-development-automation?source=contentsynd-prdteng-LSC-TechEd" TargetMode="External"/><Relationship Id="rId7" Type="http://schemas.openxmlformats.org/officeDocument/2006/relationships/hyperlink" Target="https://home.pearsonvue.com/voc" TargetMode="Externa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.xml"/><Relationship Id="rId6" Type="http://schemas.openxmlformats.org/officeDocument/2006/relationships/hyperlink" Target="https://learning.sap.com/teched?source=contentsynd-prdteng-LSC-TechEd" TargetMode="External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FFFF68_D9BEA395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8.xml"/><Relationship Id="rId5" Type="http://schemas.openxmlformats.org/officeDocument/2006/relationships/image" Target="../media/image20.svg"/><Relationship Id="rId4" Type="http://schemas.openxmlformats.org/officeDocument/2006/relationships/image" Target="../media/image19.png"/></Relationships>
</file>

<file path=ppt/slides/_rels/slide5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FFFF62_686A92B5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3.jpeg"/><Relationship Id="rId5" Type="http://schemas.openxmlformats.org/officeDocument/2006/relationships/image" Target="../media/image22.jpeg"/><Relationship Id="rId4" Type="http://schemas.openxmlformats.org/officeDocument/2006/relationships/image" Target="../media/image21.jpe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svg"/><Relationship Id="rId3" Type="http://schemas.microsoft.com/office/2007/relationships/hdphoto" Target="../media/hdphoto1.wdp"/><Relationship Id="rId7" Type="http://schemas.openxmlformats.org/officeDocument/2006/relationships/image" Target="../media/image34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3.svg"/><Relationship Id="rId5" Type="http://schemas.openxmlformats.org/officeDocument/2006/relationships/image" Target="../media/image32.png"/><Relationship Id="rId4" Type="http://schemas.openxmlformats.org/officeDocument/2006/relationships/image" Target="../media/image31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39450773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>
            <a:extLst>
              <a:ext uri="{FF2B5EF4-FFF2-40B4-BE49-F238E27FC236}">
                <a16:creationId xmlns:a16="http://schemas.microsoft.com/office/drawing/2014/main" id="{E4D2AFE6-6B00-4D2D-BBA0-4CC74F3CC3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5" y="252863"/>
            <a:ext cx="11017250" cy="554038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Holistic View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33632B32-1CFB-594D-7CBC-BF544F3E0EC7}"/>
              </a:ext>
            </a:extLst>
          </p:cNvPr>
          <p:cNvSpPr/>
          <p:nvPr/>
        </p:nvSpPr>
        <p:spPr bwMode="gray">
          <a:xfrm>
            <a:off x="1024069" y="2798369"/>
            <a:ext cx="1699707" cy="1087435"/>
          </a:xfrm>
          <a:prstGeom prst="roundRect">
            <a:avLst/>
          </a:prstGeom>
          <a:noFill/>
          <a:ln w="25400" algn="ctr">
            <a:solidFill>
              <a:srgbClr val="008ED2"/>
            </a:solidFill>
            <a:miter lim="800000"/>
            <a:headEnd/>
            <a:tailEnd/>
          </a:ln>
          <a:effectLst>
            <a:outerShdw blurRad="50800" dist="38100" dir="2700000" algn="tl" rotWithShape="0">
              <a:srgbClr val="9CABF2">
                <a:alpha val="40000"/>
              </a:srgbClr>
            </a:outerShdw>
          </a:effectLst>
        </p:spPr>
        <p:txBody>
          <a:bodyPr lIns="90000" tIns="72000" rIns="90000" bIns="72000" rtlCol="0" anchor="ctr"/>
          <a:lstStyle>
            <a:defPPr>
              <a:defRPr lang="de-DE"/>
            </a:defPPr>
            <a:lvl1pPr marL="0" algn="l" defTabSz="1088776" rtl="0" eaLnBrk="1" latinLnBrk="0" hangingPunct="1"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544388" algn="l" defTabSz="108877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88776" algn="l" defTabSz="108877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17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633164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177552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26" name="Picture 25" descr="Third party API">
            <a:extLst>
              <a:ext uri="{FF2B5EF4-FFF2-40B4-BE49-F238E27FC236}">
                <a16:creationId xmlns:a16="http://schemas.microsoft.com/office/drawing/2014/main" id="{4DE756CF-9BA4-47E3-7820-71C990507BD4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rgbClr val="DB2A95">
                <a:tint val="45000"/>
                <a:satMod val="400000"/>
              </a:srgbClr>
            </a:duotone>
          </a:blip>
          <a:stretch>
            <a:fillRect/>
          </a:stretch>
        </p:blipFill>
        <p:spPr>
          <a:xfrm>
            <a:off x="1558602" y="2803000"/>
            <a:ext cx="748698" cy="748698"/>
          </a:xfrm>
          <a:prstGeom prst="rect">
            <a:avLst/>
          </a:prstGeom>
        </p:spPr>
      </p:pic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58E57264-FC57-309B-15F6-F405D5021601}"/>
              </a:ext>
            </a:extLst>
          </p:cNvPr>
          <p:cNvSpPr/>
          <p:nvPr/>
        </p:nvSpPr>
        <p:spPr bwMode="gray">
          <a:xfrm>
            <a:off x="3322596" y="980162"/>
            <a:ext cx="8179496" cy="4897677"/>
          </a:xfrm>
          <a:prstGeom prst="roundRect">
            <a:avLst/>
          </a:prstGeom>
          <a:noFill/>
          <a:ln w="19050" cap="flat" cmpd="sng" algn="ctr">
            <a:solidFill>
              <a:srgbClr val="0FA9FE">
                <a:shade val="50000"/>
              </a:srgbClr>
            </a:solidFill>
            <a:prstDash val="solid"/>
            <a:headEnd/>
            <a:tailEnd/>
          </a:ln>
          <a:effectLst>
            <a:glow rad="63500">
              <a:srgbClr val="008ED2">
                <a:satMod val="175000"/>
                <a:alpha val="40000"/>
              </a:srgbClr>
            </a:glow>
          </a:effectLst>
        </p:spPr>
        <p:txBody>
          <a:bodyPr lIns="90000" tIns="72000" rIns="90000" bIns="72000" rtlCol="0" anchor="ctr"/>
          <a:lstStyle>
            <a:defPPr>
              <a:defRPr lang="de-DE"/>
            </a:defPPr>
            <a:lvl1pPr marL="0" algn="l" defTabSz="1088776" rtl="0" eaLnBrk="1" latinLnBrk="0" hangingPunct="1">
              <a:defRPr lang="de-DE"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44388" algn="l" defTabSz="108877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88776" algn="l" defTabSz="108877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1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33164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177552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 w="0"/>
              <a:solidFill>
                <a:srgbClr val="0FA9FE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8" name="TextBox 23">
            <a:extLst>
              <a:ext uri="{FF2B5EF4-FFF2-40B4-BE49-F238E27FC236}">
                <a16:creationId xmlns:a16="http://schemas.microsoft.com/office/drawing/2014/main" id="{1A376C46-15C2-762A-08E3-7BAB4FE3AF79}"/>
              </a:ext>
            </a:extLst>
          </p:cNvPr>
          <p:cNvSpPr txBox="1"/>
          <p:nvPr/>
        </p:nvSpPr>
        <p:spPr>
          <a:xfrm>
            <a:off x="5275361" y="1142656"/>
            <a:ext cx="412365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marL="0" algn="l" defTabSz="1088776" rtl="0" eaLnBrk="1" latinLnBrk="0" hangingPunct="1"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544388" algn="l" defTabSz="108877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88776" algn="l" defTabSz="108877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17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633164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177552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 w="0"/>
                <a:solidFill>
                  <a:srgbClr val="0FA9FE">
                    <a:lumMod val="50000"/>
                  </a:srgb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SAP Business Technology Platform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677D6555-5DC4-6554-8182-AD68D8B4684D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rgbClr val="0FA9FE">
                <a:shade val="45000"/>
                <a:satMod val="135000"/>
              </a:srgbClr>
              <a:prstClr val="white"/>
            </a:duotone>
          </a:blip>
          <a:stretch>
            <a:fillRect/>
          </a:stretch>
        </p:blipFill>
        <p:spPr>
          <a:xfrm>
            <a:off x="3963535" y="1845621"/>
            <a:ext cx="701113" cy="701113"/>
          </a:xfrm>
          <a:prstGeom prst="rect">
            <a:avLst/>
          </a:prstGeom>
        </p:spPr>
      </p:pic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65F90C05-0EB3-F546-13FA-EF355FC6B607}"/>
              </a:ext>
            </a:extLst>
          </p:cNvPr>
          <p:cNvSpPr/>
          <p:nvPr/>
        </p:nvSpPr>
        <p:spPr bwMode="gray">
          <a:xfrm>
            <a:off x="3942280" y="3819147"/>
            <a:ext cx="3438749" cy="1765969"/>
          </a:xfrm>
          <a:prstGeom prst="roundRect">
            <a:avLst/>
          </a:prstGeom>
          <a:noFill/>
          <a:ln w="25400" algn="ctr">
            <a:solidFill>
              <a:srgbClr val="008ED2"/>
            </a:solidFill>
            <a:miter lim="800000"/>
            <a:headEnd/>
            <a:tailEnd/>
          </a:ln>
          <a:effectLst>
            <a:outerShdw blurRad="50800" dist="38100" dir="2700000" algn="tl" rotWithShape="0">
              <a:srgbClr val="9CABF2">
                <a:alpha val="40000"/>
              </a:srgbClr>
            </a:outerShdw>
          </a:effectLst>
        </p:spPr>
        <p:txBody>
          <a:bodyPr lIns="90000" tIns="72000" rIns="90000" bIns="72000" rtlCol="0" anchor="ctr"/>
          <a:lstStyle>
            <a:defPPr>
              <a:defRPr lang="de-DE"/>
            </a:defPPr>
            <a:lvl1pPr marL="0" algn="l" defTabSz="1088776" rtl="0" eaLnBrk="1" latinLnBrk="0" hangingPunct="1"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544388" algn="l" defTabSz="108877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88776" algn="l" defTabSz="108877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17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633164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177552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1" name="TextBox 34">
            <a:extLst>
              <a:ext uri="{FF2B5EF4-FFF2-40B4-BE49-F238E27FC236}">
                <a16:creationId xmlns:a16="http://schemas.microsoft.com/office/drawing/2014/main" id="{B63C73F7-8F49-ED69-E1FF-5240B278B4FB}"/>
              </a:ext>
            </a:extLst>
          </p:cNvPr>
          <p:cNvSpPr txBox="1"/>
          <p:nvPr/>
        </p:nvSpPr>
        <p:spPr>
          <a:xfrm>
            <a:off x="4605565" y="3947710"/>
            <a:ext cx="263968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marL="0" algn="l" defTabSz="1088776" rtl="0" eaLnBrk="1" latinLnBrk="0" hangingPunct="1"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544388" algn="l" defTabSz="108877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88776" algn="l" defTabSz="108877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17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633164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177552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 w="0"/>
                <a:solidFill>
                  <a:srgbClr val="0FA9FE">
                    <a:lumMod val="50000"/>
                  </a:srgb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SAP Automation Pilot</a:t>
            </a:r>
          </a:p>
        </p:txBody>
      </p:sp>
      <p:sp>
        <p:nvSpPr>
          <p:cNvPr id="32" name="TextBox 35">
            <a:extLst>
              <a:ext uri="{FF2B5EF4-FFF2-40B4-BE49-F238E27FC236}">
                <a16:creationId xmlns:a16="http://schemas.microsoft.com/office/drawing/2014/main" id="{E79CC38C-5D7D-8CA8-8F7C-B6D919D9B02D}"/>
              </a:ext>
            </a:extLst>
          </p:cNvPr>
          <p:cNvSpPr txBox="1"/>
          <p:nvPr/>
        </p:nvSpPr>
        <p:spPr>
          <a:xfrm>
            <a:off x="4709028" y="4286233"/>
            <a:ext cx="2639684" cy="9848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marL="0" algn="l" defTabSz="1088776" rtl="0" eaLnBrk="1" latinLnBrk="0" hangingPunct="1"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544388" algn="l" defTabSz="108877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88776" algn="l" defTabSz="108877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17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633164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177552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lvl="0" indent="-28575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FA9FE">
                    <a:lumMod val="75000"/>
                  </a:srgbClr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Data Extraction</a:t>
            </a:r>
          </a:p>
          <a:p>
            <a:pPr marL="285750" marR="0" lvl="0" indent="-28575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FA9FE">
                    <a:lumMod val="75000"/>
                  </a:srgbClr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Automate SQL scripts</a:t>
            </a:r>
          </a:p>
          <a:p>
            <a:pPr marL="285750" marR="0" lvl="0" indent="-28575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FA9FE">
                    <a:lumMod val="75000"/>
                  </a:srgbClr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Scheduling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7F086A4F-8B40-4802-6AA3-632B113B980A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rgbClr val="0F45A6">
                <a:shade val="45000"/>
                <a:satMod val="135000"/>
              </a:srgbClr>
              <a:prstClr val="white"/>
            </a:duotone>
          </a:blip>
          <a:stretch>
            <a:fillRect/>
          </a:stretch>
        </p:blipFill>
        <p:spPr>
          <a:xfrm>
            <a:off x="4020872" y="3804589"/>
            <a:ext cx="736578" cy="736578"/>
          </a:xfrm>
          <a:prstGeom prst="rect">
            <a:avLst/>
          </a:prstGeom>
        </p:spPr>
      </p:pic>
      <p:sp>
        <p:nvSpPr>
          <p:cNvPr id="34" name="TextBox 41">
            <a:extLst>
              <a:ext uri="{FF2B5EF4-FFF2-40B4-BE49-F238E27FC236}">
                <a16:creationId xmlns:a16="http://schemas.microsoft.com/office/drawing/2014/main" id="{DCDB5387-AB65-AC78-5411-A5B61FCD5C67}"/>
              </a:ext>
            </a:extLst>
          </p:cNvPr>
          <p:cNvSpPr txBox="1"/>
          <p:nvPr/>
        </p:nvSpPr>
        <p:spPr>
          <a:xfrm>
            <a:off x="8339152" y="2026058"/>
            <a:ext cx="2316522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marL="0" algn="l" defTabSz="1088776" rtl="0" eaLnBrk="1" latinLnBrk="0" hangingPunct="1"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544388" algn="l" defTabSz="108877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88776" algn="l" defTabSz="108877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17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633164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177552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 w="0"/>
                <a:solidFill>
                  <a:srgbClr val="0FA9FE">
                    <a:lumMod val="50000"/>
                  </a:srgb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Build your custom App </a:t>
            </a:r>
          </a:p>
        </p:txBody>
      </p: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8D052ACB-1D66-BC6E-F32C-4A56580B2FCB}"/>
              </a:ext>
            </a:extLst>
          </p:cNvPr>
          <p:cNvSpPr/>
          <p:nvPr/>
        </p:nvSpPr>
        <p:spPr bwMode="gray">
          <a:xfrm>
            <a:off x="8066346" y="2438888"/>
            <a:ext cx="3122583" cy="2211961"/>
          </a:xfrm>
          <a:prstGeom prst="roundRect">
            <a:avLst/>
          </a:prstGeom>
          <a:noFill/>
          <a:ln w="25400" algn="ctr">
            <a:solidFill>
              <a:srgbClr val="008ED2"/>
            </a:solidFill>
            <a:miter lim="800000"/>
            <a:headEnd/>
            <a:tailEnd/>
          </a:ln>
          <a:effectLst>
            <a:outerShdw blurRad="50800" dist="38100" dir="2700000" algn="tl" rotWithShape="0">
              <a:srgbClr val="9CABF2">
                <a:alpha val="40000"/>
              </a:srgbClr>
            </a:outerShdw>
          </a:effectLst>
        </p:spPr>
        <p:txBody>
          <a:bodyPr lIns="90000" tIns="72000" rIns="90000" bIns="72000" rtlCol="0" anchor="ctr"/>
          <a:lstStyle>
            <a:defPPr>
              <a:defRPr lang="de-DE"/>
            </a:defPPr>
            <a:lvl1pPr marL="0" algn="l" defTabSz="1088776" rtl="0" eaLnBrk="1" latinLnBrk="0" hangingPunct="1"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544388" algn="l" defTabSz="108877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88776" algn="l" defTabSz="108877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17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633164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177552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6" name="TextBox 43">
            <a:extLst>
              <a:ext uri="{FF2B5EF4-FFF2-40B4-BE49-F238E27FC236}">
                <a16:creationId xmlns:a16="http://schemas.microsoft.com/office/drawing/2014/main" id="{B74138AE-B888-754D-3318-60ED721769AB}"/>
              </a:ext>
            </a:extLst>
          </p:cNvPr>
          <p:cNvSpPr txBox="1"/>
          <p:nvPr/>
        </p:nvSpPr>
        <p:spPr>
          <a:xfrm>
            <a:off x="8556705" y="2567532"/>
            <a:ext cx="1928082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marL="0" algn="l" defTabSz="1088776" rtl="0" eaLnBrk="1" latinLnBrk="0" hangingPunct="1"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544388" algn="l" defTabSz="108877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88776" algn="l" defTabSz="108877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17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633164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177552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 w="0"/>
                <a:solidFill>
                  <a:srgbClr val="0FA9FE">
                    <a:lumMod val="50000"/>
                  </a:srgb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SAP CAP</a:t>
            </a:r>
          </a:p>
        </p:txBody>
      </p:sp>
      <p:sp>
        <p:nvSpPr>
          <p:cNvPr id="37" name="TextBox 44">
            <a:extLst>
              <a:ext uri="{FF2B5EF4-FFF2-40B4-BE49-F238E27FC236}">
                <a16:creationId xmlns:a16="http://schemas.microsoft.com/office/drawing/2014/main" id="{76C631E8-D847-D711-0D5D-E6FE41DD213C}"/>
              </a:ext>
            </a:extLst>
          </p:cNvPr>
          <p:cNvSpPr txBox="1"/>
          <p:nvPr/>
        </p:nvSpPr>
        <p:spPr>
          <a:xfrm>
            <a:off x="8754580" y="3034235"/>
            <a:ext cx="2450148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marL="0" algn="l" defTabSz="1088776" rtl="0" eaLnBrk="1" latinLnBrk="0" hangingPunct="1"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544388" algn="l" defTabSz="108877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88776" algn="l" defTabSz="108877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17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633164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177552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lvl="0" indent="-28575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FA9FE">
                    <a:lumMod val="75000"/>
                  </a:srgbClr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CDS, OData</a:t>
            </a:r>
          </a:p>
          <a:p>
            <a:pPr marL="285750" marR="0" lvl="0" indent="-28575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FA9FE">
                    <a:lumMod val="75000"/>
                  </a:srgbClr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HANA Artifacts - Synonyms</a:t>
            </a:r>
          </a:p>
          <a:p>
            <a:pPr marL="285750" marR="0" lvl="0" indent="-28575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FA9FE">
                    <a:lumMod val="75000"/>
                  </a:srgbClr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FIORI front end</a:t>
            </a:r>
          </a:p>
        </p:txBody>
      </p:sp>
      <p:sp>
        <p:nvSpPr>
          <p:cNvPr id="38" name="TextBox 45">
            <a:extLst>
              <a:ext uri="{FF2B5EF4-FFF2-40B4-BE49-F238E27FC236}">
                <a16:creationId xmlns:a16="http://schemas.microsoft.com/office/drawing/2014/main" id="{FCDC4F51-7FBF-E4ED-BAD6-28104DABE7B0}"/>
              </a:ext>
            </a:extLst>
          </p:cNvPr>
          <p:cNvSpPr txBox="1"/>
          <p:nvPr/>
        </p:nvSpPr>
        <p:spPr>
          <a:xfrm>
            <a:off x="4603132" y="1952434"/>
            <a:ext cx="2316522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marL="0" algn="l" defTabSz="1088776" rtl="0" eaLnBrk="1" latinLnBrk="0" hangingPunct="1"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544388" algn="l" defTabSz="108877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88776" algn="l" defTabSz="108877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17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633164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177552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 w="0"/>
                <a:solidFill>
                  <a:srgbClr val="0FA9FE">
                    <a:lumMod val="50000"/>
                  </a:srgb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SAP HANA Cloud</a:t>
            </a:r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575C7E84-7422-746A-0524-129C603F1D85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rgbClr val="44157D">
                <a:shade val="45000"/>
                <a:satMod val="135000"/>
              </a:srgbClr>
              <a:prstClr val="white"/>
            </a:duotone>
          </a:blip>
          <a:stretch>
            <a:fillRect/>
          </a:stretch>
        </p:blipFill>
        <p:spPr>
          <a:xfrm>
            <a:off x="8122247" y="2419625"/>
            <a:ext cx="774432" cy="774432"/>
          </a:xfrm>
          <a:prstGeom prst="rect">
            <a:avLst/>
          </a:prstGeom>
        </p:spPr>
      </p:pic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BBAE1F48-5931-D417-E441-3F3C4F33386B}"/>
              </a:ext>
            </a:extLst>
          </p:cNvPr>
          <p:cNvCxnSpPr>
            <a:cxnSpLocks/>
          </p:cNvCxnSpPr>
          <p:nvPr/>
        </p:nvCxnSpPr>
        <p:spPr>
          <a:xfrm>
            <a:off x="2878148" y="3492223"/>
            <a:ext cx="357387" cy="0"/>
          </a:xfrm>
          <a:prstGeom prst="straightConnector1">
            <a:avLst/>
          </a:prstGeom>
          <a:noFill/>
          <a:ln w="25400" cap="flat" cmpd="sng" algn="ctr">
            <a:solidFill>
              <a:srgbClr val="000000"/>
            </a:solidFill>
            <a:prstDash val="solid"/>
            <a:headEnd type="none" w="med" len="med"/>
            <a:tailEnd type="triangle"/>
          </a:ln>
          <a:effectLst/>
        </p:spPr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967BCD38-7AF2-576A-691E-71DC5C1092CC}"/>
              </a:ext>
            </a:extLst>
          </p:cNvPr>
          <p:cNvCxnSpPr>
            <a:cxnSpLocks/>
          </p:cNvCxnSpPr>
          <p:nvPr/>
        </p:nvCxnSpPr>
        <p:spPr>
          <a:xfrm>
            <a:off x="5629337" y="3342087"/>
            <a:ext cx="0" cy="405562"/>
          </a:xfrm>
          <a:prstGeom prst="straightConnector1">
            <a:avLst/>
          </a:prstGeom>
          <a:noFill/>
          <a:ln w="25400" cap="flat" cmpd="sng" algn="ctr">
            <a:solidFill>
              <a:srgbClr val="000000"/>
            </a:solidFill>
            <a:prstDash val="solid"/>
            <a:headEnd type="triangle"/>
            <a:tailEnd type="triangle"/>
          </a:ln>
          <a:effectLst/>
        </p:spPr>
      </p:cxn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466E2869-ED7E-F2B4-DA17-8D80762FC38E}"/>
              </a:ext>
            </a:extLst>
          </p:cNvPr>
          <p:cNvSpPr/>
          <p:nvPr/>
        </p:nvSpPr>
        <p:spPr bwMode="gray">
          <a:xfrm>
            <a:off x="3909963" y="1833937"/>
            <a:ext cx="3438749" cy="1404175"/>
          </a:xfrm>
          <a:prstGeom prst="roundRect">
            <a:avLst/>
          </a:prstGeom>
          <a:noFill/>
          <a:ln w="25400" algn="ctr">
            <a:solidFill>
              <a:srgbClr val="008ED2"/>
            </a:solidFill>
            <a:miter lim="800000"/>
            <a:headEnd/>
            <a:tailEnd/>
          </a:ln>
          <a:effectLst>
            <a:outerShdw blurRad="50800" dist="38100" dir="2700000" algn="tl" rotWithShape="0">
              <a:srgbClr val="9CABF2">
                <a:alpha val="40000"/>
              </a:srgbClr>
            </a:outerShdw>
          </a:effectLst>
        </p:spPr>
        <p:txBody>
          <a:bodyPr lIns="90000" tIns="72000" rIns="90000" bIns="72000" rtlCol="0" anchor="ctr"/>
          <a:lstStyle>
            <a:defPPr>
              <a:defRPr lang="de-DE"/>
            </a:defPPr>
            <a:lvl1pPr marL="0" algn="l" defTabSz="1088776" rtl="0" eaLnBrk="1" latinLnBrk="0" hangingPunct="1"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544388" algn="l" defTabSz="108877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88776" algn="l" defTabSz="108877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17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633164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177552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3" name="TextBox 56">
            <a:extLst>
              <a:ext uri="{FF2B5EF4-FFF2-40B4-BE49-F238E27FC236}">
                <a16:creationId xmlns:a16="http://schemas.microsoft.com/office/drawing/2014/main" id="{C063A07E-B4DE-53C8-4770-825E62AB099A}"/>
              </a:ext>
            </a:extLst>
          </p:cNvPr>
          <p:cNvSpPr txBox="1"/>
          <p:nvPr/>
        </p:nvSpPr>
        <p:spPr>
          <a:xfrm>
            <a:off x="4302961" y="2558418"/>
            <a:ext cx="2855376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marL="0" algn="l" defTabSz="1088776" rtl="0" eaLnBrk="1" latinLnBrk="0" hangingPunct="1"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544388" algn="l" defTabSz="108877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88776" algn="l" defTabSz="108877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17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633164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177552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lvl="0" indent="-28575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FA9FE">
                    <a:lumMod val="75000"/>
                  </a:srgbClr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Work with structured &amp; unstructured data</a:t>
            </a:r>
          </a:p>
        </p:txBody>
      </p: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01F51832-D868-59D8-0DE2-FB90D6FAC0BA}"/>
              </a:ext>
            </a:extLst>
          </p:cNvPr>
          <p:cNvCxnSpPr>
            <a:cxnSpLocks/>
          </p:cNvCxnSpPr>
          <p:nvPr/>
        </p:nvCxnSpPr>
        <p:spPr>
          <a:xfrm>
            <a:off x="7531341" y="2844531"/>
            <a:ext cx="413359" cy="0"/>
          </a:xfrm>
          <a:prstGeom prst="straightConnector1">
            <a:avLst/>
          </a:prstGeom>
          <a:noFill/>
          <a:ln w="25400" cap="flat" cmpd="sng" algn="ctr">
            <a:solidFill>
              <a:srgbClr val="000000"/>
            </a:solidFill>
            <a:prstDash val="solid"/>
            <a:headEnd type="none" w="med" len="med"/>
            <a:tailEnd type="triangle"/>
          </a:ln>
          <a:effectLst/>
        </p:spPr>
      </p:cxnSp>
      <p:sp>
        <p:nvSpPr>
          <p:cNvPr id="45" name="TextBox 70">
            <a:extLst>
              <a:ext uri="{FF2B5EF4-FFF2-40B4-BE49-F238E27FC236}">
                <a16:creationId xmlns:a16="http://schemas.microsoft.com/office/drawing/2014/main" id="{549F96D1-618C-4B10-4093-F345AA85DCF9}"/>
              </a:ext>
            </a:extLst>
          </p:cNvPr>
          <p:cNvSpPr txBox="1"/>
          <p:nvPr/>
        </p:nvSpPr>
        <p:spPr>
          <a:xfrm>
            <a:off x="689908" y="3470650"/>
            <a:ext cx="231652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marL="0" algn="l" defTabSz="1088776" rtl="0" eaLnBrk="1" latinLnBrk="0" hangingPunct="1"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544388" algn="l" defTabSz="108877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88776" algn="l" defTabSz="108877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17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633164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177552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 w="0"/>
                <a:solidFill>
                  <a:srgbClr val="0FA9FE">
                    <a:lumMod val="50000"/>
                  </a:srgb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Third party API</a:t>
            </a:r>
          </a:p>
        </p:txBody>
      </p:sp>
    </p:spTree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74DC1A9-E4DE-2EBF-4AF7-03E62448A416}"/>
              </a:ext>
            </a:extLst>
          </p:cNvPr>
          <p:cNvSpPr/>
          <p:nvPr/>
        </p:nvSpPr>
        <p:spPr bwMode="gray">
          <a:xfrm flipH="1" flipV="1">
            <a:off x="-12960" y="2410078"/>
            <a:ext cx="12217920" cy="1725260"/>
          </a:xfrm>
          <a:prstGeom prst="rect">
            <a:avLst/>
          </a:prstGeom>
          <a:solidFill>
            <a:srgbClr val="E9F8FF"/>
          </a:solidFill>
          <a:ln w="25400" algn="ctr">
            <a:noFill/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algn="ctr" defTabSz="914126" eaLnBrk="1" hangingPunct="1">
              <a:spcBef>
                <a:spcPct val="50000"/>
              </a:spcBef>
              <a:buClr>
                <a:srgbClr val="F0AB00"/>
              </a:buClr>
              <a:buSzPct val="80000"/>
            </a:pPr>
            <a:endParaRPr lang="en-US" sz="1799" kern="0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56DD7E6-31DD-E457-F669-42A62822A4BB}"/>
              </a:ext>
            </a:extLst>
          </p:cNvPr>
          <p:cNvSpPr txBox="1"/>
          <p:nvPr/>
        </p:nvSpPr>
        <p:spPr>
          <a:xfrm>
            <a:off x="1517249" y="2685090"/>
            <a:ext cx="6417642" cy="108234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ts val="1679"/>
              </a:spcBef>
              <a:buClr>
                <a:srgbClr val="F0AB00"/>
              </a:buClr>
              <a:buSzPct val="80000"/>
            </a:pPr>
            <a:r>
              <a:rPr lang="en-US" sz="1400" b="1" kern="0">
                <a:latin typeface="72"/>
                <a:ea typeface="Arial Unicode MS"/>
                <a:cs typeface="72" panose="020B0503030000000003" pitchFamily="34" charset="0"/>
              </a:rPr>
              <a:t>Check the On-site Session Catalog</a:t>
            </a:r>
            <a:r>
              <a:rPr lang="ru-RU" sz="1400" b="1" kern="0">
                <a:latin typeface="72" panose="020B0503030000000003" pitchFamily="34" charset="0"/>
                <a:ea typeface="Arial Unicode MS"/>
                <a:cs typeface="72" panose="020B0503030000000003" pitchFamily="34" charset="0"/>
              </a:rPr>
              <a:t>: </a:t>
            </a:r>
            <a:r>
              <a:rPr lang="en-US" sz="1400" b="1" kern="0">
                <a:solidFill>
                  <a:schemeClr val="accent1"/>
                </a:solidFill>
                <a:latin typeface="72"/>
                <a:ea typeface="Arial Unicode MS"/>
                <a:cs typeface="72" panose="020B0503030000000003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ap.com/events/teched/bangalore</a:t>
            </a:r>
            <a:endParaRPr lang="en-US" sz="1400" b="1" kern="0">
              <a:solidFill>
                <a:schemeClr val="accent1"/>
              </a:solidFill>
              <a:latin typeface="72"/>
              <a:ea typeface="Arial Unicode MS"/>
              <a:cs typeface="72" panose="020B0503030000000003" pitchFamily="34" charset="0"/>
              <a:hlinkClick r:id="rId4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pPr>
              <a:spcBef>
                <a:spcPts val="1679"/>
              </a:spcBef>
              <a:buClr>
                <a:srgbClr val="F0AB00"/>
              </a:buClr>
              <a:buSzPct val="80000"/>
            </a:pPr>
            <a:endParaRPr lang="en-US" sz="1400" b="1" kern="0">
              <a:solidFill>
                <a:schemeClr val="accent1"/>
              </a:solidFill>
              <a:latin typeface="72" panose="020B0503030000000003" pitchFamily="34" charset="0"/>
              <a:ea typeface="Arial Unicode MS" pitchFamily="34" charset="-128"/>
              <a:cs typeface="72" panose="020B0503030000000003" pitchFamily="34" charset="0"/>
            </a:endParaRPr>
          </a:p>
          <a:p>
            <a:pPr>
              <a:spcBef>
                <a:spcPts val="1679"/>
              </a:spcBef>
              <a:buClr>
                <a:srgbClr val="F0AB00"/>
              </a:buClr>
              <a:buSzPct val="80000"/>
            </a:pPr>
            <a:endParaRPr lang="en-US" sz="1400" b="1" kern="0">
              <a:solidFill>
                <a:schemeClr val="accent1"/>
              </a:solidFill>
              <a:latin typeface="72" panose="020B0503030000000003" pitchFamily="34" charset="0"/>
              <a:ea typeface="Arial Unicode MS" pitchFamily="34" charset="-128"/>
              <a:cs typeface="72" panose="020B0503030000000003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8E76E50-169F-5CEE-B708-8DC2E308433C}"/>
              </a:ext>
            </a:extLst>
          </p:cNvPr>
          <p:cNvSpPr txBox="1"/>
          <p:nvPr/>
        </p:nvSpPr>
        <p:spPr>
          <a:xfrm>
            <a:off x="1517249" y="3131673"/>
            <a:ext cx="5320279" cy="73866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indent="-24765">
              <a:buClr>
                <a:schemeClr val="lt1"/>
              </a:buClr>
              <a:buSzPct val="25000"/>
            </a:pPr>
            <a:r>
              <a:rPr lang="en-US" sz="1600">
                <a:latin typeface="72" panose="020B0503030000000003" pitchFamily="34" charset="0"/>
                <a:ea typeface="Arial"/>
                <a:cs typeface="72" panose="020B0503030000000003" pitchFamily="34" charset="0"/>
                <a:sym typeface="Arial"/>
              </a:rPr>
              <a:t>Join us for these insightful sessions in Bangalore</a:t>
            </a:r>
            <a:r>
              <a:rPr lang="ru-RU" sz="1600">
                <a:latin typeface="72" panose="020B0503030000000003" pitchFamily="34" charset="0"/>
                <a:ea typeface="Arial"/>
                <a:cs typeface="72" panose="020B0503030000000003" pitchFamily="34" charset="0"/>
                <a:sym typeface="Arial"/>
              </a:rPr>
              <a:t> </a:t>
            </a:r>
            <a:r>
              <a:rPr lang="fi-FI" sz="1600">
                <a:latin typeface="72" panose="020B0503030000000003" pitchFamily="34" charset="0"/>
                <a:ea typeface="Arial"/>
                <a:cs typeface="72" panose="020B0503030000000003" pitchFamily="34" charset="0"/>
                <a:sym typeface="Arial"/>
              </a:rPr>
              <a:t>to </a:t>
            </a:r>
            <a:r>
              <a:rPr lang="fi-FI" sz="1600" err="1">
                <a:latin typeface="72" panose="020B0503030000000003" pitchFamily="34" charset="0"/>
                <a:ea typeface="Arial"/>
                <a:cs typeface="72" panose="020B0503030000000003" pitchFamily="34" charset="0"/>
                <a:sym typeface="Arial"/>
              </a:rPr>
              <a:t>learn</a:t>
            </a:r>
            <a:r>
              <a:rPr lang="fi-FI" sz="1600">
                <a:latin typeface="72" panose="020B0503030000000003" pitchFamily="34" charset="0"/>
                <a:ea typeface="Arial"/>
                <a:cs typeface="72" panose="020B0503030000000003" pitchFamily="34" charset="0"/>
                <a:sym typeface="Arial"/>
              </a:rPr>
              <a:t> </a:t>
            </a:r>
            <a:r>
              <a:rPr lang="fi-FI" sz="1600" err="1">
                <a:latin typeface="72" panose="020B0503030000000003" pitchFamily="34" charset="0"/>
                <a:ea typeface="Arial"/>
                <a:cs typeface="72" panose="020B0503030000000003" pitchFamily="34" charset="0"/>
                <a:sym typeface="Arial"/>
              </a:rPr>
              <a:t>about</a:t>
            </a:r>
            <a:r>
              <a:rPr lang="ru-RU" sz="1600">
                <a:latin typeface="72" panose="020B0503030000000003" pitchFamily="34" charset="0"/>
                <a:ea typeface="Arial"/>
                <a:cs typeface="72" panose="020B0503030000000003" pitchFamily="34" charset="0"/>
                <a:sym typeface="Arial"/>
              </a:rPr>
              <a:t> </a:t>
            </a:r>
            <a:r>
              <a:rPr lang="fi-FI" sz="1600">
                <a:latin typeface="72" panose="020B0503030000000003" pitchFamily="34" charset="0"/>
                <a:ea typeface="Arial"/>
                <a:cs typeface="72" panose="020B0503030000000003" pitchFamily="34" charset="0"/>
                <a:sym typeface="Arial"/>
              </a:rPr>
              <a:t>SAP </a:t>
            </a:r>
            <a:r>
              <a:rPr lang="fi-FI" sz="1600" err="1">
                <a:latin typeface="72" panose="020B0503030000000003" pitchFamily="34" charset="0"/>
                <a:ea typeface="Arial"/>
                <a:cs typeface="72" panose="020B0503030000000003" pitchFamily="34" charset="0"/>
                <a:sym typeface="Arial"/>
              </a:rPr>
              <a:t>Build</a:t>
            </a:r>
            <a:r>
              <a:rPr lang="fi-FI" sz="1600">
                <a:latin typeface="72" panose="020B0503030000000003" pitchFamily="34" charset="0"/>
                <a:ea typeface="Arial"/>
                <a:cs typeface="72" panose="020B0503030000000003" pitchFamily="34" charset="0"/>
                <a:sym typeface="Arial"/>
              </a:rPr>
              <a:t> and </a:t>
            </a:r>
            <a:r>
              <a:rPr lang="fi-FI" sz="1600" err="1">
                <a:latin typeface="72" panose="020B0503030000000003" pitchFamily="34" charset="0"/>
                <a:ea typeface="Arial"/>
                <a:cs typeface="72" panose="020B0503030000000003" pitchFamily="34" charset="0"/>
                <a:sym typeface="Arial"/>
              </a:rPr>
              <a:t>how</a:t>
            </a:r>
            <a:r>
              <a:rPr lang="fi-FI" sz="1600">
                <a:latin typeface="72" panose="020B0503030000000003" pitchFamily="34" charset="0"/>
                <a:ea typeface="Arial"/>
                <a:cs typeface="72" panose="020B0503030000000003" pitchFamily="34" charset="0"/>
                <a:sym typeface="Arial"/>
              </a:rPr>
              <a:t> it </a:t>
            </a:r>
            <a:r>
              <a:rPr lang="ru-RU" sz="1600" err="1">
                <a:latin typeface="72" panose="020B0503030000000003" pitchFamily="34" charset="0"/>
                <a:ea typeface="Arial"/>
                <a:cs typeface="72" panose="020B0503030000000003" pitchFamily="34" charset="0"/>
                <a:sym typeface="Arial"/>
              </a:rPr>
              <a:t>helps</a:t>
            </a:r>
            <a:r>
              <a:rPr lang="ru-RU" sz="1600">
                <a:latin typeface="72" panose="020B0503030000000003" pitchFamily="34" charset="0"/>
                <a:ea typeface="Arial"/>
                <a:cs typeface="72" panose="020B0503030000000003" pitchFamily="34" charset="0"/>
                <a:sym typeface="Arial"/>
              </a:rPr>
              <a:t> </a:t>
            </a:r>
            <a:r>
              <a:rPr lang="ru-RU" sz="1600" err="1">
                <a:latin typeface="72" panose="020B0503030000000003" pitchFamily="34" charset="0"/>
                <a:ea typeface="Arial"/>
                <a:cs typeface="72" panose="020B0503030000000003" pitchFamily="34" charset="0"/>
                <a:sym typeface="Arial"/>
              </a:rPr>
              <a:t>accelerate</a:t>
            </a:r>
            <a:r>
              <a:rPr lang="ru-RU" sz="1600">
                <a:latin typeface="72" panose="020B0503030000000003" pitchFamily="34" charset="0"/>
                <a:ea typeface="Arial"/>
                <a:cs typeface="72" panose="020B0503030000000003" pitchFamily="34" charset="0"/>
                <a:sym typeface="Arial"/>
              </a:rPr>
              <a:t> </a:t>
            </a:r>
            <a:r>
              <a:rPr lang="ru-RU" sz="1600" err="1">
                <a:latin typeface="72" panose="020B0503030000000003" pitchFamily="34" charset="0"/>
                <a:ea typeface="Arial"/>
                <a:cs typeface="72" panose="020B0503030000000003" pitchFamily="34" charset="0"/>
                <a:sym typeface="Arial"/>
              </a:rPr>
              <a:t>development</a:t>
            </a:r>
            <a:r>
              <a:rPr lang="ru-RU" sz="1600">
                <a:latin typeface="72" panose="020B0503030000000003" pitchFamily="34" charset="0"/>
                <a:ea typeface="Arial"/>
                <a:cs typeface="72" panose="020B0503030000000003" pitchFamily="34" charset="0"/>
                <a:sym typeface="Arial"/>
              </a:rPr>
              <a:t> </a:t>
            </a:r>
            <a:r>
              <a:rPr lang="ru-RU" sz="1600" err="1">
                <a:latin typeface="72" panose="020B0503030000000003" pitchFamily="34" charset="0"/>
                <a:ea typeface="Arial"/>
                <a:cs typeface="72" panose="020B0503030000000003" pitchFamily="34" charset="0"/>
                <a:sym typeface="Arial"/>
              </a:rPr>
              <a:t>and</a:t>
            </a:r>
            <a:r>
              <a:rPr lang="ru-RU" sz="1600">
                <a:latin typeface="72" panose="020B0503030000000003" pitchFamily="34" charset="0"/>
                <a:ea typeface="Arial"/>
                <a:cs typeface="72" panose="020B0503030000000003" pitchFamily="34" charset="0"/>
                <a:sym typeface="Arial"/>
              </a:rPr>
              <a:t> </a:t>
            </a:r>
            <a:r>
              <a:rPr lang="ru-RU" sz="1600" err="1">
                <a:latin typeface="72" panose="020B0503030000000003" pitchFamily="34" charset="0"/>
                <a:ea typeface="Arial"/>
                <a:cs typeface="72" panose="020B0503030000000003" pitchFamily="34" charset="0"/>
                <a:sym typeface="Arial"/>
              </a:rPr>
              <a:t>automation</a:t>
            </a:r>
            <a:r>
              <a:rPr lang="ru-RU" sz="1600">
                <a:latin typeface="72" panose="020B0503030000000003" pitchFamily="34" charset="0"/>
                <a:ea typeface="Arial"/>
                <a:cs typeface="72" panose="020B0503030000000003" pitchFamily="34" charset="0"/>
                <a:sym typeface="Arial"/>
              </a:rPr>
              <a:t>.</a:t>
            </a:r>
            <a:endParaRPr lang="ru-RU" sz="1600" baseline="30000">
              <a:latin typeface="72" panose="020B0503030000000003" pitchFamily="34" charset="0"/>
              <a:ea typeface="Arial"/>
              <a:cs typeface="72" panose="020B0503030000000003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4B980B8-7461-1390-14FD-C7CA5237589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49803" y="0"/>
            <a:ext cx="5742197" cy="6856215"/>
          </a:xfrm>
          <a:prstGeom prst="rect">
            <a:avLst/>
          </a:pr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A856293C-1CD3-855D-C2A1-CECC9C6C6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94" y="589924"/>
            <a:ext cx="8348975" cy="1107996"/>
          </a:xfrm>
        </p:spPr>
        <p:txBody>
          <a:bodyPr/>
          <a:lstStyle/>
          <a:p>
            <a:r>
              <a:rPr lang="en-US"/>
              <a:t>Learn more about </a:t>
            </a:r>
            <a:r>
              <a:rPr lang="en-US">
                <a:solidFill>
                  <a:srgbClr val="470DED"/>
                </a:solidFill>
              </a:rPr>
              <a:t>SAP Build</a:t>
            </a:r>
            <a:r>
              <a:rPr lang="en-US"/>
              <a:t> at TechEd 2023 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B844BB2-F7BE-F6E8-F338-B6F5A625F4C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43690" y="2812605"/>
            <a:ext cx="827315" cy="827315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F22DE100-0AE3-E1BC-E84E-058CBDCE743E}"/>
              </a:ext>
            </a:extLst>
          </p:cNvPr>
          <p:cNvSpPr txBox="1"/>
          <p:nvPr/>
        </p:nvSpPr>
        <p:spPr>
          <a:xfrm>
            <a:off x="338487" y="4642400"/>
            <a:ext cx="6109334" cy="30777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spcBef>
                <a:spcPts val="1679"/>
              </a:spcBef>
              <a:buClr>
                <a:srgbClr val="F0AB00"/>
              </a:buClr>
              <a:buSzPct val="80000"/>
            </a:pPr>
            <a:r>
              <a:rPr lang="en-US" sz="1400" b="1" kern="0">
                <a:latin typeface="72"/>
                <a:ea typeface="Arial Unicode MS"/>
                <a:cs typeface="72" panose="020B0503030000000003" pitchFamily="34" charset="0"/>
              </a:rPr>
              <a:t>Start the</a:t>
            </a:r>
            <a:r>
              <a:rPr lang="en-US" sz="1400" b="1" kern="0">
                <a:solidFill>
                  <a:srgbClr val="000000"/>
                </a:solidFill>
                <a:latin typeface="72"/>
                <a:ea typeface="Arial Unicode MS"/>
                <a:cs typeface="72" panose="020B0503030000000003" pitchFamily="34" charset="0"/>
              </a:rPr>
              <a:t> SAP Build Learning Journey: </a:t>
            </a:r>
            <a:r>
              <a:rPr lang="en-US" sz="1400" b="1" kern="0">
                <a:solidFill>
                  <a:schemeClr val="accent1"/>
                </a:solidFill>
                <a:latin typeface="72"/>
                <a:ea typeface="Arial Unicode MS"/>
                <a:cs typeface="72" panose="020B0503030000000003" pitchFamily="34" charset="0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earning.sap.com</a:t>
            </a:r>
            <a:endParaRPr lang="en-US" sz="1400" b="1" kern="0">
              <a:solidFill>
                <a:schemeClr val="accent1"/>
              </a:solidFill>
              <a:latin typeface="72"/>
              <a:ea typeface="Arial Unicode MS"/>
              <a:cs typeface="72" panose="020B0503030000000003" pitchFamily="34" charset="0"/>
              <a:hlinkClick r:id="rId8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3EB126E-DF60-9480-D36A-3062DD5A64F6}"/>
              </a:ext>
            </a:extLst>
          </p:cNvPr>
          <p:cNvSpPr txBox="1"/>
          <p:nvPr/>
        </p:nvSpPr>
        <p:spPr>
          <a:xfrm>
            <a:off x="434021" y="5112211"/>
            <a:ext cx="5429679" cy="73866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indent="-25376">
              <a:buClr>
                <a:schemeClr val="lt1"/>
              </a:buClr>
              <a:buSzPct val="25000"/>
              <a:defRPr sz="1600">
                <a:latin typeface="72" panose="020B0503030000000003" pitchFamily="34" charset="0"/>
                <a:ea typeface="Arial"/>
                <a:cs typeface="72" panose="020B0503030000000003" pitchFamily="34" charset="0"/>
              </a:defRPr>
            </a:lvl1pPr>
          </a:lstStyle>
          <a:p>
            <a:pPr indent="-24765"/>
            <a:r>
              <a:rPr lang="en-GB">
                <a:latin typeface="72"/>
              </a:rPr>
              <a:t>Learn how to develop low-code applications, process automations, and business sites using the SAP Build toolset. </a:t>
            </a:r>
            <a:endParaRPr lang="en-US"/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74E02B19-9DFE-E699-31B7-95EC5FCF324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38756" y="4699248"/>
            <a:ext cx="828000" cy="82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12018635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74DC1A9-E4DE-2EBF-4AF7-03E62448A416}"/>
              </a:ext>
            </a:extLst>
          </p:cNvPr>
          <p:cNvSpPr/>
          <p:nvPr/>
        </p:nvSpPr>
        <p:spPr bwMode="gray">
          <a:xfrm flipH="1" flipV="1">
            <a:off x="-12960" y="2410078"/>
            <a:ext cx="12217920" cy="1725260"/>
          </a:xfrm>
          <a:prstGeom prst="rect">
            <a:avLst/>
          </a:prstGeom>
          <a:solidFill>
            <a:srgbClr val="E9F8FF"/>
          </a:solidFill>
          <a:ln w="25400" algn="ctr">
            <a:noFill/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algn="ctr" defTabSz="914126" eaLnBrk="1" hangingPunct="1">
              <a:spcBef>
                <a:spcPct val="50000"/>
              </a:spcBef>
              <a:buClr>
                <a:srgbClr val="F0AB00"/>
              </a:buClr>
              <a:buSzPct val="80000"/>
            </a:pPr>
            <a:endParaRPr lang="en-US" sz="1799" kern="0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56DD7E6-31DD-E457-F669-42A62822A4BB}"/>
              </a:ext>
            </a:extLst>
          </p:cNvPr>
          <p:cNvSpPr txBox="1"/>
          <p:nvPr/>
        </p:nvSpPr>
        <p:spPr>
          <a:xfrm>
            <a:off x="1517249" y="2685090"/>
            <a:ext cx="6417642" cy="108234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1679"/>
              </a:spcBef>
              <a:buClr>
                <a:srgbClr val="F0AB00"/>
              </a:buClr>
              <a:buSzPct val="80000"/>
            </a:pPr>
            <a:r>
              <a:rPr lang="en-US" sz="1400" b="1" kern="0"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  <a:t>Check the On-site Session Catalog</a:t>
            </a:r>
            <a:r>
              <a:rPr lang="ru-RU" sz="1400" b="1" kern="0"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  <a:t>: </a:t>
            </a:r>
            <a:r>
              <a:rPr lang="en-US" sz="1400" b="1" kern="0">
                <a:solidFill>
                  <a:srgbClr val="470DED"/>
                </a:solidFill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ap.com/events/teched/bangalore</a:t>
            </a:r>
            <a:endParaRPr lang="en-US" sz="1400" b="1" kern="0">
              <a:solidFill>
                <a:srgbClr val="470DED"/>
              </a:solidFill>
              <a:latin typeface="72" panose="020B0503030000000003" pitchFamily="34" charset="0"/>
              <a:ea typeface="Arial Unicode MS" pitchFamily="34" charset="-128"/>
              <a:cs typeface="72" panose="020B0503030000000003" pitchFamily="34" charset="0"/>
            </a:endParaRPr>
          </a:p>
          <a:p>
            <a:pPr>
              <a:spcBef>
                <a:spcPts val="1679"/>
              </a:spcBef>
              <a:buClr>
                <a:srgbClr val="F0AB00"/>
              </a:buClr>
              <a:buSzPct val="80000"/>
            </a:pPr>
            <a:endParaRPr lang="en-US" sz="1400" b="1" kern="0">
              <a:solidFill>
                <a:schemeClr val="accent1"/>
              </a:solidFill>
              <a:latin typeface="72" panose="020B0503030000000003" pitchFamily="34" charset="0"/>
              <a:ea typeface="Arial Unicode MS" pitchFamily="34" charset="-128"/>
              <a:cs typeface="72" panose="020B0503030000000003" pitchFamily="34" charset="0"/>
            </a:endParaRPr>
          </a:p>
          <a:p>
            <a:pPr>
              <a:spcBef>
                <a:spcPts val="1679"/>
              </a:spcBef>
              <a:buClr>
                <a:srgbClr val="F0AB00"/>
              </a:buClr>
              <a:buSzPct val="80000"/>
            </a:pPr>
            <a:endParaRPr lang="en-US" sz="1400" b="1" kern="0">
              <a:solidFill>
                <a:schemeClr val="accent1"/>
              </a:solidFill>
              <a:latin typeface="72" panose="020B0503030000000003" pitchFamily="34" charset="0"/>
              <a:ea typeface="Arial Unicode MS" pitchFamily="34" charset="-128"/>
              <a:cs typeface="72" panose="020B0503030000000003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8E76E50-169F-5CEE-B708-8DC2E308433C}"/>
              </a:ext>
            </a:extLst>
          </p:cNvPr>
          <p:cNvSpPr txBox="1"/>
          <p:nvPr/>
        </p:nvSpPr>
        <p:spPr>
          <a:xfrm>
            <a:off x="1510952" y="3152429"/>
            <a:ext cx="5320279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5376">
              <a:buClr>
                <a:schemeClr val="lt1"/>
              </a:buClr>
              <a:buSzPct val="25000"/>
            </a:pPr>
            <a:r>
              <a:rPr lang="en-US" sz="1600">
                <a:latin typeface="72" panose="020B0503030000000003" pitchFamily="34" charset="0"/>
                <a:ea typeface="Arial"/>
                <a:cs typeface="72" panose="020B0503030000000003" pitchFamily="34" charset="0"/>
                <a:sym typeface="Arial"/>
              </a:rPr>
              <a:t>Join us for these insightful sessions in Bangalore to see how SAP Build Work Zone provides centralized access to business application information on any device.</a:t>
            </a:r>
            <a:endParaRPr lang="en-US" sz="1600" baseline="30000">
              <a:latin typeface="72" panose="020B0503030000000003" pitchFamily="34" charset="0"/>
              <a:ea typeface="Arial"/>
              <a:cs typeface="72" panose="020B0503030000000003" pitchFamily="34" charset="0"/>
              <a:sym typeface="Arial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4B980B8-7461-1390-14FD-C7CA5237589F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49803" y="0"/>
            <a:ext cx="5742197" cy="6856215"/>
          </a:xfrm>
          <a:prstGeom prst="rect">
            <a:avLst/>
          </a:pr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A856293C-1CD3-855D-C2A1-CECC9C6C6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94" y="589924"/>
            <a:ext cx="8348975" cy="1107996"/>
          </a:xfrm>
        </p:spPr>
        <p:txBody>
          <a:bodyPr/>
          <a:lstStyle/>
          <a:p>
            <a:r>
              <a:rPr lang="en-US"/>
              <a:t>Learn more about </a:t>
            </a:r>
            <a:r>
              <a:rPr lang="en-US">
                <a:solidFill>
                  <a:srgbClr val="470DED"/>
                </a:solidFill>
              </a:rPr>
              <a:t>SAP Build Work Zone</a:t>
            </a:r>
            <a:r>
              <a:rPr lang="en-US"/>
              <a:t> at TechEd 2023 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19D8047-A81B-0CA9-CEAD-BF786EB92E42}"/>
              </a:ext>
            </a:extLst>
          </p:cNvPr>
          <p:cNvSpPr txBox="1"/>
          <p:nvPr/>
        </p:nvSpPr>
        <p:spPr>
          <a:xfrm>
            <a:off x="348298" y="4633444"/>
            <a:ext cx="610933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1679"/>
              </a:spcBef>
              <a:buClr>
                <a:srgbClr val="F0AB00"/>
              </a:buClr>
              <a:buSzPct val="80000"/>
            </a:pPr>
            <a:r>
              <a:rPr lang="en-US" sz="1400" b="1" kern="0"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  <a:t>Join the SAP Build Work Zone Community: </a:t>
            </a:r>
            <a:r>
              <a:rPr lang="en-US" sz="1400" b="1" kern="0">
                <a:solidFill>
                  <a:srgbClr val="470DED"/>
                </a:solidFill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mmunity.sap.com</a:t>
            </a:r>
            <a:endParaRPr lang="en-US" sz="1400" b="1" kern="0">
              <a:solidFill>
                <a:srgbClr val="470DED"/>
              </a:solidFill>
              <a:latin typeface="72" panose="020B0503030000000003" pitchFamily="34" charset="0"/>
              <a:ea typeface="Arial Unicode MS" pitchFamily="34" charset="-128"/>
              <a:cs typeface="72" panose="020B0503030000000003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90AC514-CD56-1BA2-9D6E-F592092C019C}"/>
              </a:ext>
            </a:extLst>
          </p:cNvPr>
          <p:cNvSpPr txBox="1"/>
          <p:nvPr/>
        </p:nvSpPr>
        <p:spPr>
          <a:xfrm>
            <a:off x="434869" y="5101666"/>
            <a:ext cx="5429679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indent="-25376">
              <a:buClr>
                <a:schemeClr val="lt1"/>
              </a:buClr>
              <a:buSzPct val="25000"/>
              <a:defRPr sz="1600">
                <a:latin typeface="72" panose="020B0503030000000003" pitchFamily="34" charset="0"/>
                <a:ea typeface="Arial"/>
                <a:cs typeface="72" panose="020B0503030000000003" pitchFamily="34" charset="0"/>
              </a:defRPr>
            </a:lvl1pPr>
          </a:lstStyle>
          <a:p>
            <a:r>
              <a:rPr lang="en-GB"/>
              <a:t>Learn how to extend SAP S/4HANA and innovate at the speed your business demands. Explore use cases, best practices, and strategies to amplify your tech expertise. </a:t>
            </a:r>
            <a:endParaRPr lang="en-US">
              <a:sym typeface="Arial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E7D1E33B-8170-1303-2C6C-70A10715444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23839" y="4787332"/>
            <a:ext cx="819048" cy="819048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0D9D800-8D0A-FA5A-DDDA-89EFBF9DDA3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48298" y="2816740"/>
            <a:ext cx="819048" cy="819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325907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74DC1A9-E4DE-2EBF-4AF7-03E62448A416}"/>
              </a:ext>
            </a:extLst>
          </p:cNvPr>
          <p:cNvSpPr/>
          <p:nvPr/>
        </p:nvSpPr>
        <p:spPr bwMode="gray">
          <a:xfrm flipH="1" flipV="1">
            <a:off x="-12960" y="2410078"/>
            <a:ext cx="12217920" cy="1725260"/>
          </a:xfrm>
          <a:prstGeom prst="rect">
            <a:avLst/>
          </a:prstGeom>
          <a:solidFill>
            <a:srgbClr val="E9F8FF"/>
          </a:solidFill>
          <a:ln w="25400" algn="ctr">
            <a:noFill/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algn="ctr" defTabSz="914126" eaLnBrk="1" hangingPunct="1">
              <a:spcBef>
                <a:spcPct val="50000"/>
              </a:spcBef>
              <a:buClr>
                <a:srgbClr val="F0AB00"/>
              </a:buClr>
              <a:buSzPct val="80000"/>
            </a:pPr>
            <a:endParaRPr lang="en-US" sz="1799" kern="0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56DD7E6-31DD-E457-F669-42A62822A4BB}"/>
              </a:ext>
            </a:extLst>
          </p:cNvPr>
          <p:cNvSpPr txBox="1"/>
          <p:nvPr/>
        </p:nvSpPr>
        <p:spPr>
          <a:xfrm>
            <a:off x="1517249" y="2685090"/>
            <a:ext cx="6417642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ts val="1679"/>
              </a:spcBef>
              <a:buClr>
                <a:srgbClr val="F0AB00"/>
              </a:buClr>
              <a:buSzPct val="80000"/>
            </a:pPr>
            <a:r>
              <a:rPr lang="en-US" sz="1400" b="1" kern="0">
                <a:latin typeface="72"/>
                <a:ea typeface="Arial Unicode MS"/>
                <a:cs typeface="72" panose="020B0503030000000003" pitchFamily="34" charset="0"/>
              </a:rPr>
              <a:t>Check the On-site Session Catalog</a:t>
            </a:r>
            <a:r>
              <a:rPr lang="ru-RU" sz="1400" b="1" kern="0">
                <a:latin typeface="72" panose="020B0503030000000003" pitchFamily="34" charset="0"/>
                <a:ea typeface="Arial Unicode MS"/>
                <a:cs typeface="72" panose="020B0503030000000003" pitchFamily="34" charset="0"/>
              </a:rPr>
              <a:t>: </a:t>
            </a:r>
            <a:r>
              <a:rPr lang="en-US" sz="1400" b="1" kern="0">
                <a:solidFill>
                  <a:schemeClr val="accent1"/>
                </a:solidFill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ap.com/events/teched/bangalore</a:t>
            </a:r>
            <a:endParaRPr lang="en-US" sz="1400" b="1" kern="0">
              <a:solidFill>
                <a:schemeClr val="accent1"/>
              </a:solidFill>
              <a:latin typeface="72"/>
              <a:ea typeface="Arial Unicode MS"/>
              <a:cs typeface="72" panose="020B0503030000000003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8E76E50-169F-5CEE-B708-8DC2E308433C}"/>
              </a:ext>
            </a:extLst>
          </p:cNvPr>
          <p:cNvSpPr txBox="1"/>
          <p:nvPr/>
        </p:nvSpPr>
        <p:spPr>
          <a:xfrm>
            <a:off x="1517250" y="3173713"/>
            <a:ext cx="5308094" cy="73866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indent="-24765">
              <a:buClr>
                <a:schemeClr val="lt1"/>
              </a:buClr>
              <a:buSzPct val="25000"/>
            </a:pPr>
            <a:r>
              <a:rPr lang="en-US" sz="1600">
                <a:latin typeface="72"/>
                <a:ea typeface="Arial"/>
                <a:cs typeface="72" panose="020B0503030000000003" pitchFamily="34" charset="0"/>
                <a:sym typeface="Arial"/>
              </a:rPr>
              <a:t>Join us for these insightful sessions in Bangalore</a:t>
            </a:r>
            <a:r>
              <a:rPr lang="ru-RU" sz="1600">
                <a:latin typeface="72" panose="020B0503030000000003" pitchFamily="34" charset="0"/>
                <a:ea typeface="Arial"/>
                <a:cs typeface="72" panose="020B0503030000000003" pitchFamily="34" charset="0"/>
                <a:sym typeface="Arial"/>
              </a:rPr>
              <a:t> </a:t>
            </a:r>
            <a:r>
              <a:rPr lang="en-US" sz="1600">
                <a:latin typeface="72"/>
                <a:ea typeface="Arial"/>
                <a:cs typeface="72" panose="020B0503030000000003" pitchFamily="34" charset="0"/>
                <a:sym typeface="Arial"/>
              </a:rPr>
              <a:t>that </a:t>
            </a:r>
            <a:r>
              <a:rPr lang="en-US" sz="1600">
                <a:latin typeface="72"/>
                <a:ea typeface="Arial"/>
                <a:cs typeface="Segoe UI"/>
                <a:sym typeface="Arial"/>
              </a:rPr>
              <a:t>demonstrate the low-code approach to identifying and then automating as many business and IT tasks as possible.</a:t>
            </a:r>
            <a:endParaRPr lang="en-US" sz="1600" baseline="30000">
              <a:latin typeface="72"/>
              <a:ea typeface="Arial"/>
              <a:cs typeface="Segoe UI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4B980B8-7461-1390-14FD-C7CA5237589F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5862" t="4648"/>
          <a:stretch/>
        </p:blipFill>
        <p:spPr>
          <a:xfrm>
            <a:off x="7934891" y="320465"/>
            <a:ext cx="4257109" cy="6537535"/>
          </a:xfrm>
          <a:prstGeom prst="rect">
            <a:avLst/>
          </a:pr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A856293C-1CD3-855D-C2A1-CECC9C6C6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94" y="589924"/>
            <a:ext cx="8730992" cy="1107996"/>
          </a:xfrm>
        </p:spPr>
        <p:txBody>
          <a:bodyPr/>
          <a:lstStyle/>
          <a:p>
            <a:r>
              <a:rPr lang="en-US"/>
              <a:t>Learn more about </a:t>
            </a:r>
            <a:r>
              <a:rPr lang="en-US">
                <a:solidFill>
                  <a:srgbClr val="470DED"/>
                </a:solidFill>
              </a:rPr>
              <a:t>Enterprise Automation</a:t>
            </a:r>
            <a:r>
              <a:rPr lang="en-US"/>
              <a:t> at TechEd 2023  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DE32C58-DCDB-3C88-D78A-6C945816854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8824" y="2900534"/>
            <a:ext cx="800851" cy="800851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4D4A523A-B092-50C0-8286-9D037B2E1EAC}"/>
              </a:ext>
            </a:extLst>
          </p:cNvPr>
          <p:cNvSpPr txBox="1"/>
          <p:nvPr/>
        </p:nvSpPr>
        <p:spPr>
          <a:xfrm>
            <a:off x="253510" y="4673142"/>
            <a:ext cx="7173640" cy="30777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spcBef>
                <a:spcPts val="1679"/>
              </a:spcBef>
              <a:buClr>
                <a:srgbClr val="F0AB00"/>
              </a:buClr>
              <a:buSzPct val="80000"/>
            </a:pPr>
            <a:r>
              <a:rPr lang="en-US" sz="1400" b="1" kern="0">
                <a:latin typeface="72"/>
                <a:ea typeface="Arial Unicode MS"/>
                <a:cs typeface="72" panose="020B0503030000000003" pitchFamily="34" charset="0"/>
              </a:rPr>
              <a:t>Read more about Enterprise Automation: </a:t>
            </a:r>
            <a:r>
              <a:rPr lang="en-GB" sz="1400" b="1">
                <a:solidFill>
                  <a:schemeClr val="accent1"/>
                </a:solidFill>
                <a:effectLst/>
                <a:latin typeface="Helvetica Neue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ap.com/enterprise-automation</a:t>
            </a:r>
            <a:endParaRPr lang="en-GB" sz="1400" b="1">
              <a:solidFill>
                <a:schemeClr val="accent1"/>
              </a:solidFill>
              <a:effectLst/>
              <a:latin typeface="Helvetica Neue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5374AFB-538A-28D4-C781-037907FD4ACE}"/>
              </a:ext>
            </a:extLst>
          </p:cNvPr>
          <p:cNvSpPr txBox="1"/>
          <p:nvPr/>
        </p:nvSpPr>
        <p:spPr>
          <a:xfrm>
            <a:off x="348824" y="5134736"/>
            <a:ext cx="5429679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indent="-25376">
              <a:buClr>
                <a:schemeClr val="lt1"/>
              </a:buClr>
              <a:buSzPct val="25000"/>
              <a:defRPr sz="1600">
                <a:latin typeface="72" panose="020B0503030000000003" pitchFamily="34" charset="0"/>
                <a:ea typeface="Arial"/>
                <a:cs typeface="72" panose="020B0503030000000003" pitchFamily="34" charset="0"/>
              </a:defRPr>
            </a:lvl1pPr>
          </a:lstStyle>
          <a:p>
            <a:r>
              <a:rPr lang="en-GB"/>
              <a:t>To see the latest info from SAP about how to future proof your journey to become an intelligent and automated enterprise.</a:t>
            </a:r>
            <a:endParaRPr lang="en-US">
              <a:sym typeface="Arial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10A4183-F119-7B68-8DCA-8F6A5948776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096000" y="5049992"/>
            <a:ext cx="823408" cy="823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6501826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74DC1A9-E4DE-2EBF-4AF7-03E62448A416}"/>
              </a:ext>
            </a:extLst>
          </p:cNvPr>
          <p:cNvSpPr/>
          <p:nvPr/>
        </p:nvSpPr>
        <p:spPr bwMode="gray">
          <a:xfrm flipH="1" flipV="1">
            <a:off x="-12960" y="2410078"/>
            <a:ext cx="12217920" cy="1725260"/>
          </a:xfrm>
          <a:prstGeom prst="rect">
            <a:avLst/>
          </a:prstGeom>
          <a:solidFill>
            <a:srgbClr val="E9F8FF"/>
          </a:solidFill>
          <a:ln w="25400" algn="ctr">
            <a:noFill/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algn="ctr" defTabSz="914126" eaLnBrk="1" hangingPunct="1">
              <a:spcBef>
                <a:spcPct val="50000"/>
              </a:spcBef>
              <a:buClr>
                <a:srgbClr val="F0AB00"/>
              </a:buClr>
              <a:buSzPct val="80000"/>
            </a:pPr>
            <a:endParaRPr lang="en-US" sz="1799" kern="0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56DD7E6-31DD-E457-F669-42A62822A4BB}"/>
              </a:ext>
            </a:extLst>
          </p:cNvPr>
          <p:cNvSpPr txBox="1"/>
          <p:nvPr/>
        </p:nvSpPr>
        <p:spPr>
          <a:xfrm>
            <a:off x="1517249" y="2685090"/>
            <a:ext cx="641764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1679"/>
              </a:spcBef>
              <a:buClr>
                <a:srgbClr val="F0AB00"/>
              </a:buClr>
              <a:buSzPct val="80000"/>
            </a:pPr>
            <a:r>
              <a:rPr lang="en-US" sz="1400" b="1" kern="0"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  <a:t>Check the On-site Session Catalog</a:t>
            </a:r>
            <a:r>
              <a:rPr lang="ru-RU" sz="1400" b="1" kern="0"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  <a:t>: </a:t>
            </a:r>
            <a:r>
              <a:rPr lang="en-US" sz="1400" b="1" kern="0">
                <a:solidFill>
                  <a:schemeClr val="accent1"/>
                </a:solidFill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ap.com/events/teched/bangalore</a:t>
            </a:r>
            <a:endParaRPr lang="en-US" sz="1400" b="1" kern="0">
              <a:solidFill>
                <a:schemeClr val="accent1"/>
              </a:solidFill>
              <a:latin typeface="72" panose="020B0503030000000003" pitchFamily="34" charset="0"/>
              <a:ea typeface="Arial Unicode MS" pitchFamily="34" charset="-128"/>
              <a:cs typeface="72" panose="020B0503030000000003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8E76E50-169F-5CEE-B708-8DC2E308433C}"/>
              </a:ext>
            </a:extLst>
          </p:cNvPr>
          <p:cNvSpPr txBox="1"/>
          <p:nvPr/>
        </p:nvSpPr>
        <p:spPr>
          <a:xfrm>
            <a:off x="1517248" y="3181592"/>
            <a:ext cx="5308094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5376">
              <a:buClr>
                <a:schemeClr val="lt1"/>
              </a:buClr>
              <a:buSzPct val="25000"/>
            </a:pPr>
            <a:r>
              <a:rPr lang="en-US" sz="1600">
                <a:latin typeface="72" panose="020B0503030000000003" pitchFamily="34" charset="0"/>
                <a:ea typeface="Arial"/>
                <a:cs typeface="72" panose="020B0503030000000003" pitchFamily="34" charset="0"/>
                <a:sym typeface="Arial"/>
              </a:rPr>
              <a:t>Join us for these insightful sessions in Bangalore to see how business users and developers are creating applications without code.</a:t>
            </a:r>
            <a:endParaRPr lang="en-US" sz="1600" baseline="30000">
              <a:latin typeface="72" panose="020B0503030000000003" pitchFamily="34" charset="0"/>
              <a:ea typeface="Arial"/>
              <a:cs typeface="72" panose="020B0503030000000003" pitchFamily="34" charset="0"/>
              <a:sym typeface="Arial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4B980B8-7461-1390-14FD-C7CA5237589F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5862" t="4733"/>
          <a:stretch/>
        </p:blipFill>
        <p:spPr>
          <a:xfrm>
            <a:off x="7934891" y="326316"/>
            <a:ext cx="4257109" cy="6531684"/>
          </a:xfrm>
          <a:prstGeom prst="rect">
            <a:avLst/>
          </a:pr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A856293C-1CD3-855D-C2A1-CECC9C6C6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94" y="589924"/>
            <a:ext cx="8348975" cy="1107996"/>
          </a:xfrm>
        </p:spPr>
        <p:txBody>
          <a:bodyPr/>
          <a:lstStyle/>
          <a:p>
            <a:r>
              <a:rPr lang="en-US"/>
              <a:t>Learn more about </a:t>
            </a:r>
            <a:r>
              <a:rPr lang="en-US">
                <a:solidFill>
                  <a:srgbClr val="470DED"/>
                </a:solidFill>
              </a:rPr>
              <a:t>SAP Build Apps</a:t>
            </a:r>
            <a:r>
              <a:rPr lang="en-US"/>
              <a:t> at TechEd 2023 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E7C432E-BCC1-DCB2-40F0-A47F83BDE7E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8392" y="2834911"/>
            <a:ext cx="817111" cy="817111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3CE7EB32-0066-2136-F1FF-70F7DF60D4A0}"/>
              </a:ext>
            </a:extLst>
          </p:cNvPr>
          <p:cNvSpPr txBox="1"/>
          <p:nvPr/>
        </p:nvSpPr>
        <p:spPr>
          <a:xfrm>
            <a:off x="338392" y="4847496"/>
            <a:ext cx="6109334" cy="11746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1679"/>
              </a:spcBef>
              <a:buClr>
                <a:srgbClr val="F0AB00"/>
              </a:buClr>
              <a:buSzPct val="80000"/>
            </a:pPr>
            <a:r>
              <a:rPr lang="en-US" sz="1400" b="1" kern="0"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  <a:t>Join the SAP Build Apps Community: </a:t>
            </a:r>
            <a:r>
              <a:rPr lang="en-GB" sz="1400" b="1">
                <a:solidFill>
                  <a:schemeClr val="accent1"/>
                </a:solidFill>
                <a:effectLst/>
                <a:latin typeface="Helvetica Neue" panose="02000503000000020004" pitchFamily="2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mmunity.sap.com</a:t>
            </a:r>
            <a:endParaRPr lang="en-GB" sz="1400" b="1">
              <a:solidFill>
                <a:schemeClr val="accent1"/>
              </a:solidFill>
              <a:effectLst/>
              <a:latin typeface="Helvetica Neue" panose="02000503000000020004" pitchFamily="2" charset="0"/>
            </a:endParaRPr>
          </a:p>
          <a:p>
            <a:pPr>
              <a:spcBef>
                <a:spcPts val="1679"/>
              </a:spcBef>
              <a:buClr>
                <a:srgbClr val="F0AB00"/>
              </a:buClr>
              <a:buSzPct val="80000"/>
            </a:pPr>
            <a:endParaRPr lang="en-US" sz="1400" b="1" kern="0">
              <a:solidFill>
                <a:schemeClr val="accent1"/>
              </a:solidFill>
              <a:effectLst/>
              <a:latin typeface="72" panose="020B0503030000000003" pitchFamily="34" charset="0"/>
              <a:ea typeface="Arial Unicode MS" pitchFamily="34" charset="-128"/>
              <a:cs typeface="72" panose="020B0503030000000003" pitchFamily="34" charset="0"/>
            </a:endParaRPr>
          </a:p>
          <a:p>
            <a:pPr>
              <a:spcBef>
                <a:spcPts val="1679"/>
              </a:spcBef>
              <a:buClr>
                <a:srgbClr val="F0AB00"/>
              </a:buClr>
              <a:buSzPct val="80000"/>
            </a:pPr>
            <a:endParaRPr lang="en-GB" sz="1400">
              <a:effectLst/>
              <a:latin typeface="Helvetica Neue" panose="02000503000000020004" pitchFamily="2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7D15A95-E075-4D75-B497-B8919990AC04}"/>
              </a:ext>
            </a:extLst>
          </p:cNvPr>
          <p:cNvSpPr txBox="1"/>
          <p:nvPr/>
        </p:nvSpPr>
        <p:spPr>
          <a:xfrm>
            <a:off x="382423" y="5296464"/>
            <a:ext cx="5429679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indent="-25376">
              <a:buClr>
                <a:schemeClr val="lt1"/>
              </a:buClr>
              <a:buSzPct val="25000"/>
              <a:defRPr sz="1600">
                <a:latin typeface="72" panose="020B0503030000000003" pitchFamily="34" charset="0"/>
                <a:ea typeface="Arial"/>
                <a:cs typeface="72" panose="020B0503030000000003" pitchFamily="34" charset="0"/>
              </a:defRPr>
            </a:lvl1pPr>
          </a:lstStyle>
          <a:p>
            <a:r>
              <a:rPr lang="en-GB"/>
              <a:t>To get the latest updates on how to build and customize enterprise applications, data models and business logic.</a:t>
            </a:r>
            <a:endParaRPr lang="en-US">
              <a:sym typeface="Arial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386805D-FFF6-14CF-DFA7-A5380C8E701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856133" y="5022803"/>
            <a:ext cx="824065" cy="824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2286443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07CC4D1A-5F0D-43D1-75B3-549A5461C05B}"/>
              </a:ext>
            </a:extLst>
          </p:cNvPr>
          <p:cNvSpPr/>
          <p:nvPr/>
        </p:nvSpPr>
        <p:spPr bwMode="gray">
          <a:xfrm flipH="1">
            <a:off x="1" y="4769615"/>
            <a:ext cx="12192000" cy="208749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algn="ctr" defTabSz="914126" eaLnBrk="1" hangingPunct="1">
              <a:spcBef>
                <a:spcPct val="50000"/>
              </a:spcBef>
              <a:buClr>
                <a:srgbClr val="F0AB00"/>
              </a:buClr>
              <a:buSzPct val="80000"/>
            </a:pPr>
            <a:endParaRPr lang="en-US" sz="1799" kern="0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9887C42-6706-6FBB-2AE1-4905BECCE986}"/>
              </a:ext>
            </a:extLst>
          </p:cNvPr>
          <p:cNvSpPr txBox="1"/>
          <p:nvPr/>
        </p:nvSpPr>
        <p:spPr>
          <a:xfrm>
            <a:off x="576295" y="2262794"/>
            <a:ext cx="6809426" cy="7384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1679"/>
              </a:spcBef>
              <a:buClr>
                <a:srgbClr val="F0AB00"/>
              </a:buClr>
              <a:buSzPct val="80000"/>
            </a:pPr>
            <a:r>
              <a:rPr lang="en-US" sz="2399" b="1" kern="0"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  <a:t>Upskill and engage on </a:t>
            </a:r>
            <a:r>
              <a:rPr lang="en-US" sz="2399" b="1" kern="0">
                <a:solidFill>
                  <a:schemeClr val="accent1"/>
                </a:solidFill>
                <a:ea typeface="Arial Unicode MS" pitchFamily="34" charset="-128"/>
                <a:cs typeface="Arial Unicode MS" pitchFamily="34" charset="-128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pplication Development and Automation </a:t>
            </a:r>
            <a:endParaRPr lang="en-US" sz="2799" b="1" kern="0">
              <a:solidFill>
                <a:schemeClr val="accent1"/>
              </a:solidFill>
              <a:latin typeface="72" panose="020B0503030000000003" pitchFamily="34" charset="0"/>
              <a:ea typeface="Arial Unicode MS" pitchFamily="34" charset="-128"/>
              <a:cs typeface="72" panose="020B0503030000000003" pitchFamily="34" charset="0"/>
            </a:endParaRP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CB46DBFD-DF85-732F-A75B-2B3D26B13CC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5738" y="5126397"/>
            <a:ext cx="820655" cy="8206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 descr="A person holding a coffee cup and a computer&#10;&#10;Description automatically generated">
            <a:extLst>
              <a:ext uri="{FF2B5EF4-FFF2-40B4-BE49-F238E27FC236}">
                <a16:creationId xmlns:a16="http://schemas.microsoft.com/office/drawing/2014/main" id="{66D54074-CE67-4DA8-EE87-6791377DCB54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4887" t="8138" r="46146" b="16861"/>
          <a:stretch/>
        </p:blipFill>
        <p:spPr>
          <a:xfrm>
            <a:off x="7679477" y="630656"/>
            <a:ext cx="4875070" cy="624930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FC10847-4DB1-CE9E-BA0D-FEC5808A91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ke your career growth re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96E74E9-EE4C-3011-35A1-D346081D1B92}"/>
              </a:ext>
            </a:extLst>
          </p:cNvPr>
          <p:cNvSpPr txBox="1"/>
          <p:nvPr/>
        </p:nvSpPr>
        <p:spPr>
          <a:xfrm>
            <a:off x="576294" y="3320997"/>
            <a:ext cx="2311168" cy="8000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480"/>
              </a:spcBef>
              <a:buClr>
                <a:srgbClr val="F0AB00"/>
              </a:buClr>
              <a:buSzPct val="80000"/>
            </a:pPr>
            <a:r>
              <a:rPr lang="en-US" sz="1999" b="1" kern="0"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  <a:t>Free learning</a:t>
            </a:r>
            <a:br>
              <a:rPr lang="en-US" sz="1999" b="1" kern="0"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</a:br>
            <a:r>
              <a:rPr lang="en-US" sz="1600" kern="0"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  <a:t>Upskill and prepare</a:t>
            </a:r>
            <a:br>
              <a:rPr lang="en-US" sz="1600" kern="0"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</a:br>
            <a:r>
              <a:rPr lang="en-US" sz="1600" kern="0"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  <a:t>for certification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6AE9A4E-31CC-32C8-43D9-552940B4019E}"/>
              </a:ext>
            </a:extLst>
          </p:cNvPr>
          <p:cNvSpPr txBox="1"/>
          <p:nvPr/>
        </p:nvSpPr>
        <p:spPr>
          <a:xfrm>
            <a:off x="3018347" y="3320997"/>
            <a:ext cx="2311168" cy="8000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480"/>
              </a:spcBef>
              <a:buClr>
                <a:srgbClr val="F0AB00"/>
              </a:buClr>
              <a:buSzPct val="80000"/>
            </a:pPr>
            <a:r>
              <a:rPr lang="en-US" sz="1999" b="1" kern="0"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  <a:t>25% discount</a:t>
            </a:r>
            <a:br>
              <a:rPr lang="en-US" sz="1600" kern="0"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</a:br>
            <a:r>
              <a:rPr lang="en-US" sz="1600" kern="0"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  <a:t>On SAP Certification exam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21F9292-88AB-F970-BCA5-A99D6DFC5675}"/>
              </a:ext>
            </a:extLst>
          </p:cNvPr>
          <p:cNvSpPr txBox="1"/>
          <p:nvPr/>
        </p:nvSpPr>
        <p:spPr>
          <a:xfrm>
            <a:off x="5460401" y="3320997"/>
            <a:ext cx="2709878" cy="8000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480"/>
              </a:spcBef>
              <a:buClr>
                <a:srgbClr val="F0AB00"/>
              </a:buClr>
              <a:buSzPct val="80000"/>
            </a:pPr>
            <a:r>
              <a:rPr lang="en-US" sz="1999" b="1" kern="0"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  <a:t>Expand your network</a:t>
            </a:r>
            <a:br>
              <a:rPr lang="en-US" sz="1600" kern="0"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</a:br>
            <a:r>
              <a:rPr lang="en-US" sz="1600">
                <a:latin typeface="72" panose="020B0503030000000003" pitchFamily="34" charset="0"/>
                <a:cs typeface="72" panose="020B0503030000000003" pitchFamily="34" charset="0"/>
              </a:rPr>
              <a:t>Engage with experts and share knowledge</a:t>
            </a:r>
            <a:endParaRPr lang="en-US" sz="1600" kern="0">
              <a:latin typeface="72" panose="020B0503030000000003" pitchFamily="34" charset="0"/>
              <a:ea typeface="Arial Unicode MS" pitchFamily="34" charset="-128"/>
              <a:cs typeface="72" panose="020B0503030000000003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E504873-9868-C011-BB1C-1CE96EC3B379}"/>
              </a:ext>
            </a:extLst>
          </p:cNvPr>
          <p:cNvSpPr txBox="1"/>
          <p:nvPr/>
        </p:nvSpPr>
        <p:spPr>
          <a:xfrm>
            <a:off x="1517249" y="5126396"/>
            <a:ext cx="6417642" cy="2153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1679"/>
              </a:spcBef>
              <a:buClr>
                <a:srgbClr val="F0AB00"/>
              </a:buClr>
              <a:buSzPct val="80000"/>
            </a:pPr>
            <a:r>
              <a:rPr lang="en-US" sz="1400" b="1" kern="0"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  <a:t>GET REAL BENEFITS: </a:t>
            </a:r>
            <a:r>
              <a:rPr lang="en-US" sz="1400" b="1" kern="0">
                <a:solidFill>
                  <a:schemeClr val="accent1"/>
                </a:solidFill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earning.sap.com/teched</a:t>
            </a:r>
            <a:endParaRPr lang="en-US" sz="1400" b="1" kern="0">
              <a:solidFill>
                <a:schemeClr val="accent1"/>
              </a:solidFill>
              <a:latin typeface="72" panose="020B0503030000000003" pitchFamily="34" charset="0"/>
              <a:ea typeface="Arial Unicode MS" pitchFamily="34" charset="-128"/>
              <a:cs typeface="72" panose="020B0503030000000003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30BBBAF-3436-D706-78F5-BADF784BB202}"/>
              </a:ext>
            </a:extLst>
          </p:cNvPr>
          <p:cNvSpPr txBox="1"/>
          <p:nvPr/>
        </p:nvSpPr>
        <p:spPr>
          <a:xfrm>
            <a:off x="2320952" y="5498742"/>
            <a:ext cx="2606957" cy="7384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5376">
              <a:buClr>
                <a:schemeClr val="lt1"/>
              </a:buClr>
              <a:buSzPct val="25000"/>
            </a:pPr>
            <a:r>
              <a:rPr lang="en-US" sz="1600">
                <a:latin typeface="72" panose="020B0503030000000003" pitchFamily="34" charset="0"/>
                <a:ea typeface="Arial"/>
                <a:cs typeface="72" panose="020B0503030000000003" pitchFamily="34" charset="0"/>
                <a:sym typeface="Arial"/>
              </a:rPr>
              <a:t>Of IT certification candidates received salary increases after earning a certification*</a:t>
            </a:r>
            <a:endParaRPr lang="en-US" sz="1600" baseline="30000">
              <a:latin typeface="72" panose="020B0503030000000003" pitchFamily="34" charset="0"/>
              <a:ea typeface="Arial"/>
              <a:cs typeface="72" panose="020B0503030000000003" pitchFamily="34" charset="0"/>
              <a:sym typeface="Arial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2C6505C-3BD7-721B-C98B-4D44E30DCFFB}"/>
              </a:ext>
            </a:extLst>
          </p:cNvPr>
          <p:cNvSpPr txBox="1"/>
          <p:nvPr/>
        </p:nvSpPr>
        <p:spPr>
          <a:xfrm>
            <a:off x="1517248" y="5411045"/>
            <a:ext cx="853869" cy="52308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defTabSz="1088122">
              <a:buClr>
                <a:srgbClr val="F0AB00"/>
              </a:buClr>
              <a:buSzPct val="80000"/>
              <a:defRPr/>
            </a:pPr>
            <a:r>
              <a:rPr lang="en-US" sz="2799" b="1" kern="0">
                <a:solidFill>
                  <a:schemeClr val="accent1"/>
                </a:solidFill>
                <a:ea typeface="Arial Unicode MS" pitchFamily="34" charset="-128"/>
              </a:rPr>
              <a:t>37%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74BEA82-9BF1-EC8E-2DBE-D63B3551EA9C}"/>
              </a:ext>
            </a:extLst>
          </p:cNvPr>
          <p:cNvSpPr txBox="1"/>
          <p:nvPr/>
        </p:nvSpPr>
        <p:spPr>
          <a:xfrm>
            <a:off x="6064004" y="5498742"/>
            <a:ext cx="1817548" cy="4923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5376">
              <a:buClr>
                <a:schemeClr val="lt1"/>
              </a:buClr>
              <a:buSzPct val="25000"/>
            </a:pPr>
            <a:r>
              <a:rPr lang="en-US" sz="1600">
                <a:latin typeface="72" panose="020B0503030000000003" pitchFamily="34" charset="0"/>
                <a:ea typeface="Arial"/>
                <a:cs typeface="72" panose="020B0503030000000003" pitchFamily="34" charset="0"/>
                <a:sym typeface="Arial"/>
              </a:rPr>
              <a:t>Are more confident in their abilities</a:t>
            </a:r>
            <a:r>
              <a:rPr lang="en-US" sz="1600" baseline="30000">
                <a:latin typeface="72" panose="020B0503030000000003" pitchFamily="34" charset="0"/>
                <a:ea typeface="Arial"/>
                <a:cs typeface="72" panose="020B0503030000000003" pitchFamily="34" charset="0"/>
                <a:sym typeface="Arial"/>
              </a:rPr>
              <a:t>*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0A18B2A4-84CC-ECE2-61E7-A84EA0BEADF1}"/>
              </a:ext>
            </a:extLst>
          </p:cNvPr>
          <p:cNvSpPr txBox="1"/>
          <p:nvPr/>
        </p:nvSpPr>
        <p:spPr>
          <a:xfrm>
            <a:off x="5265144" y="5411045"/>
            <a:ext cx="853118" cy="52308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defTabSz="1088122">
              <a:spcBef>
                <a:spcPts val="0"/>
              </a:spcBef>
              <a:buClr>
                <a:srgbClr val="F0AB00"/>
              </a:buClr>
              <a:buSzPct val="80000"/>
              <a:defRPr/>
            </a:pPr>
            <a:r>
              <a:rPr lang="en-US" sz="2799" b="1" kern="0">
                <a:solidFill>
                  <a:schemeClr val="accent1"/>
                </a:solidFill>
                <a:ea typeface="Arial Unicode MS" pitchFamily="34" charset="-128"/>
              </a:rPr>
              <a:t>92%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C880A61-B234-BBF8-87A7-3F65956EF138}"/>
              </a:ext>
            </a:extLst>
          </p:cNvPr>
          <p:cNvSpPr txBox="1"/>
          <p:nvPr/>
        </p:nvSpPr>
        <p:spPr>
          <a:xfrm>
            <a:off x="578195" y="6579238"/>
            <a:ext cx="2855968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GB" sz="700" kern="0">
                <a:solidFill>
                  <a:schemeClr val="tx2"/>
                </a:solidFill>
                <a:latin typeface="72" panose="020B0503030000000003" pitchFamily="34" charset="0"/>
                <a:ea typeface="+mn-lt"/>
                <a:cs typeface="72" panose="020B0503030000000003" pitchFamily="34" charset="0"/>
              </a:rPr>
              <a:t>*“</a:t>
            </a:r>
            <a:r>
              <a:rPr lang="en-GB" sz="700" kern="0">
                <a:solidFill>
                  <a:schemeClr val="tx2"/>
                </a:solidFill>
                <a:latin typeface="72" panose="020B0503030000000003" pitchFamily="34" charset="0"/>
                <a:ea typeface="+mn-lt"/>
                <a:cs typeface="72" panose="020B0503030000000003" pitchFamily="34" charset="0"/>
                <a:hlinkClick r:id="rId7"/>
              </a:rPr>
              <a:t>2023 Value of IT Certification Candidate Report</a:t>
            </a:r>
            <a:r>
              <a:rPr lang="en-GB" sz="700" kern="0">
                <a:solidFill>
                  <a:schemeClr val="tx2"/>
                </a:solidFill>
                <a:latin typeface="72" panose="020B0503030000000003" pitchFamily="34" charset="0"/>
                <a:ea typeface="+mn-lt"/>
                <a:cs typeface="72" panose="020B0503030000000003" pitchFamily="34" charset="0"/>
              </a:rPr>
              <a:t>,” Pearson VUE, 2023.</a:t>
            </a:r>
            <a:endParaRPr lang="en-US" sz="700">
              <a:solidFill>
                <a:schemeClr val="tx2"/>
              </a:solidFill>
              <a:latin typeface="72" panose="020B0503030000000003" pitchFamily="34" charset="0"/>
              <a:cs typeface="72" panose="020B05030300000000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8053020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act information">
            <a:extLst>
              <a:ext uri="{FF2B5EF4-FFF2-40B4-BE49-F238E27FC236}">
                <a16:creationId xmlns:a16="http://schemas.microsoft.com/office/drawing/2014/main" id="{764BF401-526E-AC16-81F3-A46E233F0BD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4200" y="3958390"/>
            <a:ext cx="5513388" cy="1448108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1200"/>
              </a:spcAft>
              <a:buNone/>
              <a:defRPr sz="1600" b="1" i="0" spc="0">
                <a:solidFill>
                  <a:schemeClr val="accent1"/>
                </a:solidFill>
                <a:latin typeface="72" panose="020B0503030000000003" pitchFamily="34" charset="0"/>
                <a:cs typeface="72" panose="020B0503030000000003" pitchFamily="34" charset="0"/>
              </a:defRPr>
            </a:lvl1pPr>
            <a:lvl2pPr marL="0" indent="0">
              <a:spcBef>
                <a:spcPts val="0"/>
              </a:spcBef>
              <a:buNone/>
              <a:defRPr sz="1600" b="0" i="0" spc="0">
                <a:solidFill>
                  <a:schemeClr val="accent1"/>
                </a:solidFill>
                <a:latin typeface="72" panose="020B0503030000000003" pitchFamily="34" charset="0"/>
              </a:defRPr>
            </a:lvl2pPr>
          </a:lstStyle>
          <a:p>
            <a:r>
              <a:rPr lang="en-US" dirty="0"/>
              <a:t>Contact information:</a:t>
            </a:r>
          </a:p>
          <a:p>
            <a:pPr lvl="1"/>
            <a:r>
              <a:rPr lang="en-US" dirty="0" err="1"/>
              <a:t>Volker.Saggau@sap.com</a:t>
            </a:r>
            <a:endParaRPr lang="en-US" dirty="0"/>
          </a:p>
          <a:p>
            <a:pPr lvl="1"/>
            <a:r>
              <a:rPr lang="en-US" dirty="0"/>
              <a:t>SAP HANA Product Manager</a:t>
            </a:r>
          </a:p>
        </p:txBody>
      </p:sp>
      <p:sp>
        <p:nvSpPr>
          <p:cNvPr id="5" name="Thank you">
            <a:extLst>
              <a:ext uri="{FF2B5EF4-FFF2-40B4-BE49-F238E27FC236}">
                <a16:creationId xmlns:a16="http://schemas.microsoft.com/office/drawing/2014/main" id="{C05667E3-E4EE-94FB-6E98-80370A1D831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84200" y="2727827"/>
            <a:ext cx="5513388" cy="631660"/>
          </a:xfrm>
        </p:spPr>
        <p:txBody>
          <a:bodyPr anchor="t" anchorCtr="0">
            <a:noAutofit/>
          </a:bodyPr>
          <a:lstStyle>
            <a:lvl1pPr>
              <a:defRPr sz="3600" b="1" i="0" spc="0">
                <a:solidFill>
                  <a:schemeClr val="accent1"/>
                </a:solidFill>
                <a:latin typeface="72" panose="020B0503030000000003" pitchFamily="34" charset="0"/>
                <a:cs typeface="72" panose="020B0503030000000003" pitchFamily="34" charset="0"/>
              </a:defRPr>
            </a:lvl1pPr>
          </a:lstStyle>
          <a:p>
            <a:r>
              <a:rPr lang="en-US"/>
              <a:t>Thank you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65650660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01817B-8BF8-0692-8F36-28F8440D6D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3801126"/>
            <a:ext cx="9144000" cy="553998"/>
          </a:xfrm>
        </p:spPr>
        <p:txBody>
          <a:bodyPr/>
          <a:lstStyle/>
          <a:p>
            <a:r>
              <a:rPr lang="en-GB" dirty="0"/>
              <a:t>Build Innovative Business Applications with Database Servic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BDD9128-1023-B0DF-C506-B21D62D9199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1500" y="5168900"/>
            <a:ext cx="9144000" cy="1015663"/>
          </a:xfrm>
        </p:spPr>
        <p:txBody>
          <a:bodyPr/>
          <a:lstStyle/>
          <a:p>
            <a:r>
              <a:rPr lang="en-US" altLang="en-US" dirty="0"/>
              <a:t>DA 263 Workshop</a:t>
            </a:r>
            <a:br>
              <a:rPr lang="en-US" altLang="en-US" dirty="0"/>
            </a:br>
            <a:r>
              <a:rPr lang="en-US" altLang="en-US" dirty="0"/>
              <a:t>October, 2023</a:t>
            </a:r>
            <a:endParaRPr lang="en-CA" dirty="0"/>
          </a:p>
          <a:p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777365853"/>
      </p:ext>
    </p:extLst>
  </p:cSld>
  <p:clrMapOvr>
    <a:masterClrMapping/>
  </p:clrMapOvr>
  <p:transition spd="med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134">
            <a:extLst>
              <a:ext uri="{FF2B5EF4-FFF2-40B4-BE49-F238E27FC236}">
                <a16:creationId xmlns:a16="http://schemas.microsoft.com/office/drawing/2014/main" id="{44127163-7919-6489-D053-2DEB0EEA8A44}"/>
              </a:ext>
            </a:extLst>
          </p:cNvPr>
          <p:cNvSpPr txBox="1"/>
          <p:nvPr/>
        </p:nvSpPr>
        <p:spPr>
          <a:xfrm>
            <a:off x="706184" y="494784"/>
            <a:ext cx="4177749" cy="251766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1991">
              <a:lnSpc>
                <a:spcPts val="4038"/>
              </a:lnSpc>
              <a:defRPr/>
            </a:pPr>
            <a:r>
              <a:rPr lang="en-US" sz="3149" b="1" spc="-20">
                <a:solidFill>
                  <a:srgbClr val="000000"/>
                </a:solidFill>
              </a:rPr>
              <a:t>SAP BTP </a:t>
            </a:r>
            <a:endParaRPr lang="en-US" sz="3198" b="1" spc="-20">
              <a:solidFill>
                <a:srgbClr val="000000"/>
              </a:solidFill>
            </a:endParaRPr>
          </a:p>
          <a:p>
            <a:pPr defTabSz="911991">
              <a:lnSpc>
                <a:spcPts val="4038"/>
              </a:lnSpc>
              <a:defRPr/>
            </a:pPr>
            <a:r>
              <a:rPr lang="en-US" sz="2799" spc="-20">
                <a:cs typeface="Arial"/>
              </a:rPr>
              <a:t>Unleash digital innovation across business functions</a:t>
            </a:r>
            <a:endParaRPr lang="en-US" sz="1699">
              <a:cs typeface="Arial"/>
            </a:endParaRPr>
          </a:p>
          <a:p>
            <a:pPr defTabSz="911991">
              <a:lnSpc>
                <a:spcPts val="4038"/>
              </a:lnSpc>
              <a:defRPr/>
            </a:pPr>
            <a:endParaRPr lang="en-US" sz="2799" b="1" spc="-20">
              <a:solidFill>
                <a:srgbClr val="008FD3"/>
              </a:solidFill>
              <a:highlight>
                <a:srgbClr val="FFFF00"/>
              </a:highlight>
              <a:cs typeface="Arial"/>
            </a:endParaRPr>
          </a:p>
          <a:p>
            <a:pPr defTabSz="911991">
              <a:lnSpc>
                <a:spcPts val="4038"/>
              </a:lnSpc>
              <a:defRPr/>
            </a:pPr>
            <a:endParaRPr lang="en-US" sz="2799" b="1" spc="-20">
              <a:solidFill>
                <a:srgbClr val="008FD3"/>
              </a:solidFill>
              <a:highlight>
                <a:srgbClr val="FFFF00"/>
              </a:highlight>
              <a:cs typeface="Arial"/>
            </a:endParaRPr>
          </a:p>
        </p:txBody>
      </p:sp>
      <p:cxnSp>
        <p:nvCxnSpPr>
          <p:cNvPr id="2" name="Straight Connector 37">
            <a:extLst>
              <a:ext uri="{FF2B5EF4-FFF2-40B4-BE49-F238E27FC236}">
                <a16:creationId xmlns:a16="http://schemas.microsoft.com/office/drawing/2014/main" id="{E4844D1F-B7A3-ACB6-945E-F3EEB73DC202}"/>
              </a:ext>
            </a:extLst>
          </p:cNvPr>
          <p:cNvCxnSpPr>
            <a:cxnSpLocks/>
          </p:cNvCxnSpPr>
          <p:nvPr/>
        </p:nvCxnSpPr>
        <p:spPr>
          <a:xfrm>
            <a:off x="510260" y="565460"/>
            <a:ext cx="0" cy="1332319"/>
          </a:xfrm>
          <a:prstGeom prst="line">
            <a:avLst/>
          </a:prstGeom>
          <a:ln w="57150">
            <a:gradFill>
              <a:gsLst>
                <a:gs pos="100000">
                  <a:schemeClr val="accent3"/>
                </a:gs>
                <a:gs pos="0">
                  <a:srgbClr val="0064D7"/>
                </a:gs>
              </a:gsLst>
              <a:lin ang="5400000" scaled="1"/>
            </a:gra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reeform: Shape 11">
            <a:extLst>
              <a:ext uri="{FF2B5EF4-FFF2-40B4-BE49-F238E27FC236}">
                <a16:creationId xmlns:a16="http://schemas.microsoft.com/office/drawing/2014/main" id="{8B00E9BF-BFF1-E1C1-1700-21F5AE45A397}"/>
              </a:ext>
            </a:extLst>
          </p:cNvPr>
          <p:cNvSpPr/>
          <p:nvPr/>
        </p:nvSpPr>
        <p:spPr>
          <a:xfrm>
            <a:off x="3463436" y="5046740"/>
            <a:ext cx="8310651" cy="477038"/>
          </a:xfrm>
          <a:prstGeom prst="roundRect">
            <a:avLst>
              <a:gd name="adj" fmla="val 9823"/>
            </a:avLst>
          </a:prstGeom>
          <a:solidFill>
            <a:srgbClr val="B3D2FF"/>
          </a:solidFill>
          <a:ln w="12673" cap="flat">
            <a:noFill/>
            <a:prstDash val="solid"/>
            <a:miter/>
          </a:ln>
        </p:spPr>
        <p:txBody>
          <a:bodyPr rtlCol="0" anchor="ctr"/>
          <a:lstStyle/>
          <a:p>
            <a:pPr defTabSz="1087796">
              <a:defRPr/>
            </a:pPr>
            <a:endParaRPr lang="en-US" sz="2097">
              <a:solidFill>
                <a:srgbClr val="000000"/>
              </a:solidFill>
            </a:endParaRPr>
          </a:p>
        </p:txBody>
      </p:sp>
      <p:sp>
        <p:nvSpPr>
          <p:cNvPr id="4" name="Textfeld 16">
            <a:extLst>
              <a:ext uri="{FF2B5EF4-FFF2-40B4-BE49-F238E27FC236}">
                <a16:creationId xmlns:a16="http://schemas.microsoft.com/office/drawing/2014/main" id="{2FAC386C-3DFB-5C48-891B-D1693080E11F}"/>
              </a:ext>
            </a:extLst>
          </p:cNvPr>
          <p:cNvSpPr txBox="1"/>
          <p:nvPr/>
        </p:nvSpPr>
        <p:spPr>
          <a:xfrm>
            <a:off x="9437658" y="5129001"/>
            <a:ext cx="2252781" cy="30753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>
            <a:defPPr>
              <a:defRPr lang="de-DE"/>
            </a:defPPr>
            <a:lvl1pPr marL="0" algn="l" defTabSz="1088776" rtl="0" eaLnBrk="1" latinLnBrk="0" hangingPunct="1"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544388" algn="l" defTabSz="108877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88776" algn="l" defTabSz="108877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17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633164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177552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87796">
              <a:defRPr/>
            </a:pPr>
            <a:r>
              <a:rPr lang="de-DE" sz="1000" b="1">
                <a:solidFill>
                  <a:srgbClr val="000000"/>
                </a:solidFill>
                <a:cs typeface="Arial"/>
              </a:rPr>
              <a:t>Run</a:t>
            </a:r>
            <a:r>
              <a:rPr lang="de-DE" sz="1000">
                <a:solidFill>
                  <a:srgbClr val="000000"/>
                </a:solidFill>
                <a:cs typeface="Arial"/>
              </a:rPr>
              <a:t> with confidence on a trusted, </a:t>
            </a:r>
            <a:br>
              <a:rPr lang="de-DE" sz="1000">
                <a:solidFill>
                  <a:srgbClr val="000000"/>
                </a:solidFill>
                <a:cs typeface="Arial" panose="020B0604020202020204" pitchFamily="34" charset="0"/>
              </a:rPr>
            </a:br>
            <a:r>
              <a:rPr lang="de-DE" sz="1000">
                <a:solidFill>
                  <a:srgbClr val="000000"/>
                </a:solidFill>
                <a:cs typeface="Arial"/>
              </a:rPr>
              <a:t>enterprise-grade platform</a:t>
            </a:r>
          </a:p>
        </p:txBody>
      </p:sp>
      <p:sp>
        <p:nvSpPr>
          <p:cNvPr id="5" name="Textfeld 15">
            <a:extLst>
              <a:ext uri="{FF2B5EF4-FFF2-40B4-BE49-F238E27FC236}">
                <a16:creationId xmlns:a16="http://schemas.microsoft.com/office/drawing/2014/main" id="{3473E71E-8D4B-8670-574C-FEBDE800123F}"/>
              </a:ext>
            </a:extLst>
          </p:cNvPr>
          <p:cNvSpPr txBox="1"/>
          <p:nvPr/>
        </p:nvSpPr>
        <p:spPr>
          <a:xfrm>
            <a:off x="3817181" y="5129001"/>
            <a:ext cx="2400210" cy="30753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>
            <a:defPPr>
              <a:defRPr lang="de-DE"/>
            </a:defPPr>
            <a:lvl1pPr marL="0" algn="l" defTabSz="1088776" rtl="0" eaLnBrk="1" latinLnBrk="0" hangingPunct="1"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544388" algn="l" defTabSz="108877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88776" algn="l" defTabSz="108877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17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633164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177552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87796">
              <a:defRPr/>
            </a:pPr>
            <a:r>
              <a:rPr lang="de-DE" sz="1000" b="1">
                <a:solidFill>
                  <a:srgbClr val="000000"/>
                </a:solidFill>
                <a:cs typeface="Arial"/>
              </a:rPr>
              <a:t>Create</a:t>
            </a:r>
            <a:r>
              <a:rPr lang="de-DE" sz="1000">
                <a:solidFill>
                  <a:srgbClr val="000000"/>
                </a:solidFill>
                <a:cs typeface="Arial"/>
              </a:rPr>
              <a:t> personalized experiences </a:t>
            </a:r>
            <a:br>
              <a:rPr lang="de-DE" sz="1000">
                <a:solidFill>
                  <a:srgbClr val="000000"/>
                </a:solidFill>
                <a:cs typeface="Arial" panose="020B0604020202020204" pitchFamily="34" charset="0"/>
              </a:rPr>
            </a:br>
            <a:r>
              <a:rPr lang="de-DE" sz="1000">
                <a:solidFill>
                  <a:srgbClr val="000000"/>
                </a:solidFill>
                <a:cs typeface="Arial"/>
              </a:rPr>
              <a:t>that instantly work with SAP applications </a:t>
            </a:r>
          </a:p>
        </p:txBody>
      </p:sp>
      <p:sp>
        <p:nvSpPr>
          <p:cNvPr id="6" name="Textfeld 17">
            <a:extLst>
              <a:ext uri="{FF2B5EF4-FFF2-40B4-BE49-F238E27FC236}">
                <a16:creationId xmlns:a16="http://schemas.microsoft.com/office/drawing/2014/main" id="{8F1B9950-1641-12EC-9154-34B6B9B30E20}"/>
              </a:ext>
            </a:extLst>
          </p:cNvPr>
          <p:cNvSpPr txBox="1"/>
          <p:nvPr/>
        </p:nvSpPr>
        <p:spPr>
          <a:xfrm>
            <a:off x="6686508" y="5129001"/>
            <a:ext cx="2400209" cy="30753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>
            <a:defPPr>
              <a:defRPr lang="de-DE"/>
            </a:defPPr>
            <a:lvl1pPr marL="0" algn="l" defTabSz="1088776" rtl="0" eaLnBrk="1" latinLnBrk="0" hangingPunct="1"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544388" algn="l" defTabSz="108877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88776" algn="l" defTabSz="108877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17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633164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177552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87796">
              <a:defRPr/>
            </a:pPr>
            <a:r>
              <a:rPr lang="de-DE" sz="1000" b="1" err="1">
                <a:solidFill>
                  <a:srgbClr val="000000"/>
                </a:solidFill>
                <a:cs typeface="Arial"/>
              </a:rPr>
              <a:t>Build</a:t>
            </a:r>
            <a:r>
              <a:rPr lang="de-DE" sz="1000">
                <a:solidFill>
                  <a:srgbClr val="000000"/>
                </a:solidFill>
                <a:cs typeface="Arial"/>
              </a:rPr>
              <a:t> </a:t>
            </a:r>
            <a:r>
              <a:rPr lang="de-DE" sz="1000" err="1">
                <a:solidFill>
                  <a:srgbClr val="000000"/>
                </a:solidFill>
                <a:cs typeface="Arial"/>
              </a:rPr>
              <a:t>faster</a:t>
            </a:r>
            <a:r>
              <a:rPr lang="de-DE" sz="1000">
                <a:solidFill>
                  <a:srgbClr val="000000"/>
                </a:solidFill>
                <a:cs typeface="Arial"/>
              </a:rPr>
              <a:t> </a:t>
            </a:r>
            <a:r>
              <a:rPr lang="de-DE" sz="1000" err="1">
                <a:solidFill>
                  <a:srgbClr val="000000"/>
                </a:solidFill>
                <a:cs typeface="Arial"/>
              </a:rPr>
              <a:t>with</a:t>
            </a:r>
            <a:r>
              <a:rPr lang="de-DE" sz="1000">
                <a:solidFill>
                  <a:srgbClr val="000000"/>
                </a:solidFill>
                <a:cs typeface="Arial"/>
              </a:rPr>
              <a:t> </a:t>
            </a:r>
            <a:r>
              <a:rPr lang="de-DE" sz="1000" err="1">
                <a:solidFill>
                  <a:srgbClr val="000000"/>
                </a:solidFill>
                <a:cs typeface="Arial"/>
              </a:rPr>
              <a:t>business</a:t>
            </a:r>
            <a:r>
              <a:rPr lang="de-DE" sz="1000">
                <a:solidFill>
                  <a:srgbClr val="000000"/>
                </a:solidFill>
                <a:cs typeface="Arial"/>
              </a:rPr>
              <a:t> </a:t>
            </a:r>
            <a:r>
              <a:rPr lang="de-DE" sz="1000" err="1">
                <a:solidFill>
                  <a:srgbClr val="000000"/>
                </a:solidFill>
                <a:cs typeface="Arial"/>
              </a:rPr>
              <a:t>context</a:t>
            </a:r>
            <a:r>
              <a:rPr lang="de-DE" sz="1000">
                <a:solidFill>
                  <a:srgbClr val="000000"/>
                </a:solidFill>
                <a:cs typeface="Arial"/>
              </a:rPr>
              <a:t> </a:t>
            </a:r>
            <a:br>
              <a:rPr lang="de-DE" sz="1000">
                <a:solidFill>
                  <a:srgbClr val="000000"/>
                </a:solidFill>
                <a:cs typeface="Arial" panose="020B0604020202020204" pitchFamily="34" charset="0"/>
              </a:rPr>
            </a:br>
            <a:r>
              <a:rPr lang="de-DE" sz="1000" err="1">
                <a:solidFill>
                  <a:srgbClr val="000000"/>
                </a:solidFill>
                <a:cs typeface="Arial"/>
              </a:rPr>
              <a:t>to</a:t>
            </a:r>
            <a:r>
              <a:rPr lang="de-DE" sz="1000">
                <a:solidFill>
                  <a:srgbClr val="000000"/>
                </a:solidFill>
                <a:cs typeface="Arial"/>
              </a:rPr>
              <a:t> </a:t>
            </a:r>
            <a:r>
              <a:rPr lang="de-DE" sz="1000" err="1">
                <a:solidFill>
                  <a:srgbClr val="000000"/>
                </a:solidFill>
                <a:cs typeface="Arial"/>
              </a:rPr>
              <a:t>meet</a:t>
            </a:r>
            <a:r>
              <a:rPr lang="de-DE" sz="1000">
                <a:solidFill>
                  <a:srgbClr val="000000"/>
                </a:solidFill>
                <a:cs typeface="Arial"/>
              </a:rPr>
              <a:t> </a:t>
            </a:r>
            <a:r>
              <a:rPr lang="de-DE" sz="1000" err="1">
                <a:solidFill>
                  <a:srgbClr val="000000"/>
                </a:solidFill>
                <a:cs typeface="Arial"/>
              </a:rPr>
              <a:t>change</a:t>
            </a:r>
            <a:r>
              <a:rPr lang="de-DE" sz="1000">
                <a:solidFill>
                  <a:srgbClr val="000000"/>
                </a:solidFill>
                <a:cs typeface="Arial"/>
              </a:rPr>
              <a:t> </a:t>
            </a:r>
            <a:r>
              <a:rPr lang="de-DE" sz="1000" err="1">
                <a:solidFill>
                  <a:srgbClr val="000000"/>
                </a:solidFill>
                <a:cs typeface="Arial"/>
              </a:rPr>
              <a:t>with</a:t>
            </a:r>
            <a:r>
              <a:rPr lang="de-DE" sz="1000">
                <a:solidFill>
                  <a:srgbClr val="000000"/>
                </a:solidFill>
                <a:cs typeface="Arial"/>
              </a:rPr>
              <a:t> </a:t>
            </a:r>
            <a:r>
              <a:rPr lang="de-DE" sz="1000" err="1">
                <a:solidFill>
                  <a:srgbClr val="000000"/>
                </a:solidFill>
                <a:cs typeface="Arial"/>
              </a:rPr>
              <a:t>agility</a:t>
            </a:r>
            <a:endParaRPr lang="de-DE" sz="1000">
              <a:solidFill>
                <a:srgbClr val="000000"/>
              </a:solidFill>
              <a:cs typeface="Arial"/>
            </a:endParaRPr>
          </a:p>
        </p:txBody>
      </p:sp>
      <p:grpSp>
        <p:nvGrpSpPr>
          <p:cNvPr id="7" name="!!!_Group 55">
            <a:extLst>
              <a:ext uri="{FF2B5EF4-FFF2-40B4-BE49-F238E27FC236}">
                <a16:creationId xmlns:a16="http://schemas.microsoft.com/office/drawing/2014/main" id="{8BBBA247-1433-A174-833A-89B35B774B2A}"/>
              </a:ext>
            </a:extLst>
          </p:cNvPr>
          <p:cNvGrpSpPr/>
          <p:nvPr/>
        </p:nvGrpSpPr>
        <p:grpSpPr>
          <a:xfrm>
            <a:off x="3463131" y="438608"/>
            <a:ext cx="8309808" cy="4564157"/>
            <a:chOff x="3427012" y="910723"/>
            <a:chExt cx="8316301" cy="4567726"/>
          </a:xfrm>
        </p:grpSpPr>
        <p:sp>
          <p:nvSpPr>
            <p:cNvPr id="9" name="Freeform: Shape 57">
              <a:extLst>
                <a:ext uri="{FF2B5EF4-FFF2-40B4-BE49-F238E27FC236}">
                  <a16:creationId xmlns:a16="http://schemas.microsoft.com/office/drawing/2014/main" id="{9E5D9314-0DC9-3C61-001F-E45B70B84F79}"/>
                </a:ext>
              </a:extLst>
            </p:cNvPr>
            <p:cNvSpPr/>
            <p:nvPr/>
          </p:nvSpPr>
          <p:spPr>
            <a:xfrm>
              <a:off x="4324358" y="1402221"/>
              <a:ext cx="6521455" cy="3366336"/>
            </a:xfrm>
            <a:custGeom>
              <a:avLst/>
              <a:gdLst>
                <a:gd name="connsiteX0" fmla="*/ 4906137 w 4906137"/>
                <a:gd name="connsiteY0" fmla="*/ 2453069 h 2453068"/>
                <a:gd name="connsiteX1" fmla="*/ 2453069 w 4906137"/>
                <a:gd name="connsiteY1" fmla="*/ 0 h 2453068"/>
                <a:gd name="connsiteX2" fmla="*/ 0 w 4906137"/>
                <a:gd name="connsiteY2" fmla="*/ 2453069 h 2453068"/>
                <a:gd name="connsiteX3" fmla="*/ 4906137 w 4906137"/>
                <a:gd name="connsiteY3" fmla="*/ 2453069 h 24530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906137" h="2453068">
                  <a:moveTo>
                    <a:pt x="4906137" y="2453069"/>
                  </a:moveTo>
                  <a:cubicBezTo>
                    <a:pt x="4906137" y="1098233"/>
                    <a:pt x="3807810" y="0"/>
                    <a:pt x="2453069" y="0"/>
                  </a:cubicBezTo>
                  <a:cubicBezTo>
                    <a:pt x="1098328" y="0"/>
                    <a:pt x="0" y="1098328"/>
                    <a:pt x="0" y="2453069"/>
                  </a:cubicBezTo>
                  <a:lnTo>
                    <a:pt x="4906137" y="2453069"/>
                  </a:lnTo>
                  <a:close/>
                </a:path>
              </a:pathLst>
            </a:custGeom>
            <a:noFill/>
            <a:ln w="9525" cap="flat">
              <a:gradFill>
                <a:gsLst>
                  <a:gs pos="0">
                    <a:srgbClr val="5D8CC9"/>
                  </a:gs>
                  <a:gs pos="50000">
                    <a:srgbClr val="4C77BB"/>
                  </a:gs>
                  <a:gs pos="100000">
                    <a:srgbClr val="3B62AD"/>
                  </a:gs>
                </a:gsLst>
                <a:lin ang="243289" scaled="1"/>
              </a:gradFill>
              <a:prstDash val="solid"/>
              <a:miter/>
            </a:ln>
          </p:spPr>
          <p:txBody>
            <a:bodyPr rtlCol="0" anchor="ctr"/>
            <a:lstStyle/>
            <a:p>
              <a:pPr defTabSz="913304">
                <a:defRPr/>
              </a:pPr>
              <a:endParaRPr lang="en-US" sz="1796">
                <a:solidFill>
                  <a:srgbClr val="000000"/>
                </a:solidFill>
              </a:endParaRPr>
            </a:p>
          </p:txBody>
        </p:sp>
        <p:sp>
          <p:nvSpPr>
            <p:cNvPr id="10" name="Freeform: Shape 59">
              <a:extLst>
                <a:ext uri="{FF2B5EF4-FFF2-40B4-BE49-F238E27FC236}">
                  <a16:creationId xmlns:a16="http://schemas.microsoft.com/office/drawing/2014/main" id="{3C4F4F63-BE1F-65CB-FA72-3F382EA932A4}"/>
                </a:ext>
              </a:extLst>
            </p:cNvPr>
            <p:cNvSpPr/>
            <p:nvPr/>
          </p:nvSpPr>
          <p:spPr>
            <a:xfrm>
              <a:off x="4324358" y="1402221"/>
              <a:ext cx="6521455" cy="3366336"/>
            </a:xfrm>
            <a:custGeom>
              <a:avLst/>
              <a:gdLst>
                <a:gd name="connsiteX0" fmla="*/ 0 w 4906137"/>
                <a:gd name="connsiteY0" fmla="*/ 2453069 h 2453068"/>
                <a:gd name="connsiteX1" fmla="*/ 2453069 w 4906137"/>
                <a:gd name="connsiteY1" fmla="*/ 0 h 2453068"/>
                <a:gd name="connsiteX2" fmla="*/ 4906137 w 4906137"/>
                <a:gd name="connsiteY2" fmla="*/ 2453069 h 24530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906137" h="2453068">
                  <a:moveTo>
                    <a:pt x="0" y="2453069"/>
                  </a:moveTo>
                  <a:cubicBezTo>
                    <a:pt x="0" y="1098233"/>
                    <a:pt x="1098328" y="0"/>
                    <a:pt x="2453069" y="0"/>
                  </a:cubicBezTo>
                  <a:cubicBezTo>
                    <a:pt x="3807810" y="0"/>
                    <a:pt x="4906137" y="1098328"/>
                    <a:pt x="4906137" y="2453069"/>
                  </a:cubicBezTo>
                </a:path>
              </a:pathLst>
            </a:custGeom>
            <a:solidFill>
              <a:srgbClr val="EBF8FF"/>
            </a:solidFill>
            <a:ln w="12700" cap="flat">
              <a:gradFill>
                <a:gsLst>
                  <a:gs pos="0">
                    <a:srgbClr val="4394FF"/>
                  </a:gs>
                  <a:gs pos="50000">
                    <a:srgbClr val="2374F5"/>
                  </a:gs>
                  <a:gs pos="100000">
                    <a:srgbClr val="0B5CDD"/>
                  </a:gs>
                </a:gsLst>
                <a:lin ang="0" scaled="1"/>
              </a:gradFill>
              <a:prstDash val="solid"/>
              <a:miter/>
            </a:ln>
          </p:spPr>
          <p:txBody>
            <a:bodyPr rtlCol="0" anchor="ctr"/>
            <a:lstStyle/>
            <a:p>
              <a:pPr defTabSz="913304">
                <a:defRPr/>
              </a:pPr>
              <a:endParaRPr lang="en-US" sz="1796">
                <a:solidFill>
                  <a:srgbClr val="000000"/>
                </a:solidFill>
              </a:endParaRPr>
            </a:p>
          </p:txBody>
        </p:sp>
        <p:sp>
          <p:nvSpPr>
            <p:cNvPr id="11" name="Freeform: Shape 63">
              <a:extLst>
                <a:ext uri="{FF2B5EF4-FFF2-40B4-BE49-F238E27FC236}">
                  <a16:creationId xmlns:a16="http://schemas.microsoft.com/office/drawing/2014/main" id="{AD63730D-8590-098C-E4BE-A075A3779ECC}"/>
                </a:ext>
              </a:extLst>
            </p:cNvPr>
            <p:cNvSpPr/>
            <p:nvPr/>
          </p:nvSpPr>
          <p:spPr>
            <a:xfrm>
              <a:off x="3427012" y="4578941"/>
              <a:ext cx="8316301" cy="899508"/>
            </a:xfrm>
            <a:custGeom>
              <a:avLst/>
              <a:gdLst>
                <a:gd name="connsiteX0" fmla="*/ 5840773 w 6256412"/>
                <a:gd name="connsiteY0" fmla="*/ 253 h 655477"/>
                <a:gd name="connsiteX1" fmla="*/ 415523 w 6256412"/>
                <a:gd name="connsiteY1" fmla="*/ 253 h 655477"/>
                <a:gd name="connsiteX2" fmla="*/ 328179 w 6256412"/>
                <a:gd name="connsiteY2" fmla="*/ 43973 h 655477"/>
                <a:gd name="connsiteX3" fmla="*/ 2043 w 6256412"/>
                <a:gd name="connsiteY3" fmla="*/ 612711 h 655477"/>
                <a:gd name="connsiteX4" fmla="*/ 51573 w 6256412"/>
                <a:gd name="connsiteY4" fmla="*/ 655478 h 655477"/>
                <a:gd name="connsiteX5" fmla="*/ 6222345 w 6256412"/>
                <a:gd name="connsiteY5" fmla="*/ 655478 h 655477"/>
                <a:gd name="connsiteX6" fmla="*/ 6251491 w 6256412"/>
                <a:gd name="connsiteY6" fmla="*/ 608900 h 655477"/>
                <a:gd name="connsiteX7" fmla="*/ 5919545 w 6256412"/>
                <a:gd name="connsiteY7" fmla="*/ 41020 h 655477"/>
                <a:gd name="connsiteX8" fmla="*/ 5840963 w 6256412"/>
                <a:gd name="connsiteY8" fmla="*/ 253 h 655477"/>
                <a:gd name="connsiteX9" fmla="*/ 5840963 w 6256412"/>
                <a:gd name="connsiteY9" fmla="*/ 253 h 655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256412" h="655477">
                  <a:moveTo>
                    <a:pt x="5840773" y="253"/>
                  </a:moveTo>
                  <a:lnTo>
                    <a:pt x="415523" y="253"/>
                  </a:lnTo>
                  <a:cubicBezTo>
                    <a:pt x="415523" y="253"/>
                    <a:pt x="358183" y="-5938"/>
                    <a:pt x="328179" y="43973"/>
                  </a:cubicBezTo>
                  <a:cubicBezTo>
                    <a:pt x="303319" y="85311"/>
                    <a:pt x="2043" y="612711"/>
                    <a:pt x="2043" y="612711"/>
                  </a:cubicBezTo>
                  <a:cubicBezTo>
                    <a:pt x="2043" y="612711"/>
                    <a:pt x="-15388" y="655478"/>
                    <a:pt x="51573" y="655478"/>
                  </a:cubicBezTo>
                  <a:lnTo>
                    <a:pt x="6222345" y="655478"/>
                  </a:lnTo>
                  <a:cubicBezTo>
                    <a:pt x="6222345" y="655478"/>
                    <a:pt x="6271875" y="646715"/>
                    <a:pt x="6251491" y="608900"/>
                  </a:cubicBezTo>
                  <a:cubicBezTo>
                    <a:pt x="6231108" y="571086"/>
                    <a:pt x="5919545" y="41020"/>
                    <a:pt x="5919545" y="41020"/>
                  </a:cubicBezTo>
                  <a:cubicBezTo>
                    <a:pt x="5919545" y="41020"/>
                    <a:pt x="5900971" y="-3747"/>
                    <a:pt x="5840963" y="253"/>
                  </a:cubicBezTo>
                  <a:lnTo>
                    <a:pt x="5840963" y="253"/>
                  </a:lnTo>
                  <a:close/>
                </a:path>
              </a:pathLst>
            </a:custGeom>
            <a:gradFill>
              <a:gsLst>
                <a:gs pos="0">
                  <a:srgbClr val="4394FF"/>
                </a:gs>
                <a:gs pos="50000">
                  <a:srgbClr val="2374F5"/>
                </a:gs>
                <a:gs pos="100000">
                  <a:srgbClr val="0B5CDD"/>
                </a:gs>
              </a:gsLst>
              <a:lin ang="243261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304">
                <a:defRPr/>
              </a:pPr>
              <a:endParaRPr lang="en-US" sz="1796">
                <a:solidFill>
                  <a:srgbClr val="000000"/>
                </a:solidFill>
              </a:endParaRPr>
            </a:p>
          </p:txBody>
        </p:sp>
        <p:sp>
          <p:nvSpPr>
            <p:cNvPr id="16" name="Freeform: Shape 64">
              <a:extLst>
                <a:ext uri="{FF2B5EF4-FFF2-40B4-BE49-F238E27FC236}">
                  <a16:creationId xmlns:a16="http://schemas.microsoft.com/office/drawing/2014/main" id="{4FDB827C-47F0-B692-D8BD-77EFAEA9F11B}"/>
                </a:ext>
              </a:extLst>
            </p:cNvPr>
            <p:cNvSpPr/>
            <p:nvPr/>
          </p:nvSpPr>
          <p:spPr>
            <a:xfrm>
              <a:off x="4746099" y="1837750"/>
              <a:ext cx="5677723" cy="2930806"/>
            </a:xfrm>
            <a:custGeom>
              <a:avLst/>
              <a:gdLst>
                <a:gd name="connsiteX0" fmla="*/ 4271391 w 4271391"/>
                <a:gd name="connsiteY0" fmla="*/ 2135696 h 2135695"/>
                <a:gd name="connsiteX1" fmla="*/ 2135696 w 4271391"/>
                <a:gd name="connsiteY1" fmla="*/ 0 h 2135695"/>
                <a:gd name="connsiteX2" fmla="*/ 0 w 4271391"/>
                <a:gd name="connsiteY2" fmla="*/ 2135696 h 2135695"/>
                <a:gd name="connsiteX3" fmla="*/ 4271296 w 4271391"/>
                <a:gd name="connsiteY3" fmla="*/ 2135696 h 2135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71391" h="2135695">
                  <a:moveTo>
                    <a:pt x="4271391" y="2135696"/>
                  </a:moveTo>
                  <a:cubicBezTo>
                    <a:pt x="4271391" y="956215"/>
                    <a:pt x="3315176" y="0"/>
                    <a:pt x="2135696" y="0"/>
                  </a:cubicBezTo>
                  <a:cubicBezTo>
                    <a:pt x="956215" y="0"/>
                    <a:pt x="0" y="956215"/>
                    <a:pt x="0" y="2135696"/>
                  </a:cubicBezTo>
                  <a:lnTo>
                    <a:pt x="4271296" y="2135696"/>
                  </a:lnTo>
                  <a:close/>
                </a:path>
              </a:pathLst>
            </a:custGeom>
            <a:gradFill>
              <a:gsLst>
                <a:gs pos="100000">
                  <a:srgbClr val="89D2FF"/>
                </a:gs>
                <a:gs pos="0">
                  <a:srgbClr val="B9E4FF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304">
                <a:defRPr/>
              </a:pPr>
              <a:endParaRPr lang="en-US" sz="1796">
                <a:solidFill>
                  <a:srgbClr val="000000"/>
                </a:solidFill>
              </a:endParaRPr>
            </a:p>
          </p:txBody>
        </p:sp>
        <p:sp>
          <p:nvSpPr>
            <p:cNvPr id="20" name="Freeform: Shape 66">
              <a:extLst>
                <a:ext uri="{FF2B5EF4-FFF2-40B4-BE49-F238E27FC236}">
                  <a16:creationId xmlns:a16="http://schemas.microsoft.com/office/drawing/2014/main" id="{DF9B6970-9CC2-7081-F29C-1A86386A1C93}"/>
                </a:ext>
              </a:extLst>
            </p:cNvPr>
            <p:cNvSpPr/>
            <p:nvPr/>
          </p:nvSpPr>
          <p:spPr>
            <a:xfrm>
              <a:off x="6081713" y="3216492"/>
              <a:ext cx="3006747" cy="1552064"/>
            </a:xfrm>
            <a:custGeom>
              <a:avLst/>
              <a:gdLst>
                <a:gd name="connsiteX0" fmla="*/ 2261997 w 2261997"/>
                <a:gd name="connsiteY0" fmla="*/ 1130998 h 1130998"/>
                <a:gd name="connsiteX1" fmla="*/ 1130998 w 2261997"/>
                <a:gd name="connsiteY1" fmla="*/ 0 h 1130998"/>
                <a:gd name="connsiteX2" fmla="*/ 0 w 2261997"/>
                <a:gd name="connsiteY2" fmla="*/ 1130998 h 1130998"/>
                <a:gd name="connsiteX3" fmla="*/ 2261997 w 2261997"/>
                <a:gd name="connsiteY3" fmla="*/ 1130998 h 1130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61997" h="1130998">
                  <a:moveTo>
                    <a:pt x="2261997" y="1130998"/>
                  </a:moveTo>
                  <a:cubicBezTo>
                    <a:pt x="2261997" y="506349"/>
                    <a:pt x="1755648" y="0"/>
                    <a:pt x="1130998" y="0"/>
                  </a:cubicBezTo>
                  <a:cubicBezTo>
                    <a:pt x="506349" y="0"/>
                    <a:pt x="0" y="506349"/>
                    <a:pt x="0" y="1130998"/>
                  </a:cubicBezTo>
                  <a:lnTo>
                    <a:pt x="2261997" y="1130998"/>
                  </a:lnTo>
                  <a:close/>
                </a:path>
              </a:pathLst>
            </a:custGeom>
            <a:gradFill flip="none" rotWithShape="1">
              <a:gsLst>
                <a:gs pos="100000">
                  <a:srgbClr val="4CB1FF"/>
                </a:gs>
                <a:gs pos="0">
                  <a:srgbClr val="89D2FF"/>
                </a:gs>
              </a:gsLst>
              <a:lin ang="27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304">
                <a:defRPr/>
              </a:pPr>
              <a:endParaRPr lang="en-US" sz="1796">
                <a:solidFill>
                  <a:srgbClr val="000000"/>
                </a:solidFill>
              </a:endParaRPr>
            </a:p>
          </p:txBody>
        </p:sp>
        <p:sp>
          <p:nvSpPr>
            <p:cNvPr id="23" name="Freeform: Shape 67">
              <a:extLst>
                <a:ext uri="{FF2B5EF4-FFF2-40B4-BE49-F238E27FC236}">
                  <a16:creationId xmlns:a16="http://schemas.microsoft.com/office/drawing/2014/main" id="{8C4EBED2-660C-04DA-1B28-4055DC33C43F}"/>
                </a:ext>
              </a:extLst>
            </p:cNvPr>
            <p:cNvSpPr/>
            <p:nvPr/>
          </p:nvSpPr>
          <p:spPr>
            <a:xfrm>
              <a:off x="6081713" y="3216492"/>
              <a:ext cx="3006747" cy="1552064"/>
            </a:xfrm>
            <a:custGeom>
              <a:avLst/>
              <a:gdLst>
                <a:gd name="connsiteX0" fmla="*/ 0 w 2261997"/>
                <a:gd name="connsiteY0" fmla="*/ 1130998 h 1130998"/>
                <a:gd name="connsiteX1" fmla="*/ 1130998 w 2261997"/>
                <a:gd name="connsiteY1" fmla="*/ 0 h 1130998"/>
                <a:gd name="connsiteX2" fmla="*/ 2261997 w 2261997"/>
                <a:gd name="connsiteY2" fmla="*/ 1130998 h 1130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261997" h="1130998">
                  <a:moveTo>
                    <a:pt x="0" y="1130998"/>
                  </a:moveTo>
                  <a:cubicBezTo>
                    <a:pt x="0" y="506349"/>
                    <a:pt x="506349" y="0"/>
                    <a:pt x="1130998" y="0"/>
                  </a:cubicBezTo>
                  <a:cubicBezTo>
                    <a:pt x="1755648" y="0"/>
                    <a:pt x="2261997" y="506349"/>
                    <a:pt x="2261997" y="1130998"/>
                  </a:cubicBezTo>
                </a:path>
              </a:pathLst>
            </a:custGeom>
            <a:no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913304">
                <a:defRPr/>
              </a:pPr>
              <a:endParaRPr lang="en-US" sz="1796">
                <a:solidFill>
                  <a:srgbClr val="000000"/>
                </a:solidFill>
              </a:endParaRPr>
            </a:p>
          </p:txBody>
        </p:sp>
        <p:sp>
          <p:nvSpPr>
            <p:cNvPr id="24" name="Freeform: Shape 71">
              <a:extLst>
                <a:ext uri="{FF2B5EF4-FFF2-40B4-BE49-F238E27FC236}">
                  <a16:creationId xmlns:a16="http://schemas.microsoft.com/office/drawing/2014/main" id="{AFE428E6-F449-F37C-23D6-FDBA1BC47B58}"/>
                </a:ext>
              </a:extLst>
            </p:cNvPr>
            <p:cNvSpPr/>
            <p:nvPr/>
          </p:nvSpPr>
          <p:spPr>
            <a:xfrm>
              <a:off x="6495728" y="3643919"/>
              <a:ext cx="2178714" cy="1124639"/>
            </a:xfrm>
            <a:custGeom>
              <a:avLst/>
              <a:gdLst>
                <a:gd name="connsiteX0" fmla="*/ 1639062 w 1639062"/>
                <a:gd name="connsiteY0" fmla="*/ 819531 h 819531"/>
                <a:gd name="connsiteX1" fmla="*/ 819531 w 1639062"/>
                <a:gd name="connsiteY1" fmla="*/ 0 h 819531"/>
                <a:gd name="connsiteX2" fmla="*/ 0 w 1639062"/>
                <a:gd name="connsiteY2" fmla="*/ 819531 h 819531"/>
                <a:gd name="connsiteX3" fmla="*/ 1639062 w 1639062"/>
                <a:gd name="connsiteY3" fmla="*/ 819531 h 819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39062" h="819531">
                  <a:moveTo>
                    <a:pt x="1639062" y="819531"/>
                  </a:moveTo>
                  <a:cubicBezTo>
                    <a:pt x="1639062" y="366903"/>
                    <a:pt x="1272159" y="0"/>
                    <a:pt x="819531" y="0"/>
                  </a:cubicBezTo>
                  <a:cubicBezTo>
                    <a:pt x="366903" y="0"/>
                    <a:pt x="0" y="366903"/>
                    <a:pt x="0" y="819531"/>
                  </a:cubicBezTo>
                  <a:lnTo>
                    <a:pt x="1639062" y="819531"/>
                  </a:lnTo>
                  <a:close/>
                </a:path>
              </a:pathLst>
            </a:custGeom>
            <a:gradFill>
              <a:gsLst>
                <a:gs pos="0">
                  <a:srgbClr val="4394FF"/>
                </a:gs>
                <a:gs pos="50000">
                  <a:srgbClr val="2374F5"/>
                </a:gs>
                <a:gs pos="100000">
                  <a:srgbClr val="0B5CDD"/>
                </a:gs>
              </a:gsLst>
              <a:lin ang="712447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304">
                <a:defRPr/>
              </a:pPr>
              <a:endParaRPr lang="en-US" sz="1796">
                <a:solidFill>
                  <a:srgbClr val="000000"/>
                </a:solidFill>
              </a:endParaRPr>
            </a:p>
          </p:txBody>
        </p:sp>
        <p:sp>
          <p:nvSpPr>
            <p:cNvPr id="25" name="Freeform: Shape 86">
              <a:extLst>
                <a:ext uri="{FF2B5EF4-FFF2-40B4-BE49-F238E27FC236}">
                  <a16:creationId xmlns:a16="http://schemas.microsoft.com/office/drawing/2014/main" id="{C5BCA41E-A25A-2C12-EBD0-FCDFDB99489B}"/>
                </a:ext>
              </a:extLst>
            </p:cNvPr>
            <p:cNvSpPr/>
            <p:nvPr/>
          </p:nvSpPr>
          <p:spPr>
            <a:xfrm>
              <a:off x="6495728" y="3643919"/>
              <a:ext cx="2178714" cy="1124639"/>
            </a:xfrm>
            <a:custGeom>
              <a:avLst/>
              <a:gdLst>
                <a:gd name="connsiteX0" fmla="*/ 0 w 1639062"/>
                <a:gd name="connsiteY0" fmla="*/ 819531 h 819531"/>
                <a:gd name="connsiteX1" fmla="*/ 819531 w 1639062"/>
                <a:gd name="connsiteY1" fmla="*/ 0 h 819531"/>
                <a:gd name="connsiteX2" fmla="*/ 1639062 w 1639062"/>
                <a:gd name="connsiteY2" fmla="*/ 819531 h 819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9062" h="819531">
                  <a:moveTo>
                    <a:pt x="0" y="819531"/>
                  </a:moveTo>
                  <a:cubicBezTo>
                    <a:pt x="0" y="366903"/>
                    <a:pt x="366903" y="0"/>
                    <a:pt x="819531" y="0"/>
                  </a:cubicBezTo>
                  <a:cubicBezTo>
                    <a:pt x="1272159" y="0"/>
                    <a:pt x="1639062" y="366903"/>
                    <a:pt x="1639062" y="819531"/>
                  </a:cubicBezTo>
                </a:path>
              </a:pathLst>
            </a:custGeom>
            <a:no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913304">
                <a:defRPr/>
              </a:pPr>
              <a:endParaRPr lang="en-US" sz="1796">
                <a:solidFill>
                  <a:srgbClr val="000000"/>
                </a:solidFill>
              </a:endParaRPr>
            </a:p>
          </p:txBody>
        </p:sp>
        <p:sp>
          <p:nvSpPr>
            <p:cNvPr id="26" name="Freeform: Shape 87">
              <a:extLst>
                <a:ext uri="{FF2B5EF4-FFF2-40B4-BE49-F238E27FC236}">
                  <a16:creationId xmlns:a16="http://schemas.microsoft.com/office/drawing/2014/main" id="{26B46D25-65B4-0334-7C2A-D9DA0B4D0FF0}"/>
                </a:ext>
              </a:extLst>
            </p:cNvPr>
            <p:cNvSpPr/>
            <p:nvPr/>
          </p:nvSpPr>
          <p:spPr>
            <a:xfrm>
              <a:off x="4746225" y="1837750"/>
              <a:ext cx="5677723" cy="2930806"/>
            </a:xfrm>
            <a:custGeom>
              <a:avLst/>
              <a:gdLst>
                <a:gd name="connsiteX0" fmla="*/ 0 w 4271391"/>
                <a:gd name="connsiteY0" fmla="*/ 2135696 h 2135695"/>
                <a:gd name="connsiteX1" fmla="*/ 2135696 w 4271391"/>
                <a:gd name="connsiteY1" fmla="*/ 0 h 2135695"/>
                <a:gd name="connsiteX2" fmla="*/ 4271391 w 4271391"/>
                <a:gd name="connsiteY2" fmla="*/ 2135696 h 2135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271391" h="2135695">
                  <a:moveTo>
                    <a:pt x="0" y="2135696"/>
                  </a:moveTo>
                  <a:cubicBezTo>
                    <a:pt x="0" y="956215"/>
                    <a:pt x="956215" y="0"/>
                    <a:pt x="2135696" y="0"/>
                  </a:cubicBezTo>
                  <a:cubicBezTo>
                    <a:pt x="3315176" y="0"/>
                    <a:pt x="4271391" y="956215"/>
                    <a:pt x="4271391" y="2135696"/>
                  </a:cubicBezTo>
                </a:path>
              </a:pathLst>
            </a:custGeom>
            <a:no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913304">
                <a:defRPr/>
              </a:pPr>
              <a:endParaRPr lang="en-US" sz="1796">
                <a:solidFill>
                  <a:srgbClr val="000000"/>
                </a:solidFill>
              </a:endParaRPr>
            </a:p>
          </p:txBody>
        </p:sp>
        <p:sp>
          <p:nvSpPr>
            <p:cNvPr id="27" name="Freeform: Shape 88">
              <a:extLst>
                <a:ext uri="{FF2B5EF4-FFF2-40B4-BE49-F238E27FC236}">
                  <a16:creationId xmlns:a16="http://schemas.microsoft.com/office/drawing/2014/main" id="{A51FBA80-F088-03CF-79F2-5B664D3B38D0}"/>
                </a:ext>
              </a:extLst>
            </p:cNvPr>
            <p:cNvSpPr/>
            <p:nvPr/>
          </p:nvSpPr>
          <p:spPr>
            <a:xfrm>
              <a:off x="8773833" y="1186024"/>
              <a:ext cx="2442823" cy="3053544"/>
            </a:xfrm>
            <a:custGeom>
              <a:avLst/>
              <a:gdLst>
                <a:gd name="connsiteX0" fmla="*/ 0 w 1837753"/>
                <a:gd name="connsiteY0" fmla="*/ 0 h 2225135"/>
                <a:gd name="connsiteX1" fmla="*/ 1837754 w 1837753"/>
                <a:gd name="connsiteY1" fmla="*/ 2225135 h 2225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37753" h="2225135">
                  <a:moveTo>
                    <a:pt x="0" y="0"/>
                  </a:moveTo>
                  <a:cubicBezTo>
                    <a:pt x="967454" y="331375"/>
                    <a:pt x="1692307" y="1185386"/>
                    <a:pt x="1837754" y="2225135"/>
                  </a:cubicBezTo>
                </a:path>
              </a:pathLst>
            </a:custGeom>
            <a:noFill/>
            <a:ln w="12700" cap="flat">
              <a:solidFill>
                <a:srgbClr val="AFBAC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913304">
                <a:defRPr/>
              </a:pPr>
              <a:endParaRPr lang="en-US" sz="1796">
                <a:solidFill>
                  <a:srgbClr val="000000"/>
                </a:solidFill>
              </a:endParaRPr>
            </a:p>
          </p:txBody>
        </p:sp>
        <p:sp>
          <p:nvSpPr>
            <p:cNvPr id="28" name="Freeform: Shape 89">
              <a:extLst>
                <a:ext uri="{FF2B5EF4-FFF2-40B4-BE49-F238E27FC236}">
                  <a16:creationId xmlns:a16="http://schemas.microsoft.com/office/drawing/2014/main" id="{7BAE15FC-4081-B974-378B-79E173D6D406}"/>
                </a:ext>
              </a:extLst>
            </p:cNvPr>
            <p:cNvSpPr/>
            <p:nvPr/>
          </p:nvSpPr>
          <p:spPr>
            <a:xfrm>
              <a:off x="3953262" y="1186024"/>
              <a:ext cx="2442823" cy="3053544"/>
            </a:xfrm>
            <a:custGeom>
              <a:avLst/>
              <a:gdLst>
                <a:gd name="connsiteX0" fmla="*/ 0 w 1837753"/>
                <a:gd name="connsiteY0" fmla="*/ 2225135 h 2225135"/>
                <a:gd name="connsiteX1" fmla="*/ 1837754 w 1837753"/>
                <a:gd name="connsiteY1" fmla="*/ 0 h 2225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37753" h="2225135">
                  <a:moveTo>
                    <a:pt x="0" y="2225135"/>
                  </a:moveTo>
                  <a:cubicBezTo>
                    <a:pt x="145352" y="1185386"/>
                    <a:pt x="870299" y="331375"/>
                    <a:pt x="1837754" y="0"/>
                  </a:cubicBezTo>
                </a:path>
              </a:pathLst>
            </a:custGeom>
            <a:noFill/>
            <a:ln w="12700" cap="flat">
              <a:solidFill>
                <a:srgbClr val="AFBAC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913304">
                <a:defRPr/>
              </a:pPr>
              <a:endParaRPr lang="en-US" sz="1796">
                <a:solidFill>
                  <a:srgbClr val="000000"/>
                </a:solidFill>
              </a:endParaRPr>
            </a:p>
          </p:txBody>
        </p:sp>
        <p:sp>
          <p:nvSpPr>
            <p:cNvPr id="29" name="Freeform: Shape 90">
              <a:extLst>
                <a:ext uri="{FF2B5EF4-FFF2-40B4-BE49-F238E27FC236}">
                  <a16:creationId xmlns:a16="http://schemas.microsoft.com/office/drawing/2014/main" id="{4FFC4E4C-7256-8CAA-ED36-D4F6F453E994}"/>
                </a:ext>
              </a:extLst>
            </p:cNvPr>
            <p:cNvSpPr/>
            <p:nvPr/>
          </p:nvSpPr>
          <p:spPr>
            <a:xfrm>
              <a:off x="6171860" y="2226093"/>
              <a:ext cx="648624" cy="1205941"/>
            </a:xfrm>
            <a:custGeom>
              <a:avLst/>
              <a:gdLst>
                <a:gd name="connsiteX0" fmla="*/ 487966 w 487965"/>
                <a:gd name="connsiteY0" fmla="*/ 878777 h 878776"/>
                <a:gd name="connsiteX1" fmla="*/ 0 w 487965"/>
                <a:gd name="connsiteY1" fmla="*/ 0 h 878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7965" h="878776">
                  <a:moveTo>
                    <a:pt x="487966" y="878777"/>
                  </a:moveTo>
                  <a:lnTo>
                    <a:pt x="0" y="0"/>
                  </a:lnTo>
                </a:path>
              </a:pathLst>
            </a:custGeom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913304">
                <a:defRPr/>
              </a:pPr>
              <a:endParaRPr lang="en-US" sz="1796">
                <a:solidFill>
                  <a:srgbClr val="000000"/>
                </a:solidFill>
              </a:endParaRPr>
            </a:p>
          </p:txBody>
        </p:sp>
        <p:sp>
          <p:nvSpPr>
            <p:cNvPr id="30" name="Freeform: Shape 91">
              <a:extLst>
                <a:ext uri="{FF2B5EF4-FFF2-40B4-BE49-F238E27FC236}">
                  <a16:creationId xmlns:a16="http://schemas.microsoft.com/office/drawing/2014/main" id="{DA352044-4280-F0F9-4DAD-6A0D993DA9F9}"/>
                </a:ext>
              </a:extLst>
            </p:cNvPr>
            <p:cNvSpPr/>
            <p:nvPr/>
          </p:nvSpPr>
          <p:spPr>
            <a:xfrm>
              <a:off x="8333228" y="2234982"/>
              <a:ext cx="679265" cy="1187248"/>
            </a:xfrm>
            <a:custGeom>
              <a:avLst/>
              <a:gdLst>
                <a:gd name="connsiteX0" fmla="*/ 0 w 511016"/>
                <a:gd name="connsiteY0" fmla="*/ 865156 h 865155"/>
                <a:gd name="connsiteX1" fmla="*/ 511016 w 511016"/>
                <a:gd name="connsiteY1" fmla="*/ 0 h 865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11016" h="865155">
                  <a:moveTo>
                    <a:pt x="0" y="865156"/>
                  </a:moveTo>
                  <a:lnTo>
                    <a:pt x="511016" y="0"/>
                  </a:lnTo>
                </a:path>
              </a:pathLst>
            </a:custGeom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913304">
                <a:defRPr/>
              </a:pPr>
              <a:endParaRPr lang="en-US" sz="1796">
                <a:solidFill>
                  <a:srgbClr val="000000"/>
                </a:solidFill>
              </a:endParaRPr>
            </a:p>
          </p:txBody>
        </p:sp>
        <p:grpSp>
          <p:nvGrpSpPr>
            <p:cNvPr id="31" name="Graphic 2">
              <a:extLst>
                <a:ext uri="{FF2B5EF4-FFF2-40B4-BE49-F238E27FC236}">
                  <a16:creationId xmlns:a16="http://schemas.microsoft.com/office/drawing/2014/main" id="{EFC08C25-9606-4061-37E5-4A34A0E06B02}"/>
                </a:ext>
              </a:extLst>
            </p:cNvPr>
            <p:cNvGrpSpPr/>
            <p:nvPr/>
          </p:nvGrpSpPr>
          <p:grpSpPr>
            <a:xfrm>
              <a:off x="5787635" y="4989771"/>
              <a:ext cx="3596139" cy="251093"/>
              <a:chOff x="4745259" y="5054155"/>
              <a:chExt cx="2705386" cy="182975"/>
            </a:xfrm>
            <a:solidFill>
              <a:srgbClr val="FFFFFF"/>
            </a:solidFill>
          </p:grpSpPr>
          <p:sp>
            <p:nvSpPr>
              <p:cNvPr id="437" name="Freeform: Shape 270">
                <a:extLst>
                  <a:ext uri="{FF2B5EF4-FFF2-40B4-BE49-F238E27FC236}">
                    <a16:creationId xmlns:a16="http://schemas.microsoft.com/office/drawing/2014/main" id="{E5EC2F0B-E9DF-89C1-0821-80F5BE1EB587}"/>
                  </a:ext>
                </a:extLst>
              </p:cNvPr>
              <p:cNvSpPr/>
              <p:nvPr/>
            </p:nvSpPr>
            <p:spPr>
              <a:xfrm>
                <a:off x="4745259" y="5066347"/>
                <a:ext cx="107632" cy="131064"/>
              </a:xfrm>
              <a:custGeom>
                <a:avLst/>
                <a:gdLst>
                  <a:gd name="connsiteX0" fmla="*/ 0 w 107632"/>
                  <a:gd name="connsiteY0" fmla="*/ 0 h 131064"/>
                  <a:gd name="connsiteX1" fmla="*/ 55245 w 107632"/>
                  <a:gd name="connsiteY1" fmla="*/ 0 h 131064"/>
                  <a:gd name="connsiteX2" fmla="*/ 91345 w 107632"/>
                  <a:gd name="connsiteY2" fmla="*/ 8192 h 131064"/>
                  <a:gd name="connsiteX3" fmla="*/ 103822 w 107632"/>
                  <a:gd name="connsiteY3" fmla="*/ 32861 h 131064"/>
                  <a:gd name="connsiteX4" fmla="*/ 97536 w 107632"/>
                  <a:gd name="connsiteY4" fmla="*/ 51816 h 131064"/>
                  <a:gd name="connsiteX5" fmla="*/ 78867 w 107632"/>
                  <a:gd name="connsiteY5" fmla="*/ 62103 h 131064"/>
                  <a:gd name="connsiteX6" fmla="*/ 100203 w 107632"/>
                  <a:gd name="connsiteY6" fmla="*/ 72104 h 131064"/>
                  <a:gd name="connsiteX7" fmla="*/ 107632 w 107632"/>
                  <a:gd name="connsiteY7" fmla="*/ 93726 h 131064"/>
                  <a:gd name="connsiteX8" fmla="*/ 100965 w 107632"/>
                  <a:gd name="connsiteY8" fmla="*/ 114776 h 131064"/>
                  <a:gd name="connsiteX9" fmla="*/ 82868 w 107632"/>
                  <a:gd name="connsiteY9" fmla="*/ 127063 h 131064"/>
                  <a:gd name="connsiteX10" fmla="*/ 57055 w 107632"/>
                  <a:gd name="connsiteY10" fmla="*/ 131064 h 131064"/>
                  <a:gd name="connsiteX11" fmla="*/ 0 w 107632"/>
                  <a:gd name="connsiteY11" fmla="*/ 131064 h 131064"/>
                  <a:gd name="connsiteX12" fmla="*/ 0 w 107632"/>
                  <a:gd name="connsiteY12" fmla="*/ 0 h 131064"/>
                  <a:gd name="connsiteX13" fmla="*/ 52197 w 107632"/>
                  <a:gd name="connsiteY13" fmla="*/ 52006 h 131064"/>
                  <a:gd name="connsiteX14" fmla="*/ 70390 w 107632"/>
                  <a:gd name="connsiteY14" fmla="*/ 48196 h 131064"/>
                  <a:gd name="connsiteX15" fmla="*/ 76200 w 107632"/>
                  <a:gd name="connsiteY15" fmla="*/ 36576 h 131064"/>
                  <a:gd name="connsiteX16" fmla="*/ 70675 w 107632"/>
                  <a:gd name="connsiteY16" fmla="*/ 24955 h 131064"/>
                  <a:gd name="connsiteX17" fmla="*/ 53912 w 107632"/>
                  <a:gd name="connsiteY17" fmla="*/ 21431 h 131064"/>
                  <a:gd name="connsiteX18" fmla="*/ 27432 w 107632"/>
                  <a:gd name="connsiteY18" fmla="*/ 21431 h 131064"/>
                  <a:gd name="connsiteX19" fmla="*/ 27432 w 107632"/>
                  <a:gd name="connsiteY19" fmla="*/ 51911 h 131064"/>
                  <a:gd name="connsiteX20" fmla="*/ 52197 w 107632"/>
                  <a:gd name="connsiteY20" fmla="*/ 51911 h 131064"/>
                  <a:gd name="connsiteX21" fmla="*/ 54673 w 107632"/>
                  <a:gd name="connsiteY21" fmla="*/ 109442 h 131064"/>
                  <a:gd name="connsiteX22" fmla="*/ 73247 w 107632"/>
                  <a:gd name="connsiteY22" fmla="*/ 105442 h 131064"/>
                  <a:gd name="connsiteX23" fmla="*/ 79915 w 107632"/>
                  <a:gd name="connsiteY23" fmla="*/ 91535 h 131064"/>
                  <a:gd name="connsiteX24" fmla="*/ 73343 w 107632"/>
                  <a:gd name="connsiteY24" fmla="*/ 78105 h 131064"/>
                  <a:gd name="connsiteX25" fmla="*/ 55531 w 107632"/>
                  <a:gd name="connsiteY25" fmla="*/ 74104 h 131064"/>
                  <a:gd name="connsiteX26" fmla="*/ 27337 w 107632"/>
                  <a:gd name="connsiteY26" fmla="*/ 74104 h 131064"/>
                  <a:gd name="connsiteX27" fmla="*/ 27337 w 107632"/>
                  <a:gd name="connsiteY27" fmla="*/ 109538 h 131064"/>
                  <a:gd name="connsiteX28" fmla="*/ 54578 w 107632"/>
                  <a:gd name="connsiteY28" fmla="*/ 109538 h 1310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107632" h="131064">
                    <a:moveTo>
                      <a:pt x="0" y="0"/>
                    </a:moveTo>
                    <a:lnTo>
                      <a:pt x="55245" y="0"/>
                    </a:lnTo>
                    <a:cubicBezTo>
                      <a:pt x="70961" y="0"/>
                      <a:pt x="83058" y="2762"/>
                      <a:pt x="91345" y="8192"/>
                    </a:cubicBezTo>
                    <a:cubicBezTo>
                      <a:pt x="99631" y="13621"/>
                      <a:pt x="103822" y="21908"/>
                      <a:pt x="103822" y="32861"/>
                    </a:cubicBezTo>
                    <a:cubicBezTo>
                      <a:pt x="103822" y="40386"/>
                      <a:pt x="101727" y="46768"/>
                      <a:pt x="97536" y="51816"/>
                    </a:cubicBezTo>
                    <a:cubicBezTo>
                      <a:pt x="93345" y="56864"/>
                      <a:pt x="87154" y="60293"/>
                      <a:pt x="78867" y="62103"/>
                    </a:cubicBezTo>
                    <a:cubicBezTo>
                      <a:pt x="88106" y="63341"/>
                      <a:pt x="95250" y="66675"/>
                      <a:pt x="100203" y="72104"/>
                    </a:cubicBezTo>
                    <a:cubicBezTo>
                      <a:pt x="105156" y="77534"/>
                      <a:pt x="107632" y="84772"/>
                      <a:pt x="107632" y="93726"/>
                    </a:cubicBezTo>
                    <a:cubicBezTo>
                      <a:pt x="107632" y="102203"/>
                      <a:pt x="105442" y="109252"/>
                      <a:pt x="100965" y="114776"/>
                    </a:cubicBezTo>
                    <a:cubicBezTo>
                      <a:pt x="96488" y="120301"/>
                      <a:pt x="90488" y="124396"/>
                      <a:pt x="82868" y="127063"/>
                    </a:cubicBezTo>
                    <a:cubicBezTo>
                      <a:pt x="75247" y="129730"/>
                      <a:pt x="66675" y="131064"/>
                      <a:pt x="57055" y="131064"/>
                    </a:cubicBezTo>
                    <a:lnTo>
                      <a:pt x="0" y="131064"/>
                    </a:lnTo>
                    <a:lnTo>
                      <a:pt x="0" y="0"/>
                    </a:lnTo>
                    <a:close/>
                    <a:moveTo>
                      <a:pt x="52197" y="52006"/>
                    </a:moveTo>
                    <a:cubicBezTo>
                      <a:pt x="60484" y="52006"/>
                      <a:pt x="66580" y="50768"/>
                      <a:pt x="70390" y="48196"/>
                    </a:cubicBezTo>
                    <a:cubicBezTo>
                      <a:pt x="74200" y="45625"/>
                      <a:pt x="76200" y="41815"/>
                      <a:pt x="76200" y="36576"/>
                    </a:cubicBezTo>
                    <a:cubicBezTo>
                      <a:pt x="76200" y="31337"/>
                      <a:pt x="74390" y="27337"/>
                      <a:pt x="70675" y="24955"/>
                    </a:cubicBezTo>
                    <a:cubicBezTo>
                      <a:pt x="66961" y="22574"/>
                      <a:pt x="61436" y="21431"/>
                      <a:pt x="53912" y="21431"/>
                    </a:cubicBezTo>
                    <a:lnTo>
                      <a:pt x="27432" y="21431"/>
                    </a:lnTo>
                    <a:lnTo>
                      <a:pt x="27432" y="51911"/>
                    </a:lnTo>
                    <a:lnTo>
                      <a:pt x="52197" y="51911"/>
                    </a:lnTo>
                    <a:close/>
                    <a:moveTo>
                      <a:pt x="54673" y="109442"/>
                    </a:moveTo>
                    <a:cubicBezTo>
                      <a:pt x="62579" y="109442"/>
                      <a:pt x="68771" y="108109"/>
                      <a:pt x="73247" y="105442"/>
                    </a:cubicBezTo>
                    <a:cubicBezTo>
                      <a:pt x="77724" y="102775"/>
                      <a:pt x="79915" y="98108"/>
                      <a:pt x="79915" y="91535"/>
                    </a:cubicBezTo>
                    <a:cubicBezTo>
                      <a:pt x="79915" y="85249"/>
                      <a:pt x="77724" y="80772"/>
                      <a:pt x="73343" y="78105"/>
                    </a:cubicBezTo>
                    <a:cubicBezTo>
                      <a:pt x="68961" y="75438"/>
                      <a:pt x="63055" y="74104"/>
                      <a:pt x="55531" y="74104"/>
                    </a:cubicBezTo>
                    <a:lnTo>
                      <a:pt x="27337" y="74104"/>
                    </a:lnTo>
                    <a:lnTo>
                      <a:pt x="27337" y="109538"/>
                    </a:lnTo>
                    <a:lnTo>
                      <a:pt x="54578" y="109538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38" name="Freeform: Shape 271">
                <a:extLst>
                  <a:ext uri="{FF2B5EF4-FFF2-40B4-BE49-F238E27FC236}">
                    <a16:creationId xmlns:a16="http://schemas.microsoft.com/office/drawing/2014/main" id="{4AFD9D09-F623-E9D6-76D1-0048342A3C46}"/>
                  </a:ext>
                </a:extLst>
              </p:cNvPr>
              <p:cNvSpPr/>
              <p:nvPr/>
            </p:nvSpPr>
            <p:spPr>
              <a:xfrm>
                <a:off x="4873371" y="5096922"/>
                <a:ext cx="91820" cy="102393"/>
              </a:xfrm>
              <a:custGeom>
                <a:avLst/>
                <a:gdLst>
                  <a:gd name="connsiteX0" fmla="*/ 7906 w 91820"/>
                  <a:gd name="connsiteY0" fmla="*/ 91916 h 102393"/>
                  <a:gd name="connsiteX1" fmla="*/ 0 w 91820"/>
                  <a:gd name="connsiteY1" fmla="*/ 63818 h 102393"/>
                  <a:gd name="connsiteX2" fmla="*/ 0 w 91820"/>
                  <a:gd name="connsiteY2" fmla="*/ 0 h 102393"/>
                  <a:gd name="connsiteX3" fmla="*/ 26098 w 91820"/>
                  <a:gd name="connsiteY3" fmla="*/ 0 h 102393"/>
                  <a:gd name="connsiteX4" fmla="*/ 26098 w 91820"/>
                  <a:gd name="connsiteY4" fmla="*/ 56388 h 102393"/>
                  <a:gd name="connsiteX5" fmla="*/ 29908 w 91820"/>
                  <a:gd name="connsiteY5" fmla="*/ 73819 h 102393"/>
                  <a:gd name="connsiteX6" fmla="*/ 43053 w 91820"/>
                  <a:gd name="connsiteY6" fmla="*/ 80010 h 102393"/>
                  <a:gd name="connsiteX7" fmla="*/ 54292 w 91820"/>
                  <a:gd name="connsiteY7" fmla="*/ 76676 h 102393"/>
                  <a:gd name="connsiteX8" fmla="*/ 62198 w 91820"/>
                  <a:gd name="connsiteY8" fmla="*/ 67437 h 102393"/>
                  <a:gd name="connsiteX9" fmla="*/ 65056 w 91820"/>
                  <a:gd name="connsiteY9" fmla="*/ 53816 h 102393"/>
                  <a:gd name="connsiteX10" fmla="*/ 65056 w 91820"/>
                  <a:gd name="connsiteY10" fmla="*/ 0 h 102393"/>
                  <a:gd name="connsiteX11" fmla="*/ 91154 w 91820"/>
                  <a:gd name="connsiteY11" fmla="*/ 0 h 102393"/>
                  <a:gd name="connsiteX12" fmla="*/ 91154 w 91820"/>
                  <a:gd name="connsiteY12" fmla="*/ 78010 h 102393"/>
                  <a:gd name="connsiteX13" fmla="*/ 91345 w 91820"/>
                  <a:gd name="connsiteY13" fmla="*/ 91154 h 102393"/>
                  <a:gd name="connsiteX14" fmla="*/ 91821 w 91820"/>
                  <a:gd name="connsiteY14" fmla="*/ 100489 h 102393"/>
                  <a:gd name="connsiteX15" fmla="*/ 66865 w 91820"/>
                  <a:gd name="connsiteY15" fmla="*/ 100489 h 102393"/>
                  <a:gd name="connsiteX16" fmla="*/ 66199 w 91820"/>
                  <a:gd name="connsiteY16" fmla="*/ 92107 h 102393"/>
                  <a:gd name="connsiteX17" fmla="*/ 65817 w 91820"/>
                  <a:gd name="connsiteY17" fmla="*/ 82391 h 102393"/>
                  <a:gd name="connsiteX18" fmla="*/ 65341 w 91820"/>
                  <a:gd name="connsiteY18" fmla="*/ 82391 h 102393"/>
                  <a:gd name="connsiteX19" fmla="*/ 52197 w 91820"/>
                  <a:gd name="connsiteY19" fmla="*/ 97536 h 102393"/>
                  <a:gd name="connsiteX20" fmla="*/ 32956 w 91820"/>
                  <a:gd name="connsiteY20" fmla="*/ 102394 h 102393"/>
                  <a:gd name="connsiteX21" fmla="*/ 7810 w 91820"/>
                  <a:gd name="connsiteY21" fmla="*/ 91916 h 1023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91820" h="102393">
                    <a:moveTo>
                      <a:pt x="7906" y="91916"/>
                    </a:moveTo>
                    <a:cubicBezTo>
                      <a:pt x="2572" y="84963"/>
                      <a:pt x="0" y="75533"/>
                      <a:pt x="0" y="63818"/>
                    </a:cubicBezTo>
                    <a:lnTo>
                      <a:pt x="0" y="0"/>
                    </a:lnTo>
                    <a:lnTo>
                      <a:pt x="26098" y="0"/>
                    </a:lnTo>
                    <a:lnTo>
                      <a:pt x="26098" y="56388"/>
                    </a:lnTo>
                    <a:cubicBezTo>
                      <a:pt x="26098" y="63913"/>
                      <a:pt x="27337" y="69723"/>
                      <a:pt x="29908" y="73819"/>
                    </a:cubicBezTo>
                    <a:cubicBezTo>
                      <a:pt x="32480" y="77915"/>
                      <a:pt x="36862" y="80010"/>
                      <a:pt x="43053" y="80010"/>
                    </a:cubicBezTo>
                    <a:cubicBezTo>
                      <a:pt x="47244" y="80010"/>
                      <a:pt x="50959" y="78867"/>
                      <a:pt x="54292" y="76676"/>
                    </a:cubicBezTo>
                    <a:cubicBezTo>
                      <a:pt x="57626" y="74486"/>
                      <a:pt x="60293" y="71342"/>
                      <a:pt x="62198" y="67437"/>
                    </a:cubicBezTo>
                    <a:cubicBezTo>
                      <a:pt x="64103" y="63437"/>
                      <a:pt x="65056" y="58960"/>
                      <a:pt x="65056" y="53816"/>
                    </a:cubicBezTo>
                    <a:lnTo>
                      <a:pt x="65056" y="0"/>
                    </a:lnTo>
                    <a:lnTo>
                      <a:pt x="91154" y="0"/>
                    </a:lnTo>
                    <a:lnTo>
                      <a:pt x="91154" y="78010"/>
                    </a:lnTo>
                    <a:cubicBezTo>
                      <a:pt x="91154" y="82201"/>
                      <a:pt x="91154" y="86583"/>
                      <a:pt x="91345" y="91154"/>
                    </a:cubicBezTo>
                    <a:cubicBezTo>
                      <a:pt x="91535" y="95726"/>
                      <a:pt x="91630" y="98870"/>
                      <a:pt x="91821" y="100489"/>
                    </a:cubicBezTo>
                    <a:lnTo>
                      <a:pt x="66865" y="100489"/>
                    </a:lnTo>
                    <a:cubicBezTo>
                      <a:pt x="66675" y="98965"/>
                      <a:pt x="66484" y="96203"/>
                      <a:pt x="66199" y="92107"/>
                    </a:cubicBezTo>
                    <a:cubicBezTo>
                      <a:pt x="65913" y="88011"/>
                      <a:pt x="65817" y="84773"/>
                      <a:pt x="65817" y="82391"/>
                    </a:cubicBezTo>
                    <a:lnTo>
                      <a:pt x="65341" y="82391"/>
                    </a:lnTo>
                    <a:cubicBezTo>
                      <a:pt x="61913" y="89249"/>
                      <a:pt x="57531" y="94298"/>
                      <a:pt x="52197" y="97536"/>
                    </a:cubicBezTo>
                    <a:cubicBezTo>
                      <a:pt x="46863" y="100775"/>
                      <a:pt x="40386" y="102394"/>
                      <a:pt x="32956" y="102394"/>
                    </a:cubicBezTo>
                    <a:cubicBezTo>
                      <a:pt x="21526" y="102394"/>
                      <a:pt x="13144" y="98870"/>
                      <a:pt x="7810" y="91916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39" name="Freeform: Shape 272">
                <a:extLst>
                  <a:ext uri="{FF2B5EF4-FFF2-40B4-BE49-F238E27FC236}">
                    <a16:creationId xmlns:a16="http://schemas.microsoft.com/office/drawing/2014/main" id="{1AEC69EB-CF94-E702-6305-5C73CA9C5AC4}"/>
                  </a:ext>
                </a:extLst>
              </p:cNvPr>
              <p:cNvSpPr/>
              <p:nvPr/>
            </p:nvSpPr>
            <p:spPr>
              <a:xfrm>
                <a:off x="4982336" y="5095017"/>
                <a:ext cx="84105" cy="104393"/>
              </a:xfrm>
              <a:custGeom>
                <a:avLst/>
                <a:gdLst>
                  <a:gd name="connsiteX0" fmla="*/ 19526 w 84105"/>
                  <a:gd name="connsiteY0" fmla="*/ 100870 h 104393"/>
                  <a:gd name="connsiteX1" fmla="*/ 0 w 84105"/>
                  <a:gd name="connsiteY1" fmla="*/ 89916 h 104393"/>
                  <a:gd name="connsiteX2" fmla="*/ 11811 w 84105"/>
                  <a:gd name="connsiteY2" fmla="*/ 72009 h 104393"/>
                  <a:gd name="connsiteX3" fmla="*/ 27337 w 84105"/>
                  <a:gd name="connsiteY3" fmla="*/ 81629 h 104393"/>
                  <a:gd name="connsiteX4" fmla="*/ 42672 w 84105"/>
                  <a:gd name="connsiteY4" fmla="*/ 84868 h 104393"/>
                  <a:gd name="connsiteX5" fmla="*/ 55531 w 84105"/>
                  <a:gd name="connsiteY5" fmla="*/ 82772 h 104393"/>
                  <a:gd name="connsiteX6" fmla="*/ 60103 w 84105"/>
                  <a:gd name="connsiteY6" fmla="*/ 75247 h 104393"/>
                  <a:gd name="connsiteX7" fmla="*/ 57722 w 84105"/>
                  <a:gd name="connsiteY7" fmla="*/ 69056 h 104393"/>
                  <a:gd name="connsiteX8" fmla="*/ 51530 w 84105"/>
                  <a:gd name="connsiteY8" fmla="*/ 65437 h 104393"/>
                  <a:gd name="connsiteX9" fmla="*/ 40862 w 84105"/>
                  <a:gd name="connsiteY9" fmla="*/ 62579 h 104393"/>
                  <a:gd name="connsiteX10" fmla="*/ 35909 w 84105"/>
                  <a:gd name="connsiteY10" fmla="*/ 61341 h 104393"/>
                  <a:gd name="connsiteX11" fmla="*/ 19050 w 84105"/>
                  <a:gd name="connsiteY11" fmla="*/ 55531 h 104393"/>
                  <a:gd name="connsiteX12" fmla="*/ 8001 w 84105"/>
                  <a:gd name="connsiteY12" fmla="*/ 46291 h 104393"/>
                  <a:gd name="connsiteX13" fmla="*/ 3715 w 84105"/>
                  <a:gd name="connsiteY13" fmla="*/ 30480 h 104393"/>
                  <a:gd name="connsiteX14" fmla="*/ 8287 w 84105"/>
                  <a:gd name="connsiteY14" fmla="*/ 14192 h 104393"/>
                  <a:gd name="connsiteX15" fmla="*/ 21717 w 84105"/>
                  <a:gd name="connsiteY15" fmla="*/ 3715 h 104393"/>
                  <a:gd name="connsiteX16" fmla="*/ 43053 w 84105"/>
                  <a:gd name="connsiteY16" fmla="*/ 0 h 104393"/>
                  <a:gd name="connsiteX17" fmla="*/ 64770 w 84105"/>
                  <a:gd name="connsiteY17" fmla="*/ 3620 h 104393"/>
                  <a:gd name="connsiteX18" fmla="*/ 81534 w 84105"/>
                  <a:gd name="connsiteY18" fmla="*/ 14478 h 104393"/>
                  <a:gd name="connsiteX19" fmla="*/ 68104 w 84105"/>
                  <a:gd name="connsiteY19" fmla="*/ 29908 h 104393"/>
                  <a:gd name="connsiteX20" fmla="*/ 43148 w 84105"/>
                  <a:gd name="connsiteY20" fmla="*/ 19431 h 104393"/>
                  <a:gd name="connsiteX21" fmla="*/ 27718 w 84105"/>
                  <a:gd name="connsiteY21" fmla="*/ 28385 h 104393"/>
                  <a:gd name="connsiteX22" fmla="*/ 29718 w 84105"/>
                  <a:gd name="connsiteY22" fmla="*/ 33814 h 104393"/>
                  <a:gd name="connsiteX23" fmla="*/ 34957 w 84105"/>
                  <a:gd name="connsiteY23" fmla="*/ 36957 h 104393"/>
                  <a:gd name="connsiteX24" fmla="*/ 44387 w 84105"/>
                  <a:gd name="connsiteY24" fmla="*/ 39433 h 104393"/>
                  <a:gd name="connsiteX25" fmla="*/ 49149 w 84105"/>
                  <a:gd name="connsiteY25" fmla="*/ 40577 h 104393"/>
                  <a:gd name="connsiteX26" fmla="*/ 67533 w 84105"/>
                  <a:gd name="connsiteY26" fmla="*/ 46577 h 104393"/>
                  <a:gd name="connsiteX27" fmla="*/ 79439 w 84105"/>
                  <a:gd name="connsiteY27" fmla="*/ 56197 h 104393"/>
                  <a:gd name="connsiteX28" fmla="*/ 84106 w 84105"/>
                  <a:gd name="connsiteY28" fmla="*/ 73247 h 104393"/>
                  <a:gd name="connsiteX29" fmla="*/ 79248 w 84105"/>
                  <a:gd name="connsiteY29" fmla="*/ 89821 h 104393"/>
                  <a:gd name="connsiteX30" fmla="*/ 65056 w 84105"/>
                  <a:gd name="connsiteY30" fmla="*/ 100584 h 104393"/>
                  <a:gd name="connsiteX31" fmla="*/ 42672 w 84105"/>
                  <a:gd name="connsiteY31" fmla="*/ 104394 h 104393"/>
                  <a:gd name="connsiteX32" fmla="*/ 19431 w 84105"/>
                  <a:gd name="connsiteY32" fmla="*/ 100965 h 1043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84105" h="104393">
                    <a:moveTo>
                      <a:pt x="19526" y="100870"/>
                    </a:moveTo>
                    <a:cubicBezTo>
                      <a:pt x="12764" y="98584"/>
                      <a:pt x="6287" y="94964"/>
                      <a:pt x="0" y="89916"/>
                    </a:cubicBezTo>
                    <a:lnTo>
                      <a:pt x="11811" y="72009"/>
                    </a:lnTo>
                    <a:cubicBezTo>
                      <a:pt x="17431" y="76295"/>
                      <a:pt x="22574" y="79534"/>
                      <a:pt x="27337" y="81629"/>
                    </a:cubicBezTo>
                    <a:cubicBezTo>
                      <a:pt x="32099" y="83725"/>
                      <a:pt x="37243" y="84868"/>
                      <a:pt x="42672" y="84868"/>
                    </a:cubicBezTo>
                    <a:cubicBezTo>
                      <a:pt x="48101" y="84868"/>
                      <a:pt x="52483" y="84201"/>
                      <a:pt x="55531" y="82772"/>
                    </a:cubicBezTo>
                    <a:cubicBezTo>
                      <a:pt x="58579" y="81344"/>
                      <a:pt x="60103" y="78867"/>
                      <a:pt x="60103" y="75247"/>
                    </a:cubicBezTo>
                    <a:cubicBezTo>
                      <a:pt x="60103" y="72676"/>
                      <a:pt x="59341" y="70580"/>
                      <a:pt x="57722" y="69056"/>
                    </a:cubicBezTo>
                    <a:cubicBezTo>
                      <a:pt x="56102" y="67532"/>
                      <a:pt x="54007" y="66294"/>
                      <a:pt x="51530" y="65437"/>
                    </a:cubicBezTo>
                    <a:cubicBezTo>
                      <a:pt x="49054" y="64579"/>
                      <a:pt x="45434" y="63627"/>
                      <a:pt x="40862" y="62579"/>
                    </a:cubicBezTo>
                    <a:lnTo>
                      <a:pt x="35909" y="61341"/>
                    </a:lnTo>
                    <a:cubicBezTo>
                      <a:pt x="29147" y="59627"/>
                      <a:pt x="23527" y="57626"/>
                      <a:pt x="19050" y="55531"/>
                    </a:cubicBezTo>
                    <a:cubicBezTo>
                      <a:pt x="14573" y="53435"/>
                      <a:pt x="10859" y="50292"/>
                      <a:pt x="8001" y="46291"/>
                    </a:cubicBezTo>
                    <a:cubicBezTo>
                      <a:pt x="5144" y="42291"/>
                      <a:pt x="3715" y="36957"/>
                      <a:pt x="3715" y="30480"/>
                    </a:cubicBezTo>
                    <a:cubicBezTo>
                      <a:pt x="3715" y="24003"/>
                      <a:pt x="5239" y="18669"/>
                      <a:pt x="8287" y="14192"/>
                    </a:cubicBezTo>
                    <a:cubicBezTo>
                      <a:pt x="11335" y="9715"/>
                      <a:pt x="15812" y="6096"/>
                      <a:pt x="21717" y="3715"/>
                    </a:cubicBezTo>
                    <a:cubicBezTo>
                      <a:pt x="27623" y="1238"/>
                      <a:pt x="34671" y="0"/>
                      <a:pt x="43053" y="0"/>
                    </a:cubicBezTo>
                    <a:cubicBezTo>
                      <a:pt x="51435" y="0"/>
                      <a:pt x="58198" y="1238"/>
                      <a:pt x="64770" y="3620"/>
                    </a:cubicBezTo>
                    <a:cubicBezTo>
                      <a:pt x="71342" y="6001"/>
                      <a:pt x="76867" y="9620"/>
                      <a:pt x="81534" y="14478"/>
                    </a:cubicBezTo>
                    <a:lnTo>
                      <a:pt x="68104" y="29908"/>
                    </a:lnTo>
                    <a:cubicBezTo>
                      <a:pt x="60960" y="22860"/>
                      <a:pt x="52673" y="19431"/>
                      <a:pt x="43148" y="19431"/>
                    </a:cubicBezTo>
                    <a:cubicBezTo>
                      <a:pt x="32861" y="19431"/>
                      <a:pt x="27718" y="22384"/>
                      <a:pt x="27718" y="28385"/>
                    </a:cubicBezTo>
                    <a:cubicBezTo>
                      <a:pt x="27718" y="30671"/>
                      <a:pt x="28385" y="32480"/>
                      <a:pt x="29718" y="33814"/>
                    </a:cubicBezTo>
                    <a:cubicBezTo>
                      <a:pt x="31052" y="35147"/>
                      <a:pt x="32766" y="36195"/>
                      <a:pt x="34957" y="36957"/>
                    </a:cubicBezTo>
                    <a:cubicBezTo>
                      <a:pt x="37148" y="37719"/>
                      <a:pt x="40291" y="38576"/>
                      <a:pt x="44387" y="39433"/>
                    </a:cubicBezTo>
                    <a:lnTo>
                      <a:pt x="49149" y="40577"/>
                    </a:lnTo>
                    <a:cubicBezTo>
                      <a:pt x="56579" y="42481"/>
                      <a:pt x="62675" y="44482"/>
                      <a:pt x="67533" y="46577"/>
                    </a:cubicBezTo>
                    <a:cubicBezTo>
                      <a:pt x="72390" y="48673"/>
                      <a:pt x="76295" y="51911"/>
                      <a:pt x="79439" y="56197"/>
                    </a:cubicBezTo>
                    <a:cubicBezTo>
                      <a:pt x="82582" y="60484"/>
                      <a:pt x="84106" y="66104"/>
                      <a:pt x="84106" y="73247"/>
                    </a:cubicBezTo>
                    <a:cubicBezTo>
                      <a:pt x="84106" y="79629"/>
                      <a:pt x="82487" y="85154"/>
                      <a:pt x="79248" y="89821"/>
                    </a:cubicBezTo>
                    <a:cubicBezTo>
                      <a:pt x="76010" y="94488"/>
                      <a:pt x="71247" y="98107"/>
                      <a:pt x="65056" y="100584"/>
                    </a:cubicBezTo>
                    <a:cubicBezTo>
                      <a:pt x="58865" y="103061"/>
                      <a:pt x="51340" y="104394"/>
                      <a:pt x="42672" y="104394"/>
                    </a:cubicBezTo>
                    <a:cubicBezTo>
                      <a:pt x="34004" y="104394"/>
                      <a:pt x="26289" y="103251"/>
                      <a:pt x="19431" y="100965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40" name="Freeform: Shape 273">
                <a:extLst>
                  <a:ext uri="{FF2B5EF4-FFF2-40B4-BE49-F238E27FC236}">
                    <a16:creationId xmlns:a16="http://schemas.microsoft.com/office/drawing/2014/main" id="{083410ED-205E-889D-4794-B02D1281483C}"/>
                  </a:ext>
                </a:extLst>
              </p:cNvPr>
              <p:cNvSpPr/>
              <p:nvPr/>
            </p:nvSpPr>
            <p:spPr>
              <a:xfrm>
                <a:off x="5084349" y="5054155"/>
                <a:ext cx="29051" cy="143351"/>
              </a:xfrm>
              <a:custGeom>
                <a:avLst/>
                <a:gdLst>
                  <a:gd name="connsiteX0" fmla="*/ 3905 w 29051"/>
                  <a:gd name="connsiteY0" fmla="*/ 25432 h 143351"/>
                  <a:gd name="connsiteX1" fmla="*/ 0 w 29051"/>
                  <a:gd name="connsiteY1" fmla="*/ 14764 h 143351"/>
                  <a:gd name="connsiteX2" fmla="*/ 3905 w 29051"/>
                  <a:gd name="connsiteY2" fmla="*/ 4001 h 143351"/>
                  <a:gd name="connsiteX3" fmla="*/ 14668 w 29051"/>
                  <a:gd name="connsiteY3" fmla="*/ 0 h 143351"/>
                  <a:gd name="connsiteX4" fmla="*/ 25146 w 29051"/>
                  <a:gd name="connsiteY4" fmla="*/ 4001 h 143351"/>
                  <a:gd name="connsiteX5" fmla="*/ 29051 w 29051"/>
                  <a:gd name="connsiteY5" fmla="*/ 14764 h 143351"/>
                  <a:gd name="connsiteX6" fmla="*/ 25051 w 29051"/>
                  <a:gd name="connsiteY6" fmla="*/ 25337 h 143351"/>
                  <a:gd name="connsiteX7" fmla="*/ 14573 w 29051"/>
                  <a:gd name="connsiteY7" fmla="*/ 29337 h 143351"/>
                  <a:gd name="connsiteX8" fmla="*/ 3810 w 29051"/>
                  <a:gd name="connsiteY8" fmla="*/ 25337 h 143351"/>
                  <a:gd name="connsiteX9" fmla="*/ 1524 w 29051"/>
                  <a:gd name="connsiteY9" fmla="*/ 42767 h 143351"/>
                  <a:gd name="connsiteX10" fmla="*/ 27622 w 29051"/>
                  <a:gd name="connsiteY10" fmla="*/ 42767 h 143351"/>
                  <a:gd name="connsiteX11" fmla="*/ 27622 w 29051"/>
                  <a:gd name="connsiteY11" fmla="*/ 143351 h 143351"/>
                  <a:gd name="connsiteX12" fmla="*/ 1524 w 29051"/>
                  <a:gd name="connsiteY12" fmla="*/ 143351 h 143351"/>
                  <a:gd name="connsiteX13" fmla="*/ 1524 w 29051"/>
                  <a:gd name="connsiteY13" fmla="*/ 42767 h 1433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9051" h="143351">
                    <a:moveTo>
                      <a:pt x="3905" y="25432"/>
                    </a:moveTo>
                    <a:cubicBezTo>
                      <a:pt x="1333" y="22765"/>
                      <a:pt x="0" y="19241"/>
                      <a:pt x="0" y="14764"/>
                    </a:cubicBezTo>
                    <a:cubicBezTo>
                      <a:pt x="0" y="10287"/>
                      <a:pt x="1333" y="6668"/>
                      <a:pt x="3905" y="4001"/>
                    </a:cubicBezTo>
                    <a:cubicBezTo>
                      <a:pt x="6477" y="1334"/>
                      <a:pt x="10096" y="0"/>
                      <a:pt x="14668" y="0"/>
                    </a:cubicBezTo>
                    <a:cubicBezTo>
                      <a:pt x="19240" y="0"/>
                      <a:pt x="22574" y="1334"/>
                      <a:pt x="25146" y="4001"/>
                    </a:cubicBezTo>
                    <a:cubicBezTo>
                      <a:pt x="27718" y="6668"/>
                      <a:pt x="29051" y="10192"/>
                      <a:pt x="29051" y="14764"/>
                    </a:cubicBezTo>
                    <a:cubicBezTo>
                      <a:pt x="29051" y="19336"/>
                      <a:pt x="27718" y="22670"/>
                      <a:pt x="25051" y="25337"/>
                    </a:cubicBezTo>
                    <a:cubicBezTo>
                      <a:pt x="22384" y="28004"/>
                      <a:pt x="18955" y="29337"/>
                      <a:pt x="14573" y="29337"/>
                    </a:cubicBezTo>
                    <a:cubicBezTo>
                      <a:pt x="10001" y="29337"/>
                      <a:pt x="6382" y="28004"/>
                      <a:pt x="3810" y="25337"/>
                    </a:cubicBezTo>
                    <a:close/>
                    <a:moveTo>
                      <a:pt x="1524" y="42767"/>
                    </a:moveTo>
                    <a:lnTo>
                      <a:pt x="27622" y="42767"/>
                    </a:lnTo>
                    <a:lnTo>
                      <a:pt x="27622" y="143351"/>
                    </a:lnTo>
                    <a:lnTo>
                      <a:pt x="1524" y="143351"/>
                    </a:lnTo>
                    <a:lnTo>
                      <a:pt x="1524" y="42767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41" name="Freeform: Shape 274">
                <a:extLst>
                  <a:ext uri="{FF2B5EF4-FFF2-40B4-BE49-F238E27FC236}">
                    <a16:creationId xmlns:a16="http://schemas.microsoft.com/office/drawing/2014/main" id="{15F29471-4DCB-F471-B578-A5F0FC2BCA2D}"/>
                  </a:ext>
                </a:extLst>
              </p:cNvPr>
              <p:cNvSpPr/>
              <p:nvPr/>
            </p:nvSpPr>
            <p:spPr>
              <a:xfrm>
                <a:off x="5138070" y="5094636"/>
                <a:ext cx="91916" cy="102679"/>
              </a:xfrm>
              <a:custGeom>
                <a:avLst/>
                <a:gdLst>
                  <a:gd name="connsiteX0" fmla="*/ 667 w 91916"/>
                  <a:gd name="connsiteY0" fmla="*/ 24670 h 102679"/>
                  <a:gd name="connsiteX1" fmla="*/ 476 w 91916"/>
                  <a:gd name="connsiteY1" fmla="*/ 11430 h 102679"/>
                  <a:gd name="connsiteX2" fmla="*/ 0 w 91916"/>
                  <a:gd name="connsiteY2" fmla="*/ 2191 h 102679"/>
                  <a:gd name="connsiteX3" fmla="*/ 24955 w 91916"/>
                  <a:gd name="connsiteY3" fmla="*/ 2191 h 102679"/>
                  <a:gd name="connsiteX4" fmla="*/ 25718 w 91916"/>
                  <a:gd name="connsiteY4" fmla="*/ 10382 h 102679"/>
                  <a:gd name="connsiteX5" fmla="*/ 26099 w 91916"/>
                  <a:gd name="connsiteY5" fmla="*/ 20193 h 102679"/>
                  <a:gd name="connsiteX6" fmla="*/ 26479 w 91916"/>
                  <a:gd name="connsiteY6" fmla="*/ 20193 h 102679"/>
                  <a:gd name="connsiteX7" fmla="*/ 39814 w 91916"/>
                  <a:gd name="connsiteY7" fmla="*/ 4953 h 102679"/>
                  <a:gd name="connsiteX8" fmla="*/ 58864 w 91916"/>
                  <a:gd name="connsiteY8" fmla="*/ 0 h 102679"/>
                  <a:gd name="connsiteX9" fmla="*/ 84011 w 91916"/>
                  <a:gd name="connsiteY9" fmla="*/ 10573 h 102679"/>
                  <a:gd name="connsiteX10" fmla="*/ 91916 w 91916"/>
                  <a:gd name="connsiteY10" fmla="*/ 38862 h 102679"/>
                  <a:gd name="connsiteX11" fmla="*/ 91916 w 91916"/>
                  <a:gd name="connsiteY11" fmla="*/ 102679 h 102679"/>
                  <a:gd name="connsiteX12" fmla="*/ 65913 w 91916"/>
                  <a:gd name="connsiteY12" fmla="*/ 102679 h 102679"/>
                  <a:gd name="connsiteX13" fmla="*/ 65913 w 91916"/>
                  <a:gd name="connsiteY13" fmla="*/ 46292 h 102679"/>
                  <a:gd name="connsiteX14" fmla="*/ 62103 w 91916"/>
                  <a:gd name="connsiteY14" fmla="*/ 28670 h 102679"/>
                  <a:gd name="connsiteX15" fmla="*/ 48959 w 91916"/>
                  <a:gd name="connsiteY15" fmla="*/ 22479 h 102679"/>
                  <a:gd name="connsiteX16" fmla="*/ 37624 w 91916"/>
                  <a:gd name="connsiteY16" fmla="*/ 25813 h 102679"/>
                  <a:gd name="connsiteX17" fmla="*/ 29718 w 91916"/>
                  <a:gd name="connsiteY17" fmla="*/ 35147 h 102679"/>
                  <a:gd name="connsiteX18" fmla="*/ 26861 w 91916"/>
                  <a:gd name="connsiteY18" fmla="*/ 48768 h 102679"/>
                  <a:gd name="connsiteX19" fmla="*/ 26861 w 91916"/>
                  <a:gd name="connsiteY19" fmla="*/ 102679 h 102679"/>
                  <a:gd name="connsiteX20" fmla="*/ 762 w 91916"/>
                  <a:gd name="connsiteY20" fmla="*/ 102679 h 102679"/>
                  <a:gd name="connsiteX21" fmla="*/ 762 w 91916"/>
                  <a:gd name="connsiteY21" fmla="*/ 24575 h 1026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91916" h="102679">
                    <a:moveTo>
                      <a:pt x="667" y="24670"/>
                    </a:moveTo>
                    <a:cubicBezTo>
                      <a:pt x="667" y="20384"/>
                      <a:pt x="667" y="16002"/>
                      <a:pt x="476" y="11430"/>
                    </a:cubicBezTo>
                    <a:cubicBezTo>
                      <a:pt x="286" y="6858"/>
                      <a:pt x="191" y="3810"/>
                      <a:pt x="0" y="2191"/>
                    </a:cubicBezTo>
                    <a:lnTo>
                      <a:pt x="24955" y="2191"/>
                    </a:lnTo>
                    <a:cubicBezTo>
                      <a:pt x="25241" y="3524"/>
                      <a:pt x="25432" y="6287"/>
                      <a:pt x="25718" y="10382"/>
                    </a:cubicBezTo>
                    <a:cubicBezTo>
                      <a:pt x="26003" y="14478"/>
                      <a:pt x="26099" y="17812"/>
                      <a:pt x="26099" y="20193"/>
                    </a:cubicBezTo>
                    <a:lnTo>
                      <a:pt x="26479" y="20193"/>
                    </a:lnTo>
                    <a:cubicBezTo>
                      <a:pt x="30004" y="13335"/>
                      <a:pt x="34480" y="8192"/>
                      <a:pt x="39814" y="4953"/>
                    </a:cubicBezTo>
                    <a:cubicBezTo>
                      <a:pt x="45149" y="1619"/>
                      <a:pt x="51530" y="0"/>
                      <a:pt x="58864" y="0"/>
                    </a:cubicBezTo>
                    <a:cubicBezTo>
                      <a:pt x="70295" y="0"/>
                      <a:pt x="78677" y="3524"/>
                      <a:pt x="84011" y="10573"/>
                    </a:cubicBezTo>
                    <a:cubicBezTo>
                      <a:pt x="89345" y="17621"/>
                      <a:pt x="91916" y="27051"/>
                      <a:pt x="91916" y="38862"/>
                    </a:cubicBezTo>
                    <a:lnTo>
                      <a:pt x="91916" y="102679"/>
                    </a:lnTo>
                    <a:lnTo>
                      <a:pt x="65913" y="102679"/>
                    </a:lnTo>
                    <a:lnTo>
                      <a:pt x="65913" y="46292"/>
                    </a:lnTo>
                    <a:cubicBezTo>
                      <a:pt x="65913" y="38767"/>
                      <a:pt x="64675" y="32861"/>
                      <a:pt x="62103" y="28670"/>
                    </a:cubicBezTo>
                    <a:cubicBezTo>
                      <a:pt x="59531" y="24479"/>
                      <a:pt x="55150" y="22479"/>
                      <a:pt x="48959" y="22479"/>
                    </a:cubicBezTo>
                    <a:cubicBezTo>
                      <a:pt x="44768" y="22479"/>
                      <a:pt x="40958" y="23622"/>
                      <a:pt x="37624" y="25813"/>
                    </a:cubicBezTo>
                    <a:cubicBezTo>
                      <a:pt x="34290" y="28004"/>
                      <a:pt x="31623" y="31147"/>
                      <a:pt x="29718" y="35147"/>
                    </a:cubicBezTo>
                    <a:cubicBezTo>
                      <a:pt x="27813" y="39148"/>
                      <a:pt x="26861" y="43720"/>
                      <a:pt x="26861" y="48768"/>
                    </a:cubicBezTo>
                    <a:lnTo>
                      <a:pt x="26861" y="102679"/>
                    </a:lnTo>
                    <a:lnTo>
                      <a:pt x="762" y="102679"/>
                    </a:lnTo>
                    <a:lnTo>
                      <a:pt x="762" y="24575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42" name="Freeform: Shape 275">
                <a:extLst>
                  <a:ext uri="{FF2B5EF4-FFF2-40B4-BE49-F238E27FC236}">
                    <a16:creationId xmlns:a16="http://schemas.microsoft.com/office/drawing/2014/main" id="{0C045C19-49C6-D269-352C-CDA76637EF77}"/>
                  </a:ext>
                </a:extLst>
              </p:cNvPr>
              <p:cNvSpPr/>
              <p:nvPr/>
            </p:nvSpPr>
            <p:spPr>
              <a:xfrm>
                <a:off x="5249322" y="5094922"/>
                <a:ext cx="91916" cy="104298"/>
              </a:xfrm>
              <a:custGeom>
                <a:avLst/>
                <a:gdLst>
                  <a:gd name="connsiteX0" fmla="*/ 12859 w 91916"/>
                  <a:gd name="connsiteY0" fmla="*/ 91250 h 104298"/>
                  <a:gd name="connsiteX1" fmla="*/ 0 w 91916"/>
                  <a:gd name="connsiteY1" fmla="*/ 52006 h 104298"/>
                  <a:gd name="connsiteX2" fmla="*/ 6382 w 91916"/>
                  <a:gd name="connsiteY2" fmla="*/ 22860 h 104298"/>
                  <a:gd name="connsiteX3" fmla="*/ 23527 w 91916"/>
                  <a:gd name="connsiteY3" fmla="*/ 5620 h 104298"/>
                  <a:gd name="connsiteX4" fmla="*/ 47435 w 91916"/>
                  <a:gd name="connsiteY4" fmla="*/ 0 h 104298"/>
                  <a:gd name="connsiteX5" fmla="*/ 72771 w 91916"/>
                  <a:gd name="connsiteY5" fmla="*/ 6572 h 104298"/>
                  <a:gd name="connsiteX6" fmla="*/ 87344 w 91916"/>
                  <a:gd name="connsiteY6" fmla="*/ 24098 h 104298"/>
                  <a:gd name="connsiteX7" fmla="*/ 91916 w 91916"/>
                  <a:gd name="connsiteY7" fmla="*/ 48482 h 104298"/>
                  <a:gd name="connsiteX8" fmla="*/ 91345 w 91916"/>
                  <a:gd name="connsiteY8" fmla="*/ 58960 h 104298"/>
                  <a:gd name="connsiteX9" fmla="*/ 27337 w 91916"/>
                  <a:gd name="connsiteY9" fmla="*/ 58960 h 104298"/>
                  <a:gd name="connsiteX10" fmla="*/ 32861 w 91916"/>
                  <a:gd name="connsiteY10" fmla="*/ 77534 h 104298"/>
                  <a:gd name="connsiteX11" fmla="*/ 50197 w 91916"/>
                  <a:gd name="connsiteY11" fmla="*/ 84392 h 104298"/>
                  <a:gd name="connsiteX12" fmla="*/ 59817 w 91916"/>
                  <a:gd name="connsiteY12" fmla="*/ 83249 h 104298"/>
                  <a:gd name="connsiteX13" fmla="*/ 68199 w 91916"/>
                  <a:gd name="connsiteY13" fmla="*/ 79820 h 104298"/>
                  <a:gd name="connsiteX14" fmla="*/ 78200 w 91916"/>
                  <a:gd name="connsiteY14" fmla="*/ 73438 h 104298"/>
                  <a:gd name="connsiteX15" fmla="*/ 88773 w 91916"/>
                  <a:gd name="connsiteY15" fmla="*/ 90392 h 104298"/>
                  <a:gd name="connsiteX16" fmla="*/ 70866 w 91916"/>
                  <a:gd name="connsiteY16" fmla="*/ 100679 h 104298"/>
                  <a:gd name="connsiteX17" fmla="*/ 48768 w 91916"/>
                  <a:gd name="connsiteY17" fmla="*/ 104299 h 104298"/>
                  <a:gd name="connsiteX18" fmla="*/ 12764 w 91916"/>
                  <a:gd name="connsiteY18" fmla="*/ 91154 h 104298"/>
                  <a:gd name="connsiteX19" fmla="*/ 66675 w 91916"/>
                  <a:gd name="connsiteY19" fmla="*/ 41243 h 104298"/>
                  <a:gd name="connsiteX20" fmla="*/ 61341 w 91916"/>
                  <a:gd name="connsiteY20" fmla="*/ 24479 h 104298"/>
                  <a:gd name="connsiteX21" fmla="*/ 47244 w 91916"/>
                  <a:gd name="connsiteY21" fmla="*/ 19050 h 104298"/>
                  <a:gd name="connsiteX22" fmla="*/ 33242 w 91916"/>
                  <a:gd name="connsiteY22" fmla="*/ 24479 h 104298"/>
                  <a:gd name="connsiteX23" fmla="*/ 27623 w 91916"/>
                  <a:gd name="connsiteY23" fmla="*/ 41148 h 104298"/>
                  <a:gd name="connsiteX24" fmla="*/ 66675 w 91916"/>
                  <a:gd name="connsiteY24" fmla="*/ 41148 h 104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91916" h="104298">
                    <a:moveTo>
                      <a:pt x="12859" y="91250"/>
                    </a:moveTo>
                    <a:cubicBezTo>
                      <a:pt x="4286" y="82487"/>
                      <a:pt x="0" y="69437"/>
                      <a:pt x="0" y="52006"/>
                    </a:cubicBezTo>
                    <a:cubicBezTo>
                      <a:pt x="0" y="40386"/>
                      <a:pt x="2096" y="30575"/>
                      <a:pt x="6382" y="22860"/>
                    </a:cubicBezTo>
                    <a:cubicBezTo>
                      <a:pt x="10668" y="15050"/>
                      <a:pt x="16288" y="9335"/>
                      <a:pt x="23527" y="5620"/>
                    </a:cubicBezTo>
                    <a:cubicBezTo>
                      <a:pt x="30766" y="1905"/>
                      <a:pt x="38672" y="0"/>
                      <a:pt x="47435" y="0"/>
                    </a:cubicBezTo>
                    <a:cubicBezTo>
                      <a:pt x="57626" y="0"/>
                      <a:pt x="66104" y="2191"/>
                      <a:pt x="72771" y="6572"/>
                    </a:cubicBezTo>
                    <a:cubicBezTo>
                      <a:pt x="79439" y="10954"/>
                      <a:pt x="84296" y="16859"/>
                      <a:pt x="87344" y="24098"/>
                    </a:cubicBezTo>
                    <a:cubicBezTo>
                      <a:pt x="90392" y="31337"/>
                      <a:pt x="91916" y="39529"/>
                      <a:pt x="91916" y="48482"/>
                    </a:cubicBezTo>
                    <a:cubicBezTo>
                      <a:pt x="91916" y="52006"/>
                      <a:pt x="91726" y="55531"/>
                      <a:pt x="91345" y="58960"/>
                    </a:cubicBezTo>
                    <a:lnTo>
                      <a:pt x="27337" y="58960"/>
                    </a:lnTo>
                    <a:cubicBezTo>
                      <a:pt x="27337" y="66770"/>
                      <a:pt x="29147" y="72962"/>
                      <a:pt x="32861" y="77534"/>
                    </a:cubicBezTo>
                    <a:cubicBezTo>
                      <a:pt x="36576" y="82105"/>
                      <a:pt x="42291" y="84392"/>
                      <a:pt x="50197" y="84392"/>
                    </a:cubicBezTo>
                    <a:cubicBezTo>
                      <a:pt x="53721" y="84392"/>
                      <a:pt x="56960" y="84011"/>
                      <a:pt x="59817" y="83249"/>
                    </a:cubicBezTo>
                    <a:cubicBezTo>
                      <a:pt x="62675" y="82487"/>
                      <a:pt x="65437" y="81344"/>
                      <a:pt x="68199" y="79820"/>
                    </a:cubicBezTo>
                    <a:cubicBezTo>
                      <a:pt x="70961" y="78296"/>
                      <a:pt x="74295" y="76200"/>
                      <a:pt x="78200" y="73438"/>
                    </a:cubicBezTo>
                    <a:lnTo>
                      <a:pt x="88773" y="90392"/>
                    </a:lnTo>
                    <a:cubicBezTo>
                      <a:pt x="82868" y="94869"/>
                      <a:pt x="76962" y="98298"/>
                      <a:pt x="70866" y="100679"/>
                    </a:cubicBezTo>
                    <a:cubicBezTo>
                      <a:pt x="64866" y="103061"/>
                      <a:pt x="57436" y="104299"/>
                      <a:pt x="48768" y="104299"/>
                    </a:cubicBezTo>
                    <a:cubicBezTo>
                      <a:pt x="33338" y="104299"/>
                      <a:pt x="21336" y="99917"/>
                      <a:pt x="12764" y="91154"/>
                    </a:cubicBezTo>
                    <a:close/>
                    <a:moveTo>
                      <a:pt x="66675" y="41243"/>
                    </a:moveTo>
                    <a:cubicBezTo>
                      <a:pt x="66389" y="33719"/>
                      <a:pt x="64675" y="28099"/>
                      <a:pt x="61341" y="24479"/>
                    </a:cubicBezTo>
                    <a:cubicBezTo>
                      <a:pt x="58103" y="20860"/>
                      <a:pt x="53340" y="19050"/>
                      <a:pt x="47244" y="19050"/>
                    </a:cubicBezTo>
                    <a:cubicBezTo>
                      <a:pt x="41148" y="19050"/>
                      <a:pt x="36767" y="20860"/>
                      <a:pt x="33242" y="24479"/>
                    </a:cubicBezTo>
                    <a:cubicBezTo>
                      <a:pt x="29718" y="28099"/>
                      <a:pt x="27908" y="33623"/>
                      <a:pt x="27623" y="41148"/>
                    </a:cubicBezTo>
                    <a:lnTo>
                      <a:pt x="66675" y="41148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43" name="Freeform: Shape 276">
                <a:extLst>
                  <a:ext uri="{FF2B5EF4-FFF2-40B4-BE49-F238E27FC236}">
                    <a16:creationId xmlns:a16="http://schemas.microsoft.com/office/drawing/2014/main" id="{1BB7A189-4FEC-9138-F712-EF979EBDD1F6}"/>
                  </a:ext>
                </a:extLst>
              </p:cNvPr>
              <p:cNvSpPr/>
              <p:nvPr/>
            </p:nvSpPr>
            <p:spPr>
              <a:xfrm>
                <a:off x="5352288" y="5095017"/>
                <a:ext cx="84105" cy="104393"/>
              </a:xfrm>
              <a:custGeom>
                <a:avLst/>
                <a:gdLst>
                  <a:gd name="connsiteX0" fmla="*/ 19526 w 84105"/>
                  <a:gd name="connsiteY0" fmla="*/ 100870 h 104393"/>
                  <a:gd name="connsiteX1" fmla="*/ 0 w 84105"/>
                  <a:gd name="connsiteY1" fmla="*/ 89916 h 104393"/>
                  <a:gd name="connsiteX2" fmla="*/ 11811 w 84105"/>
                  <a:gd name="connsiteY2" fmla="*/ 72009 h 104393"/>
                  <a:gd name="connsiteX3" fmla="*/ 27337 w 84105"/>
                  <a:gd name="connsiteY3" fmla="*/ 81629 h 104393"/>
                  <a:gd name="connsiteX4" fmla="*/ 42672 w 84105"/>
                  <a:gd name="connsiteY4" fmla="*/ 84868 h 104393"/>
                  <a:gd name="connsiteX5" fmla="*/ 55531 w 84105"/>
                  <a:gd name="connsiteY5" fmla="*/ 82772 h 104393"/>
                  <a:gd name="connsiteX6" fmla="*/ 60103 w 84105"/>
                  <a:gd name="connsiteY6" fmla="*/ 75247 h 104393"/>
                  <a:gd name="connsiteX7" fmla="*/ 57721 w 84105"/>
                  <a:gd name="connsiteY7" fmla="*/ 69056 h 104393"/>
                  <a:gd name="connsiteX8" fmla="*/ 51530 w 84105"/>
                  <a:gd name="connsiteY8" fmla="*/ 65437 h 104393"/>
                  <a:gd name="connsiteX9" fmla="*/ 40862 w 84105"/>
                  <a:gd name="connsiteY9" fmla="*/ 62579 h 104393"/>
                  <a:gd name="connsiteX10" fmla="*/ 35909 w 84105"/>
                  <a:gd name="connsiteY10" fmla="*/ 61341 h 104393"/>
                  <a:gd name="connsiteX11" fmla="*/ 19050 w 84105"/>
                  <a:gd name="connsiteY11" fmla="*/ 55531 h 104393"/>
                  <a:gd name="connsiteX12" fmla="*/ 8001 w 84105"/>
                  <a:gd name="connsiteY12" fmla="*/ 46291 h 104393"/>
                  <a:gd name="connsiteX13" fmla="*/ 3715 w 84105"/>
                  <a:gd name="connsiteY13" fmla="*/ 30480 h 104393"/>
                  <a:gd name="connsiteX14" fmla="*/ 8287 w 84105"/>
                  <a:gd name="connsiteY14" fmla="*/ 14192 h 104393"/>
                  <a:gd name="connsiteX15" fmla="*/ 21717 w 84105"/>
                  <a:gd name="connsiteY15" fmla="*/ 3715 h 104393"/>
                  <a:gd name="connsiteX16" fmla="*/ 43053 w 84105"/>
                  <a:gd name="connsiteY16" fmla="*/ 0 h 104393"/>
                  <a:gd name="connsiteX17" fmla="*/ 64770 w 84105"/>
                  <a:gd name="connsiteY17" fmla="*/ 3620 h 104393"/>
                  <a:gd name="connsiteX18" fmla="*/ 81534 w 84105"/>
                  <a:gd name="connsiteY18" fmla="*/ 14478 h 104393"/>
                  <a:gd name="connsiteX19" fmla="*/ 68104 w 84105"/>
                  <a:gd name="connsiteY19" fmla="*/ 29908 h 104393"/>
                  <a:gd name="connsiteX20" fmla="*/ 43148 w 84105"/>
                  <a:gd name="connsiteY20" fmla="*/ 19431 h 104393"/>
                  <a:gd name="connsiteX21" fmla="*/ 27717 w 84105"/>
                  <a:gd name="connsiteY21" fmla="*/ 28385 h 104393"/>
                  <a:gd name="connsiteX22" fmla="*/ 29718 w 84105"/>
                  <a:gd name="connsiteY22" fmla="*/ 33814 h 104393"/>
                  <a:gd name="connsiteX23" fmla="*/ 34957 w 84105"/>
                  <a:gd name="connsiteY23" fmla="*/ 36957 h 104393"/>
                  <a:gd name="connsiteX24" fmla="*/ 44386 w 84105"/>
                  <a:gd name="connsiteY24" fmla="*/ 39433 h 104393"/>
                  <a:gd name="connsiteX25" fmla="*/ 49149 w 84105"/>
                  <a:gd name="connsiteY25" fmla="*/ 40577 h 104393"/>
                  <a:gd name="connsiteX26" fmla="*/ 67532 w 84105"/>
                  <a:gd name="connsiteY26" fmla="*/ 46577 h 104393"/>
                  <a:gd name="connsiteX27" fmla="*/ 79438 w 84105"/>
                  <a:gd name="connsiteY27" fmla="*/ 56197 h 104393"/>
                  <a:gd name="connsiteX28" fmla="*/ 84106 w 84105"/>
                  <a:gd name="connsiteY28" fmla="*/ 73247 h 104393"/>
                  <a:gd name="connsiteX29" fmla="*/ 79248 w 84105"/>
                  <a:gd name="connsiteY29" fmla="*/ 89821 h 104393"/>
                  <a:gd name="connsiteX30" fmla="*/ 65056 w 84105"/>
                  <a:gd name="connsiteY30" fmla="*/ 100584 h 104393"/>
                  <a:gd name="connsiteX31" fmla="*/ 42672 w 84105"/>
                  <a:gd name="connsiteY31" fmla="*/ 104394 h 104393"/>
                  <a:gd name="connsiteX32" fmla="*/ 19431 w 84105"/>
                  <a:gd name="connsiteY32" fmla="*/ 100965 h 1043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84105" h="104393">
                    <a:moveTo>
                      <a:pt x="19526" y="100870"/>
                    </a:moveTo>
                    <a:cubicBezTo>
                      <a:pt x="12763" y="98584"/>
                      <a:pt x="6286" y="94964"/>
                      <a:pt x="0" y="89916"/>
                    </a:cubicBezTo>
                    <a:lnTo>
                      <a:pt x="11811" y="72009"/>
                    </a:lnTo>
                    <a:cubicBezTo>
                      <a:pt x="17431" y="76295"/>
                      <a:pt x="22574" y="79534"/>
                      <a:pt x="27337" y="81629"/>
                    </a:cubicBezTo>
                    <a:cubicBezTo>
                      <a:pt x="32099" y="83725"/>
                      <a:pt x="37242" y="84868"/>
                      <a:pt x="42672" y="84868"/>
                    </a:cubicBezTo>
                    <a:cubicBezTo>
                      <a:pt x="48101" y="84868"/>
                      <a:pt x="52483" y="84201"/>
                      <a:pt x="55531" y="82772"/>
                    </a:cubicBezTo>
                    <a:cubicBezTo>
                      <a:pt x="58579" y="81344"/>
                      <a:pt x="60103" y="78867"/>
                      <a:pt x="60103" y="75247"/>
                    </a:cubicBezTo>
                    <a:cubicBezTo>
                      <a:pt x="60103" y="72676"/>
                      <a:pt x="59341" y="70580"/>
                      <a:pt x="57721" y="69056"/>
                    </a:cubicBezTo>
                    <a:cubicBezTo>
                      <a:pt x="56102" y="67532"/>
                      <a:pt x="54007" y="66294"/>
                      <a:pt x="51530" y="65437"/>
                    </a:cubicBezTo>
                    <a:cubicBezTo>
                      <a:pt x="49054" y="64579"/>
                      <a:pt x="45434" y="63627"/>
                      <a:pt x="40862" y="62579"/>
                    </a:cubicBezTo>
                    <a:lnTo>
                      <a:pt x="35909" y="61341"/>
                    </a:lnTo>
                    <a:cubicBezTo>
                      <a:pt x="29146" y="59627"/>
                      <a:pt x="23527" y="57626"/>
                      <a:pt x="19050" y="55531"/>
                    </a:cubicBezTo>
                    <a:cubicBezTo>
                      <a:pt x="14573" y="53435"/>
                      <a:pt x="10858" y="50292"/>
                      <a:pt x="8001" y="46291"/>
                    </a:cubicBezTo>
                    <a:cubicBezTo>
                      <a:pt x="5143" y="42291"/>
                      <a:pt x="3715" y="36957"/>
                      <a:pt x="3715" y="30480"/>
                    </a:cubicBezTo>
                    <a:cubicBezTo>
                      <a:pt x="3715" y="24003"/>
                      <a:pt x="5239" y="18669"/>
                      <a:pt x="8287" y="14192"/>
                    </a:cubicBezTo>
                    <a:cubicBezTo>
                      <a:pt x="11334" y="9715"/>
                      <a:pt x="15811" y="6096"/>
                      <a:pt x="21717" y="3715"/>
                    </a:cubicBezTo>
                    <a:cubicBezTo>
                      <a:pt x="27622" y="1238"/>
                      <a:pt x="34671" y="0"/>
                      <a:pt x="43053" y="0"/>
                    </a:cubicBezTo>
                    <a:cubicBezTo>
                      <a:pt x="51435" y="0"/>
                      <a:pt x="58198" y="1238"/>
                      <a:pt x="64770" y="3620"/>
                    </a:cubicBezTo>
                    <a:cubicBezTo>
                      <a:pt x="71342" y="6001"/>
                      <a:pt x="76867" y="9620"/>
                      <a:pt x="81534" y="14478"/>
                    </a:cubicBezTo>
                    <a:lnTo>
                      <a:pt x="68104" y="29908"/>
                    </a:lnTo>
                    <a:cubicBezTo>
                      <a:pt x="60960" y="22860"/>
                      <a:pt x="52673" y="19431"/>
                      <a:pt x="43148" y="19431"/>
                    </a:cubicBezTo>
                    <a:cubicBezTo>
                      <a:pt x="32861" y="19431"/>
                      <a:pt x="27717" y="22384"/>
                      <a:pt x="27717" y="28385"/>
                    </a:cubicBezTo>
                    <a:cubicBezTo>
                      <a:pt x="27717" y="30671"/>
                      <a:pt x="28384" y="32480"/>
                      <a:pt x="29718" y="33814"/>
                    </a:cubicBezTo>
                    <a:cubicBezTo>
                      <a:pt x="31051" y="35147"/>
                      <a:pt x="32766" y="36195"/>
                      <a:pt x="34957" y="36957"/>
                    </a:cubicBezTo>
                    <a:cubicBezTo>
                      <a:pt x="37147" y="37719"/>
                      <a:pt x="40291" y="38576"/>
                      <a:pt x="44386" y="39433"/>
                    </a:cubicBezTo>
                    <a:lnTo>
                      <a:pt x="49149" y="40577"/>
                    </a:lnTo>
                    <a:cubicBezTo>
                      <a:pt x="56578" y="42481"/>
                      <a:pt x="62674" y="44482"/>
                      <a:pt x="67532" y="46577"/>
                    </a:cubicBezTo>
                    <a:cubicBezTo>
                      <a:pt x="72390" y="48673"/>
                      <a:pt x="76295" y="51911"/>
                      <a:pt x="79438" y="56197"/>
                    </a:cubicBezTo>
                    <a:cubicBezTo>
                      <a:pt x="82582" y="60484"/>
                      <a:pt x="84106" y="66104"/>
                      <a:pt x="84106" y="73247"/>
                    </a:cubicBezTo>
                    <a:cubicBezTo>
                      <a:pt x="84106" y="79629"/>
                      <a:pt x="82486" y="85154"/>
                      <a:pt x="79248" y="89821"/>
                    </a:cubicBezTo>
                    <a:cubicBezTo>
                      <a:pt x="76009" y="94488"/>
                      <a:pt x="71247" y="98107"/>
                      <a:pt x="65056" y="100584"/>
                    </a:cubicBezTo>
                    <a:cubicBezTo>
                      <a:pt x="58864" y="103061"/>
                      <a:pt x="51340" y="104394"/>
                      <a:pt x="42672" y="104394"/>
                    </a:cubicBezTo>
                    <a:cubicBezTo>
                      <a:pt x="34004" y="104394"/>
                      <a:pt x="26289" y="103251"/>
                      <a:pt x="19431" y="100965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44" name="Freeform: Shape 277">
                <a:extLst>
                  <a:ext uri="{FF2B5EF4-FFF2-40B4-BE49-F238E27FC236}">
                    <a16:creationId xmlns:a16="http://schemas.microsoft.com/office/drawing/2014/main" id="{345F812F-9ADD-F9AC-687B-E25C91F9EEA0}"/>
                  </a:ext>
                </a:extLst>
              </p:cNvPr>
              <p:cNvSpPr/>
              <p:nvPr/>
            </p:nvSpPr>
            <p:spPr>
              <a:xfrm>
                <a:off x="5446966" y="5095017"/>
                <a:ext cx="84105" cy="104393"/>
              </a:xfrm>
              <a:custGeom>
                <a:avLst/>
                <a:gdLst>
                  <a:gd name="connsiteX0" fmla="*/ 19526 w 84105"/>
                  <a:gd name="connsiteY0" fmla="*/ 100870 h 104393"/>
                  <a:gd name="connsiteX1" fmla="*/ 0 w 84105"/>
                  <a:gd name="connsiteY1" fmla="*/ 89916 h 104393"/>
                  <a:gd name="connsiteX2" fmla="*/ 11811 w 84105"/>
                  <a:gd name="connsiteY2" fmla="*/ 72009 h 104393"/>
                  <a:gd name="connsiteX3" fmla="*/ 27337 w 84105"/>
                  <a:gd name="connsiteY3" fmla="*/ 81629 h 104393"/>
                  <a:gd name="connsiteX4" fmla="*/ 42672 w 84105"/>
                  <a:gd name="connsiteY4" fmla="*/ 84868 h 104393"/>
                  <a:gd name="connsiteX5" fmla="*/ 55531 w 84105"/>
                  <a:gd name="connsiteY5" fmla="*/ 82772 h 104393"/>
                  <a:gd name="connsiteX6" fmla="*/ 60103 w 84105"/>
                  <a:gd name="connsiteY6" fmla="*/ 75247 h 104393"/>
                  <a:gd name="connsiteX7" fmla="*/ 57722 w 84105"/>
                  <a:gd name="connsiteY7" fmla="*/ 69056 h 104393"/>
                  <a:gd name="connsiteX8" fmla="*/ 51530 w 84105"/>
                  <a:gd name="connsiteY8" fmla="*/ 65437 h 104393"/>
                  <a:gd name="connsiteX9" fmla="*/ 40862 w 84105"/>
                  <a:gd name="connsiteY9" fmla="*/ 62579 h 104393"/>
                  <a:gd name="connsiteX10" fmla="*/ 35909 w 84105"/>
                  <a:gd name="connsiteY10" fmla="*/ 61341 h 104393"/>
                  <a:gd name="connsiteX11" fmla="*/ 19050 w 84105"/>
                  <a:gd name="connsiteY11" fmla="*/ 55531 h 104393"/>
                  <a:gd name="connsiteX12" fmla="*/ 8001 w 84105"/>
                  <a:gd name="connsiteY12" fmla="*/ 46291 h 104393"/>
                  <a:gd name="connsiteX13" fmla="*/ 3715 w 84105"/>
                  <a:gd name="connsiteY13" fmla="*/ 30480 h 104393"/>
                  <a:gd name="connsiteX14" fmla="*/ 8287 w 84105"/>
                  <a:gd name="connsiteY14" fmla="*/ 14192 h 104393"/>
                  <a:gd name="connsiteX15" fmla="*/ 21717 w 84105"/>
                  <a:gd name="connsiteY15" fmla="*/ 3715 h 104393"/>
                  <a:gd name="connsiteX16" fmla="*/ 43053 w 84105"/>
                  <a:gd name="connsiteY16" fmla="*/ 0 h 104393"/>
                  <a:gd name="connsiteX17" fmla="*/ 64770 w 84105"/>
                  <a:gd name="connsiteY17" fmla="*/ 3620 h 104393"/>
                  <a:gd name="connsiteX18" fmla="*/ 81534 w 84105"/>
                  <a:gd name="connsiteY18" fmla="*/ 14478 h 104393"/>
                  <a:gd name="connsiteX19" fmla="*/ 68104 w 84105"/>
                  <a:gd name="connsiteY19" fmla="*/ 29908 h 104393"/>
                  <a:gd name="connsiteX20" fmla="*/ 43149 w 84105"/>
                  <a:gd name="connsiteY20" fmla="*/ 19431 h 104393"/>
                  <a:gd name="connsiteX21" fmla="*/ 27718 w 84105"/>
                  <a:gd name="connsiteY21" fmla="*/ 28385 h 104393"/>
                  <a:gd name="connsiteX22" fmla="*/ 29718 w 84105"/>
                  <a:gd name="connsiteY22" fmla="*/ 33814 h 104393"/>
                  <a:gd name="connsiteX23" fmla="*/ 34957 w 84105"/>
                  <a:gd name="connsiteY23" fmla="*/ 36957 h 104393"/>
                  <a:gd name="connsiteX24" fmla="*/ 44387 w 84105"/>
                  <a:gd name="connsiteY24" fmla="*/ 39433 h 104393"/>
                  <a:gd name="connsiteX25" fmla="*/ 49149 w 84105"/>
                  <a:gd name="connsiteY25" fmla="*/ 40577 h 104393"/>
                  <a:gd name="connsiteX26" fmla="*/ 67533 w 84105"/>
                  <a:gd name="connsiteY26" fmla="*/ 46577 h 104393"/>
                  <a:gd name="connsiteX27" fmla="*/ 79439 w 84105"/>
                  <a:gd name="connsiteY27" fmla="*/ 56197 h 104393"/>
                  <a:gd name="connsiteX28" fmla="*/ 84106 w 84105"/>
                  <a:gd name="connsiteY28" fmla="*/ 73247 h 104393"/>
                  <a:gd name="connsiteX29" fmla="*/ 79248 w 84105"/>
                  <a:gd name="connsiteY29" fmla="*/ 89821 h 104393"/>
                  <a:gd name="connsiteX30" fmla="*/ 65056 w 84105"/>
                  <a:gd name="connsiteY30" fmla="*/ 100584 h 104393"/>
                  <a:gd name="connsiteX31" fmla="*/ 42672 w 84105"/>
                  <a:gd name="connsiteY31" fmla="*/ 104394 h 104393"/>
                  <a:gd name="connsiteX32" fmla="*/ 19431 w 84105"/>
                  <a:gd name="connsiteY32" fmla="*/ 100965 h 1043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84105" h="104393">
                    <a:moveTo>
                      <a:pt x="19526" y="100870"/>
                    </a:moveTo>
                    <a:cubicBezTo>
                      <a:pt x="12764" y="98584"/>
                      <a:pt x="6287" y="94964"/>
                      <a:pt x="0" y="89916"/>
                    </a:cubicBezTo>
                    <a:lnTo>
                      <a:pt x="11811" y="72009"/>
                    </a:lnTo>
                    <a:cubicBezTo>
                      <a:pt x="17431" y="76295"/>
                      <a:pt x="22574" y="79534"/>
                      <a:pt x="27337" y="81629"/>
                    </a:cubicBezTo>
                    <a:cubicBezTo>
                      <a:pt x="32099" y="83725"/>
                      <a:pt x="37243" y="84868"/>
                      <a:pt x="42672" y="84868"/>
                    </a:cubicBezTo>
                    <a:cubicBezTo>
                      <a:pt x="48101" y="84868"/>
                      <a:pt x="52483" y="84201"/>
                      <a:pt x="55531" y="82772"/>
                    </a:cubicBezTo>
                    <a:cubicBezTo>
                      <a:pt x="58579" y="81344"/>
                      <a:pt x="60103" y="78867"/>
                      <a:pt x="60103" y="75247"/>
                    </a:cubicBezTo>
                    <a:cubicBezTo>
                      <a:pt x="60103" y="72676"/>
                      <a:pt x="59341" y="70580"/>
                      <a:pt x="57722" y="69056"/>
                    </a:cubicBezTo>
                    <a:cubicBezTo>
                      <a:pt x="56102" y="67532"/>
                      <a:pt x="54007" y="66294"/>
                      <a:pt x="51530" y="65437"/>
                    </a:cubicBezTo>
                    <a:cubicBezTo>
                      <a:pt x="49054" y="64579"/>
                      <a:pt x="45434" y="63627"/>
                      <a:pt x="40862" y="62579"/>
                    </a:cubicBezTo>
                    <a:lnTo>
                      <a:pt x="35909" y="61341"/>
                    </a:lnTo>
                    <a:cubicBezTo>
                      <a:pt x="29147" y="59627"/>
                      <a:pt x="23527" y="57626"/>
                      <a:pt x="19050" y="55531"/>
                    </a:cubicBezTo>
                    <a:cubicBezTo>
                      <a:pt x="14574" y="53435"/>
                      <a:pt x="10859" y="50292"/>
                      <a:pt x="8001" y="46291"/>
                    </a:cubicBezTo>
                    <a:cubicBezTo>
                      <a:pt x="5144" y="42291"/>
                      <a:pt x="3715" y="36957"/>
                      <a:pt x="3715" y="30480"/>
                    </a:cubicBezTo>
                    <a:cubicBezTo>
                      <a:pt x="3715" y="24003"/>
                      <a:pt x="5239" y="18669"/>
                      <a:pt x="8287" y="14192"/>
                    </a:cubicBezTo>
                    <a:cubicBezTo>
                      <a:pt x="11335" y="9715"/>
                      <a:pt x="15812" y="6096"/>
                      <a:pt x="21717" y="3715"/>
                    </a:cubicBezTo>
                    <a:cubicBezTo>
                      <a:pt x="27623" y="1238"/>
                      <a:pt x="34671" y="0"/>
                      <a:pt x="43053" y="0"/>
                    </a:cubicBezTo>
                    <a:cubicBezTo>
                      <a:pt x="51435" y="0"/>
                      <a:pt x="58198" y="1238"/>
                      <a:pt x="64770" y="3620"/>
                    </a:cubicBezTo>
                    <a:cubicBezTo>
                      <a:pt x="71342" y="6001"/>
                      <a:pt x="76867" y="9620"/>
                      <a:pt x="81534" y="14478"/>
                    </a:cubicBezTo>
                    <a:lnTo>
                      <a:pt x="68104" y="29908"/>
                    </a:lnTo>
                    <a:cubicBezTo>
                      <a:pt x="60960" y="22860"/>
                      <a:pt x="52674" y="19431"/>
                      <a:pt x="43149" y="19431"/>
                    </a:cubicBezTo>
                    <a:cubicBezTo>
                      <a:pt x="32861" y="19431"/>
                      <a:pt x="27718" y="22384"/>
                      <a:pt x="27718" y="28385"/>
                    </a:cubicBezTo>
                    <a:cubicBezTo>
                      <a:pt x="27718" y="30671"/>
                      <a:pt x="28385" y="32480"/>
                      <a:pt x="29718" y="33814"/>
                    </a:cubicBezTo>
                    <a:cubicBezTo>
                      <a:pt x="31052" y="35147"/>
                      <a:pt x="32766" y="36195"/>
                      <a:pt x="34957" y="36957"/>
                    </a:cubicBezTo>
                    <a:cubicBezTo>
                      <a:pt x="37148" y="37719"/>
                      <a:pt x="40291" y="38576"/>
                      <a:pt x="44387" y="39433"/>
                    </a:cubicBezTo>
                    <a:lnTo>
                      <a:pt x="49149" y="40577"/>
                    </a:lnTo>
                    <a:cubicBezTo>
                      <a:pt x="56579" y="42481"/>
                      <a:pt x="62675" y="44482"/>
                      <a:pt x="67533" y="46577"/>
                    </a:cubicBezTo>
                    <a:cubicBezTo>
                      <a:pt x="72390" y="48673"/>
                      <a:pt x="76295" y="51911"/>
                      <a:pt x="79439" y="56197"/>
                    </a:cubicBezTo>
                    <a:cubicBezTo>
                      <a:pt x="82582" y="60484"/>
                      <a:pt x="84106" y="66104"/>
                      <a:pt x="84106" y="73247"/>
                    </a:cubicBezTo>
                    <a:cubicBezTo>
                      <a:pt x="84106" y="79629"/>
                      <a:pt x="82487" y="85154"/>
                      <a:pt x="79248" y="89821"/>
                    </a:cubicBezTo>
                    <a:cubicBezTo>
                      <a:pt x="76010" y="94488"/>
                      <a:pt x="71247" y="98107"/>
                      <a:pt x="65056" y="100584"/>
                    </a:cubicBezTo>
                    <a:cubicBezTo>
                      <a:pt x="58865" y="103061"/>
                      <a:pt x="51340" y="104394"/>
                      <a:pt x="42672" y="104394"/>
                    </a:cubicBezTo>
                    <a:cubicBezTo>
                      <a:pt x="34004" y="104394"/>
                      <a:pt x="26289" y="103251"/>
                      <a:pt x="19431" y="100965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45" name="Freeform: Shape 278">
                <a:extLst>
                  <a:ext uri="{FF2B5EF4-FFF2-40B4-BE49-F238E27FC236}">
                    <a16:creationId xmlns:a16="http://schemas.microsoft.com/office/drawing/2014/main" id="{AA1AE931-597C-CEB2-E5EE-D6E9B89ECA71}"/>
                  </a:ext>
                </a:extLst>
              </p:cNvPr>
              <p:cNvSpPr/>
              <p:nvPr/>
            </p:nvSpPr>
            <p:spPr>
              <a:xfrm>
                <a:off x="5592222" y="5066442"/>
                <a:ext cx="108394" cy="131064"/>
              </a:xfrm>
              <a:custGeom>
                <a:avLst/>
                <a:gdLst>
                  <a:gd name="connsiteX0" fmla="*/ 40386 w 108394"/>
                  <a:gd name="connsiteY0" fmla="*/ 23050 h 131064"/>
                  <a:gd name="connsiteX1" fmla="*/ 0 w 108394"/>
                  <a:gd name="connsiteY1" fmla="*/ 23050 h 131064"/>
                  <a:gd name="connsiteX2" fmla="*/ 0 w 108394"/>
                  <a:gd name="connsiteY2" fmla="*/ 0 h 131064"/>
                  <a:gd name="connsiteX3" fmla="*/ 108395 w 108394"/>
                  <a:gd name="connsiteY3" fmla="*/ 0 h 131064"/>
                  <a:gd name="connsiteX4" fmla="*/ 108395 w 108394"/>
                  <a:gd name="connsiteY4" fmla="*/ 23050 h 131064"/>
                  <a:gd name="connsiteX5" fmla="*/ 67818 w 108394"/>
                  <a:gd name="connsiteY5" fmla="*/ 23050 h 131064"/>
                  <a:gd name="connsiteX6" fmla="*/ 67818 w 108394"/>
                  <a:gd name="connsiteY6" fmla="*/ 131064 h 131064"/>
                  <a:gd name="connsiteX7" fmla="*/ 40386 w 108394"/>
                  <a:gd name="connsiteY7" fmla="*/ 131064 h 131064"/>
                  <a:gd name="connsiteX8" fmla="*/ 40386 w 108394"/>
                  <a:gd name="connsiteY8" fmla="*/ 23050 h 1310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8394" h="131064">
                    <a:moveTo>
                      <a:pt x="40386" y="23050"/>
                    </a:moveTo>
                    <a:lnTo>
                      <a:pt x="0" y="23050"/>
                    </a:lnTo>
                    <a:lnTo>
                      <a:pt x="0" y="0"/>
                    </a:lnTo>
                    <a:lnTo>
                      <a:pt x="108395" y="0"/>
                    </a:lnTo>
                    <a:lnTo>
                      <a:pt x="108395" y="23050"/>
                    </a:lnTo>
                    <a:lnTo>
                      <a:pt x="67818" y="23050"/>
                    </a:lnTo>
                    <a:lnTo>
                      <a:pt x="67818" y="131064"/>
                    </a:lnTo>
                    <a:lnTo>
                      <a:pt x="40386" y="131064"/>
                    </a:lnTo>
                    <a:lnTo>
                      <a:pt x="40386" y="23050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46" name="Freeform: Shape 279">
                <a:extLst>
                  <a:ext uri="{FF2B5EF4-FFF2-40B4-BE49-F238E27FC236}">
                    <a16:creationId xmlns:a16="http://schemas.microsoft.com/office/drawing/2014/main" id="{6CD161BD-300C-664D-17FC-99330154838A}"/>
                  </a:ext>
                </a:extLst>
              </p:cNvPr>
              <p:cNvSpPr/>
              <p:nvPr/>
            </p:nvSpPr>
            <p:spPr>
              <a:xfrm>
                <a:off x="5695950" y="5094922"/>
                <a:ext cx="91916" cy="104298"/>
              </a:xfrm>
              <a:custGeom>
                <a:avLst/>
                <a:gdLst>
                  <a:gd name="connsiteX0" fmla="*/ 12859 w 91916"/>
                  <a:gd name="connsiteY0" fmla="*/ 91250 h 104298"/>
                  <a:gd name="connsiteX1" fmla="*/ 0 w 91916"/>
                  <a:gd name="connsiteY1" fmla="*/ 52006 h 104298"/>
                  <a:gd name="connsiteX2" fmla="*/ 6382 w 91916"/>
                  <a:gd name="connsiteY2" fmla="*/ 22860 h 104298"/>
                  <a:gd name="connsiteX3" fmla="*/ 23527 w 91916"/>
                  <a:gd name="connsiteY3" fmla="*/ 5620 h 104298"/>
                  <a:gd name="connsiteX4" fmla="*/ 47435 w 91916"/>
                  <a:gd name="connsiteY4" fmla="*/ 0 h 104298"/>
                  <a:gd name="connsiteX5" fmla="*/ 72771 w 91916"/>
                  <a:gd name="connsiteY5" fmla="*/ 6572 h 104298"/>
                  <a:gd name="connsiteX6" fmla="*/ 87344 w 91916"/>
                  <a:gd name="connsiteY6" fmla="*/ 24098 h 104298"/>
                  <a:gd name="connsiteX7" fmla="*/ 91916 w 91916"/>
                  <a:gd name="connsiteY7" fmla="*/ 48482 h 104298"/>
                  <a:gd name="connsiteX8" fmla="*/ 91345 w 91916"/>
                  <a:gd name="connsiteY8" fmla="*/ 58960 h 104298"/>
                  <a:gd name="connsiteX9" fmla="*/ 27337 w 91916"/>
                  <a:gd name="connsiteY9" fmla="*/ 58960 h 104298"/>
                  <a:gd name="connsiteX10" fmla="*/ 32861 w 91916"/>
                  <a:gd name="connsiteY10" fmla="*/ 77534 h 104298"/>
                  <a:gd name="connsiteX11" fmla="*/ 50197 w 91916"/>
                  <a:gd name="connsiteY11" fmla="*/ 84392 h 104298"/>
                  <a:gd name="connsiteX12" fmla="*/ 59817 w 91916"/>
                  <a:gd name="connsiteY12" fmla="*/ 83249 h 104298"/>
                  <a:gd name="connsiteX13" fmla="*/ 68199 w 91916"/>
                  <a:gd name="connsiteY13" fmla="*/ 79820 h 104298"/>
                  <a:gd name="connsiteX14" fmla="*/ 78200 w 91916"/>
                  <a:gd name="connsiteY14" fmla="*/ 73438 h 104298"/>
                  <a:gd name="connsiteX15" fmla="*/ 88773 w 91916"/>
                  <a:gd name="connsiteY15" fmla="*/ 90392 h 104298"/>
                  <a:gd name="connsiteX16" fmla="*/ 70866 w 91916"/>
                  <a:gd name="connsiteY16" fmla="*/ 100679 h 104298"/>
                  <a:gd name="connsiteX17" fmla="*/ 48768 w 91916"/>
                  <a:gd name="connsiteY17" fmla="*/ 104299 h 104298"/>
                  <a:gd name="connsiteX18" fmla="*/ 12763 w 91916"/>
                  <a:gd name="connsiteY18" fmla="*/ 91154 h 104298"/>
                  <a:gd name="connsiteX19" fmla="*/ 66675 w 91916"/>
                  <a:gd name="connsiteY19" fmla="*/ 41243 h 104298"/>
                  <a:gd name="connsiteX20" fmla="*/ 61341 w 91916"/>
                  <a:gd name="connsiteY20" fmla="*/ 24479 h 104298"/>
                  <a:gd name="connsiteX21" fmla="*/ 47244 w 91916"/>
                  <a:gd name="connsiteY21" fmla="*/ 19050 h 104298"/>
                  <a:gd name="connsiteX22" fmla="*/ 33242 w 91916"/>
                  <a:gd name="connsiteY22" fmla="*/ 24479 h 104298"/>
                  <a:gd name="connsiteX23" fmla="*/ 27622 w 91916"/>
                  <a:gd name="connsiteY23" fmla="*/ 41148 h 104298"/>
                  <a:gd name="connsiteX24" fmla="*/ 66675 w 91916"/>
                  <a:gd name="connsiteY24" fmla="*/ 41148 h 104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91916" h="104298">
                    <a:moveTo>
                      <a:pt x="12859" y="91250"/>
                    </a:moveTo>
                    <a:cubicBezTo>
                      <a:pt x="4286" y="82487"/>
                      <a:pt x="0" y="69437"/>
                      <a:pt x="0" y="52006"/>
                    </a:cubicBezTo>
                    <a:cubicBezTo>
                      <a:pt x="0" y="40386"/>
                      <a:pt x="2096" y="30575"/>
                      <a:pt x="6382" y="22860"/>
                    </a:cubicBezTo>
                    <a:cubicBezTo>
                      <a:pt x="10668" y="15050"/>
                      <a:pt x="16288" y="9335"/>
                      <a:pt x="23527" y="5620"/>
                    </a:cubicBezTo>
                    <a:cubicBezTo>
                      <a:pt x="30766" y="1905"/>
                      <a:pt x="38671" y="0"/>
                      <a:pt x="47435" y="0"/>
                    </a:cubicBezTo>
                    <a:cubicBezTo>
                      <a:pt x="57626" y="0"/>
                      <a:pt x="66104" y="2191"/>
                      <a:pt x="72771" y="6572"/>
                    </a:cubicBezTo>
                    <a:cubicBezTo>
                      <a:pt x="79438" y="10954"/>
                      <a:pt x="84296" y="16859"/>
                      <a:pt x="87344" y="24098"/>
                    </a:cubicBezTo>
                    <a:cubicBezTo>
                      <a:pt x="90392" y="31337"/>
                      <a:pt x="91916" y="39529"/>
                      <a:pt x="91916" y="48482"/>
                    </a:cubicBezTo>
                    <a:cubicBezTo>
                      <a:pt x="91916" y="52006"/>
                      <a:pt x="91726" y="55531"/>
                      <a:pt x="91345" y="58960"/>
                    </a:cubicBezTo>
                    <a:lnTo>
                      <a:pt x="27337" y="58960"/>
                    </a:lnTo>
                    <a:cubicBezTo>
                      <a:pt x="27337" y="66770"/>
                      <a:pt x="29146" y="72962"/>
                      <a:pt x="32861" y="77534"/>
                    </a:cubicBezTo>
                    <a:cubicBezTo>
                      <a:pt x="36576" y="82105"/>
                      <a:pt x="42291" y="84392"/>
                      <a:pt x="50197" y="84392"/>
                    </a:cubicBezTo>
                    <a:cubicBezTo>
                      <a:pt x="53721" y="84392"/>
                      <a:pt x="56960" y="84011"/>
                      <a:pt x="59817" y="83249"/>
                    </a:cubicBezTo>
                    <a:cubicBezTo>
                      <a:pt x="62674" y="82487"/>
                      <a:pt x="65437" y="81344"/>
                      <a:pt x="68199" y="79820"/>
                    </a:cubicBezTo>
                    <a:cubicBezTo>
                      <a:pt x="70961" y="78296"/>
                      <a:pt x="74295" y="76200"/>
                      <a:pt x="78200" y="73438"/>
                    </a:cubicBezTo>
                    <a:lnTo>
                      <a:pt x="88773" y="90392"/>
                    </a:lnTo>
                    <a:cubicBezTo>
                      <a:pt x="82868" y="94869"/>
                      <a:pt x="76962" y="98298"/>
                      <a:pt x="70866" y="100679"/>
                    </a:cubicBezTo>
                    <a:cubicBezTo>
                      <a:pt x="64865" y="103061"/>
                      <a:pt x="57436" y="104299"/>
                      <a:pt x="48768" y="104299"/>
                    </a:cubicBezTo>
                    <a:cubicBezTo>
                      <a:pt x="33338" y="104299"/>
                      <a:pt x="21336" y="99917"/>
                      <a:pt x="12763" y="91154"/>
                    </a:cubicBezTo>
                    <a:close/>
                    <a:moveTo>
                      <a:pt x="66675" y="41243"/>
                    </a:moveTo>
                    <a:cubicBezTo>
                      <a:pt x="66389" y="33719"/>
                      <a:pt x="64675" y="28099"/>
                      <a:pt x="61341" y="24479"/>
                    </a:cubicBezTo>
                    <a:cubicBezTo>
                      <a:pt x="58103" y="20860"/>
                      <a:pt x="53340" y="19050"/>
                      <a:pt x="47244" y="19050"/>
                    </a:cubicBezTo>
                    <a:cubicBezTo>
                      <a:pt x="41148" y="19050"/>
                      <a:pt x="36766" y="20860"/>
                      <a:pt x="33242" y="24479"/>
                    </a:cubicBezTo>
                    <a:cubicBezTo>
                      <a:pt x="29718" y="28099"/>
                      <a:pt x="27908" y="33623"/>
                      <a:pt x="27622" y="41148"/>
                    </a:cubicBezTo>
                    <a:lnTo>
                      <a:pt x="66675" y="41148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47" name="Freeform: Shape 280">
                <a:extLst>
                  <a:ext uri="{FF2B5EF4-FFF2-40B4-BE49-F238E27FC236}">
                    <a16:creationId xmlns:a16="http://schemas.microsoft.com/office/drawing/2014/main" id="{7E057BCB-6011-9A69-F6CD-33A4B0F6A60C}"/>
                  </a:ext>
                </a:extLst>
              </p:cNvPr>
              <p:cNvSpPr/>
              <p:nvPr/>
            </p:nvSpPr>
            <p:spPr>
              <a:xfrm>
                <a:off x="5801963" y="5095113"/>
                <a:ext cx="90677" cy="104298"/>
              </a:xfrm>
              <a:custGeom>
                <a:avLst/>
                <a:gdLst>
                  <a:gd name="connsiteX0" fmla="*/ 22574 w 90677"/>
                  <a:gd name="connsiteY0" fmla="*/ 97822 h 104298"/>
                  <a:gd name="connsiteX1" fmla="*/ 5715 w 90677"/>
                  <a:gd name="connsiteY1" fmla="*/ 79819 h 104298"/>
                  <a:gd name="connsiteX2" fmla="*/ 0 w 90677"/>
                  <a:gd name="connsiteY2" fmla="*/ 52673 h 104298"/>
                  <a:gd name="connsiteX3" fmla="*/ 6096 w 90677"/>
                  <a:gd name="connsiteY3" fmla="*/ 24193 h 104298"/>
                  <a:gd name="connsiteX4" fmla="*/ 23622 w 90677"/>
                  <a:gd name="connsiteY4" fmla="*/ 6191 h 104298"/>
                  <a:gd name="connsiteX5" fmla="*/ 50482 w 90677"/>
                  <a:gd name="connsiteY5" fmla="*/ 0 h 104298"/>
                  <a:gd name="connsiteX6" fmla="*/ 89249 w 90677"/>
                  <a:gd name="connsiteY6" fmla="*/ 21241 h 104298"/>
                  <a:gd name="connsiteX7" fmla="*/ 71056 w 90677"/>
                  <a:gd name="connsiteY7" fmla="*/ 33623 h 104298"/>
                  <a:gd name="connsiteX8" fmla="*/ 62294 w 90677"/>
                  <a:gd name="connsiteY8" fmla="*/ 24098 h 104298"/>
                  <a:gd name="connsiteX9" fmla="*/ 50482 w 90677"/>
                  <a:gd name="connsiteY9" fmla="*/ 20764 h 104298"/>
                  <a:gd name="connsiteX10" fmla="*/ 33338 w 90677"/>
                  <a:gd name="connsiteY10" fmla="*/ 28765 h 104298"/>
                  <a:gd name="connsiteX11" fmla="*/ 27432 w 90677"/>
                  <a:gd name="connsiteY11" fmla="*/ 51625 h 104298"/>
                  <a:gd name="connsiteX12" fmla="*/ 33528 w 90677"/>
                  <a:gd name="connsiteY12" fmla="*/ 75342 h 104298"/>
                  <a:gd name="connsiteX13" fmla="*/ 50673 w 90677"/>
                  <a:gd name="connsiteY13" fmla="*/ 83439 h 104298"/>
                  <a:gd name="connsiteX14" fmla="*/ 63532 w 90677"/>
                  <a:gd name="connsiteY14" fmla="*/ 80010 h 104298"/>
                  <a:gd name="connsiteX15" fmla="*/ 75057 w 90677"/>
                  <a:gd name="connsiteY15" fmla="*/ 70294 h 104298"/>
                  <a:gd name="connsiteX16" fmla="*/ 90678 w 90677"/>
                  <a:gd name="connsiteY16" fmla="*/ 85344 h 104298"/>
                  <a:gd name="connsiteX17" fmla="*/ 73152 w 90677"/>
                  <a:gd name="connsiteY17" fmla="*/ 99250 h 104298"/>
                  <a:gd name="connsiteX18" fmla="*/ 49625 w 90677"/>
                  <a:gd name="connsiteY18" fmla="*/ 104299 h 104298"/>
                  <a:gd name="connsiteX19" fmla="*/ 22574 w 90677"/>
                  <a:gd name="connsiteY19" fmla="*/ 97917 h 104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90677" h="104298">
                    <a:moveTo>
                      <a:pt x="22574" y="97822"/>
                    </a:moveTo>
                    <a:cubicBezTo>
                      <a:pt x="15145" y="93535"/>
                      <a:pt x="9525" y="87534"/>
                      <a:pt x="5715" y="79819"/>
                    </a:cubicBezTo>
                    <a:cubicBezTo>
                      <a:pt x="1905" y="72104"/>
                      <a:pt x="0" y="63055"/>
                      <a:pt x="0" y="52673"/>
                    </a:cubicBezTo>
                    <a:cubicBezTo>
                      <a:pt x="0" y="41529"/>
                      <a:pt x="2000" y="32099"/>
                      <a:pt x="6096" y="24193"/>
                    </a:cubicBezTo>
                    <a:cubicBezTo>
                      <a:pt x="10192" y="16288"/>
                      <a:pt x="16002" y="10287"/>
                      <a:pt x="23622" y="6191"/>
                    </a:cubicBezTo>
                    <a:cubicBezTo>
                      <a:pt x="31147" y="2096"/>
                      <a:pt x="40196" y="0"/>
                      <a:pt x="50482" y="0"/>
                    </a:cubicBezTo>
                    <a:cubicBezTo>
                      <a:pt x="67628" y="0"/>
                      <a:pt x="80581" y="7048"/>
                      <a:pt x="89249" y="21241"/>
                    </a:cubicBezTo>
                    <a:lnTo>
                      <a:pt x="71056" y="33623"/>
                    </a:lnTo>
                    <a:cubicBezTo>
                      <a:pt x="68294" y="29527"/>
                      <a:pt x="65437" y="26384"/>
                      <a:pt x="62294" y="24098"/>
                    </a:cubicBezTo>
                    <a:cubicBezTo>
                      <a:pt x="59150" y="21812"/>
                      <a:pt x="55245" y="20764"/>
                      <a:pt x="50482" y="20764"/>
                    </a:cubicBezTo>
                    <a:cubicBezTo>
                      <a:pt x="42958" y="20764"/>
                      <a:pt x="37243" y="23431"/>
                      <a:pt x="33338" y="28765"/>
                    </a:cubicBezTo>
                    <a:cubicBezTo>
                      <a:pt x="29432" y="34099"/>
                      <a:pt x="27432" y="41719"/>
                      <a:pt x="27432" y="51625"/>
                    </a:cubicBezTo>
                    <a:cubicBezTo>
                      <a:pt x="27432" y="61531"/>
                      <a:pt x="29432" y="69913"/>
                      <a:pt x="33528" y="75342"/>
                    </a:cubicBezTo>
                    <a:cubicBezTo>
                      <a:pt x="37624" y="80772"/>
                      <a:pt x="43339" y="83439"/>
                      <a:pt x="50673" y="83439"/>
                    </a:cubicBezTo>
                    <a:cubicBezTo>
                      <a:pt x="55626" y="83439"/>
                      <a:pt x="59912" y="82296"/>
                      <a:pt x="63532" y="80010"/>
                    </a:cubicBezTo>
                    <a:cubicBezTo>
                      <a:pt x="67151" y="77724"/>
                      <a:pt x="70961" y="74485"/>
                      <a:pt x="75057" y="70294"/>
                    </a:cubicBezTo>
                    <a:lnTo>
                      <a:pt x="90678" y="85344"/>
                    </a:lnTo>
                    <a:cubicBezTo>
                      <a:pt x="85820" y="91249"/>
                      <a:pt x="80010" y="95917"/>
                      <a:pt x="73152" y="99250"/>
                    </a:cubicBezTo>
                    <a:cubicBezTo>
                      <a:pt x="66294" y="102584"/>
                      <a:pt x="58483" y="104299"/>
                      <a:pt x="49625" y="104299"/>
                    </a:cubicBezTo>
                    <a:cubicBezTo>
                      <a:pt x="39053" y="104299"/>
                      <a:pt x="30004" y="102203"/>
                      <a:pt x="22574" y="97917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48" name="Freeform: Shape 281">
                <a:extLst>
                  <a:ext uri="{FF2B5EF4-FFF2-40B4-BE49-F238E27FC236}">
                    <a16:creationId xmlns:a16="http://schemas.microsoft.com/office/drawing/2014/main" id="{C5182FC0-CC80-0946-6912-88ED1D93B903}"/>
                  </a:ext>
                </a:extLst>
              </p:cNvPr>
              <p:cNvSpPr/>
              <p:nvPr/>
            </p:nvSpPr>
            <p:spPr>
              <a:xfrm>
                <a:off x="5907881" y="5059299"/>
                <a:ext cx="91154" cy="138112"/>
              </a:xfrm>
              <a:custGeom>
                <a:avLst/>
                <a:gdLst>
                  <a:gd name="connsiteX0" fmla="*/ 0 w 91154"/>
                  <a:gd name="connsiteY0" fmla="*/ 0 h 138112"/>
                  <a:gd name="connsiteX1" fmla="*/ 26098 w 91154"/>
                  <a:gd name="connsiteY1" fmla="*/ 0 h 138112"/>
                  <a:gd name="connsiteX2" fmla="*/ 26098 w 91154"/>
                  <a:gd name="connsiteY2" fmla="*/ 37719 h 138112"/>
                  <a:gd name="connsiteX3" fmla="*/ 25337 w 91154"/>
                  <a:gd name="connsiteY3" fmla="*/ 55626 h 138112"/>
                  <a:gd name="connsiteX4" fmla="*/ 25718 w 91154"/>
                  <a:gd name="connsiteY4" fmla="*/ 55626 h 138112"/>
                  <a:gd name="connsiteX5" fmla="*/ 38957 w 91154"/>
                  <a:gd name="connsiteY5" fmla="*/ 40481 h 138112"/>
                  <a:gd name="connsiteX6" fmla="*/ 58103 w 91154"/>
                  <a:gd name="connsiteY6" fmla="*/ 35623 h 138112"/>
                  <a:gd name="connsiteX7" fmla="*/ 83248 w 91154"/>
                  <a:gd name="connsiteY7" fmla="*/ 46101 h 138112"/>
                  <a:gd name="connsiteX8" fmla="*/ 91154 w 91154"/>
                  <a:gd name="connsiteY8" fmla="*/ 74295 h 138112"/>
                  <a:gd name="connsiteX9" fmla="*/ 91154 w 91154"/>
                  <a:gd name="connsiteY9" fmla="*/ 138113 h 138112"/>
                  <a:gd name="connsiteX10" fmla="*/ 65151 w 91154"/>
                  <a:gd name="connsiteY10" fmla="*/ 138113 h 138112"/>
                  <a:gd name="connsiteX11" fmla="*/ 65151 w 91154"/>
                  <a:gd name="connsiteY11" fmla="*/ 81724 h 138112"/>
                  <a:gd name="connsiteX12" fmla="*/ 61341 w 91154"/>
                  <a:gd name="connsiteY12" fmla="*/ 64198 h 138112"/>
                  <a:gd name="connsiteX13" fmla="*/ 48196 w 91154"/>
                  <a:gd name="connsiteY13" fmla="*/ 58103 h 138112"/>
                  <a:gd name="connsiteX14" fmla="*/ 36862 w 91154"/>
                  <a:gd name="connsiteY14" fmla="*/ 61436 h 138112"/>
                  <a:gd name="connsiteX15" fmla="*/ 28956 w 91154"/>
                  <a:gd name="connsiteY15" fmla="*/ 70675 h 138112"/>
                  <a:gd name="connsiteX16" fmla="*/ 26098 w 91154"/>
                  <a:gd name="connsiteY16" fmla="*/ 84201 h 138112"/>
                  <a:gd name="connsiteX17" fmla="*/ 26098 w 91154"/>
                  <a:gd name="connsiteY17" fmla="*/ 138113 h 138112"/>
                  <a:gd name="connsiteX18" fmla="*/ 0 w 91154"/>
                  <a:gd name="connsiteY18" fmla="*/ 138113 h 138112"/>
                  <a:gd name="connsiteX19" fmla="*/ 0 w 91154"/>
                  <a:gd name="connsiteY19" fmla="*/ 0 h 1381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91154" h="138112">
                    <a:moveTo>
                      <a:pt x="0" y="0"/>
                    </a:moveTo>
                    <a:lnTo>
                      <a:pt x="26098" y="0"/>
                    </a:lnTo>
                    <a:lnTo>
                      <a:pt x="26098" y="37719"/>
                    </a:lnTo>
                    <a:cubicBezTo>
                      <a:pt x="26098" y="41910"/>
                      <a:pt x="25813" y="47911"/>
                      <a:pt x="25337" y="55626"/>
                    </a:cubicBezTo>
                    <a:lnTo>
                      <a:pt x="25718" y="55626"/>
                    </a:lnTo>
                    <a:cubicBezTo>
                      <a:pt x="29146" y="48768"/>
                      <a:pt x="33623" y="43720"/>
                      <a:pt x="38957" y="40481"/>
                    </a:cubicBezTo>
                    <a:cubicBezTo>
                      <a:pt x="44291" y="37243"/>
                      <a:pt x="50673" y="35623"/>
                      <a:pt x="58103" y="35623"/>
                    </a:cubicBezTo>
                    <a:cubicBezTo>
                      <a:pt x="69532" y="35623"/>
                      <a:pt x="77914" y="39148"/>
                      <a:pt x="83248" y="46101"/>
                    </a:cubicBezTo>
                    <a:cubicBezTo>
                      <a:pt x="88582" y="53149"/>
                      <a:pt x="91154" y="62484"/>
                      <a:pt x="91154" y="74295"/>
                    </a:cubicBezTo>
                    <a:lnTo>
                      <a:pt x="91154" y="138113"/>
                    </a:lnTo>
                    <a:lnTo>
                      <a:pt x="65151" y="138113"/>
                    </a:lnTo>
                    <a:lnTo>
                      <a:pt x="65151" y="81724"/>
                    </a:lnTo>
                    <a:cubicBezTo>
                      <a:pt x="65151" y="74200"/>
                      <a:pt x="63913" y="68294"/>
                      <a:pt x="61341" y="64198"/>
                    </a:cubicBezTo>
                    <a:cubicBezTo>
                      <a:pt x="58769" y="60103"/>
                      <a:pt x="54388" y="58103"/>
                      <a:pt x="48196" y="58103"/>
                    </a:cubicBezTo>
                    <a:cubicBezTo>
                      <a:pt x="44005" y="58103"/>
                      <a:pt x="40291" y="59246"/>
                      <a:pt x="36862" y="61436"/>
                    </a:cubicBezTo>
                    <a:cubicBezTo>
                      <a:pt x="33528" y="63627"/>
                      <a:pt x="30861" y="66675"/>
                      <a:pt x="28956" y="70675"/>
                    </a:cubicBezTo>
                    <a:cubicBezTo>
                      <a:pt x="27051" y="74676"/>
                      <a:pt x="26098" y="79153"/>
                      <a:pt x="26098" y="84201"/>
                    </a:cubicBezTo>
                    <a:lnTo>
                      <a:pt x="26098" y="138113"/>
                    </a:lnTo>
                    <a:lnTo>
                      <a:pt x="0" y="13811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49" name="Freeform: Shape 282">
                <a:extLst>
                  <a:ext uri="{FF2B5EF4-FFF2-40B4-BE49-F238E27FC236}">
                    <a16:creationId xmlns:a16="http://schemas.microsoft.com/office/drawing/2014/main" id="{80B087CB-C2D2-E3DC-BCB2-45D36A968E0F}"/>
                  </a:ext>
                </a:extLst>
              </p:cNvPr>
              <p:cNvSpPr/>
              <p:nvPr/>
            </p:nvSpPr>
            <p:spPr>
              <a:xfrm>
                <a:off x="6023609" y="5094636"/>
                <a:ext cx="91916" cy="102679"/>
              </a:xfrm>
              <a:custGeom>
                <a:avLst/>
                <a:gdLst>
                  <a:gd name="connsiteX0" fmla="*/ 667 w 91916"/>
                  <a:gd name="connsiteY0" fmla="*/ 24670 h 102679"/>
                  <a:gd name="connsiteX1" fmla="*/ 476 w 91916"/>
                  <a:gd name="connsiteY1" fmla="*/ 11430 h 102679"/>
                  <a:gd name="connsiteX2" fmla="*/ 0 w 91916"/>
                  <a:gd name="connsiteY2" fmla="*/ 2191 h 102679"/>
                  <a:gd name="connsiteX3" fmla="*/ 24955 w 91916"/>
                  <a:gd name="connsiteY3" fmla="*/ 2191 h 102679"/>
                  <a:gd name="connsiteX4" fmla="*/ 25718 w 91916"/>
                  <a:gd name="connsiteY4" fmla="*/ 10382 h 102679"/>
                  <a:gd name="connsiteX5" fmla="*/ 26099 w 91916"/>
                  <a:gd name="connsiteY5" fmla="*/ 20193 h 102679"/>
                  <a:gd name="connsiteX6" fmla="*/ 26479 w 91916"/>
                  <a:gd name="connsiteY6" fmla="*/ 20193 h 102679"/>
                  <a:gd name="connsiteX7" fmla="*/ 39814 w 91916"/>
                  <a:gd name="connsiteY7" fmla="*/ 4953 h 102679"/>
                  <a:gd name="connsiteX8" fmla="*/ 58864 w 91916"/>
                  <a:gd name="connsiteY8" fmla="*/ 0 h 102679"/>
                  <a:gd name="connsiteX9" fmla="*/ 84011 w 91916"/>
                  <a:gd name="connsiteY9" fmla="*/ 10573 h 102679"/>
                  <a:gd name="connsiteX10" fmla="*/ 91916 w 91916"/>
                  <a:gd name="connsiteY10" fmla="*/ 38862 h 102679"/>
                  <a:gd name="connsiteX11" fmla="*/ 91916 w 91916"/>
                  <a:gd name="connsiteY11" fmla="*/ 102679 h 102679"/>
                  <a:gd name="connsiteX12" fmla="*/ 65913 w 91916"/>
                  <a:gd name="connsiteY12" fmla="*/ 102679 h 102679"/>
                  <a:gd name="connsiteX13" fmla="*/ 65913 w 91916"/>
                  <a:gd name="connsiteY13" fmla="*/ 46292 h 102679"/>
                  <a:gd name="connsiteX14" fmla="*/ 62103 w 91916"/>
                  <a:gd name="connsiteY14" fmla="*/ 28670 h 102679"/>
                  <a:gd name="connsiteX15" fmla="*/ 48959 w 91916"/>
                  <a:gd name="connsiteY15" fmla="*/ 22479 h 102679"/>
                  <a:gd name="connsiteX16" fmla="*/ 37624 w 91916"/>
                  <a:gd name="connsiteY16" fmla="*/ 25813 h 102679"/>
                  <a:gd name="connsiteX17" fmla="*/ 29718 w 91916"/>
                  <a:gd name="connsiteY17" fmla="*/ 35147 h 102679"/>
                  <a:gd name="connsiteX18" fmla="*/ 26861 w 91916"/>
                  <a:gd name="connsiteY18" fmla="*/ 48768 h 102679"/>
                  <a:gd name="connsiteX19" fmla="*/ 26861 w 91916"/>
                  <a:gd name="connsiteY19" fmla="*/ 102679 h 102679"/>
                  <a:gd name="connsiteX20" fmla="*/ 762 w 91916"/>
                  <a:gd name="connsiteY20" fmla="*/ 102679 h 102679"/>
                  <a:gd name="connsiteX21" fmla="*/ 762 w 91916"/>
                  <a:gd name="connsiteY21" fmla="*/ 24575 h 1026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91916" h="102679">
                    <a:moveTo>
                      <a:pt x="667" y="24670"/>
                    </a:moveTo>
                    <a:cubicBezTo>
                      <a:pt x="667" y="20384"/>
                      <a:pt x="667" y="16002"/>
                      <a:pt x="476" y="11430"/>
                    </a:cubicBezTo>
                    <a:cubicBezTo>
                      <a:pt x="286" y="6858"/>
                      <a:pt x="191" y="3810"/>
                      <a:pt x="0" y="2191"/>
                    </a:cubicBezTo>
                    <a:lnTo>
                      <a:pt x="24955" y="2191"/>
                    </a:lnTo>
                    <a:cubicBezTo>
                      <a:pt x="25241" y="3524"/>
                      <a:pt x="25432" y="6287"/>
                      <a:pt x="25718" y="10382"/>
                    </a:cubicBezTo>
                    <a:cubicBezTo>
                      <a:pt x="26003" y="14478"/>
                      <a:pt x="26099" y="17812"/>
                      <a:pt x="26099" y="20193"/>
                    </a:cubicBezTo>
                    <a:lnTo>
                      <a:pt x="26479" y="20193"/>
                    </a:lnTo>
                    <a:cubicBezTo>
                      <a:pt x="30004" y="13335"/>
                      <a:pt x="34480" y="8192"/>
                      <a:pt x="39814" y="4953"/>
                    </a:cubicBezTo>
                    <a:cubicBezTo>
                      <a:pt x="45149" y="1619"/>
                      <a:pt x="51530" y="0"/>
                      <a:pt x="58864" y="0"/>
                    </a:cubicBezTo>
                    <a:cubicBezTo>
                      <a:pt x="70295" y="0"/>
                      <a:pt x="78677" y="3524"/>
                      <a:pt x="84011" y="10573"/>
                    </a:cubicBezTo>
                    <a:cubicBezTo>
                      <a:pt x="89345" y="17621"/>
                      <a:pt x="91916" y="27051"/>
                      <a:pt x="91916" y="38862"/>
                    </a:cubicBezTo>
                    <a:lnTo>
                      <a:pt x="91916" y="102679"/>
                    </a:lnTo>
                    <a:lnTo>
                      <a:pt x="65913" y="102679"/>
                    </a:lnTo>
                    <a:lnTo>
                      <a:pt x="65913" y="46292"/>
                    </a:lnTo>
                    <a:cubicBezTo>
                      <a:pt x="65913" y="38767"/>
                      <a:pt x="64675" y="32861"/>
                      <a:pt x="62103" y="28670"/>
                    </a:cubicBezTo>
                    <a:cubicBezTo>
                      <a:pt x="59531" y="24479"/>
                      <a:pt x="55150" y="22479"/>
                      <a:pt x="48959" y="22479"/>
                    </a:cubicBezTo>
                    <a:cubicBezTo>
                      <a:pt x="44768" y="22479"/>
                      <a:pt x="40958" y="23622"/>
                      <a:pt x="37624" y="25813"/>
                    </a:cubicBezTo>
                    <a:cubicBezTo>
                      <a:pt x="34290" y="28004"/>
                      <a:pt x="31623" y="31147"/>
                      <a:pt x="29718" y="35147"/>
                    </a:cubicBezTo>
                    <a:cubicBezTo>
                      <a:pt x="27813" y="39148"/>
                      <a:pt x="26861" y="43720"/>
                      <a:pt x="26861" y="48768"/>
                    </a:cubicBezTo>
                    <a:lnTo>
                      <a:pt x="26861" y="102679"/>
                    </a:lnTo>
                    <a:lnTo>
                      <a:pt x="762" y="102679"/>
                    </a:lnTo>
                    <a:lnTo>
                      <a:pt x="762" y="24575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50" name="Freeform: Shape 283">
                <a:extLst>
                  <a:ext uri="{FF2B5EF4-FFF2-40B4-BE49-F238E27FC236}">
                    <a16:creationId xmlns:a16="http://schemas.microsoft.com/office/drawing/2014/main" id="{D447E69B-7EB6-5EC2-97FB-68322214D183}"/>
                  </a:ext>
                </a:extLst>
              </p:cNvPr>
              <p:cNvSpPr/>
              <p:nvPr/>
            </p:nvSpPr>
            <p:spPr>
              <a:xfrm>
                <a:off x="6134766" y="5095113"/>
                <a:ext cx="101441" cy="104393"/>
              </a:xfrm>
              <a:custGeom>
                <a:avLst/>
                <a:gdLst>
                  <a:gd name="connsiteX0" fmla="*/ 23146 w 101441"/>
                  <a:gd name="connsiteY0" fmla="*/ 97346 h 104393"/>
                  <a:gd name="connsiteX1" fmla="*/ 5905 w 101441"/>
                  <a:gd name="connsiteY1" fmla="*/ 78581 h 104393"/>
                  <a:gd name="connsiteX2" fmla="*/ 0 w 101441"/>
                  <a:gd name="connsiteY2" fmla="*/ 51911 h 104393"/>
                  <a:gd name="connsiteX3" fmla="*/ 5715 w 101441"/>
                  <a:gd name="connsiteY3" fmla="*/ 25717 h 104393"/>
                  <a:gd name="connsiteX4" fmla="*/ 22860 w 101441"/>
                  <a:gd name="connsiteY4" fmla="*/ 6953 h 104393"/>
                  <a:gd name="connsiteX5" fmla="*/ 50863 w 101441"/>
                  <a:gd name="connsiteY5" fmla="*/ 0 h 104393"/>
                  <a:gd name="connsiteX6" fmla="*/ 79534 w 101441"/>
                  <a:gd name="connsiteY6" fmla="*/ 6953 h 104393"/>
                  <a:gd name="connsiteX7" fmla="*/ 96107 w 101441"/>
                  <a:gd name="connsiteY7" fmla="*/ 25527 h 104393"/>
                  <a:gd name="connsiteX8" fmla="*/ 101441 w 101441"/>
                  <a:gd name="connsiteY8" fmla="*/ 52006 h 104393"/>
                  <a:gd name="connsiteX9" fmla="*/ 95631 w 101441"/>
                  <a:gd name="connsiteY9" fmla="*/ 78676 h 104393"/>
                  <a:gd name="connsiteX10" fmla="*/ 78296 w 101441"/>
                  <a:gd name="connsiteY10" fmla="*/ 97441 h 104393"/>
                  <a:gd name="connsiteX11" fmla="*/ 50292 w 101441"/>
                  <a:gd name="connsiteY11" fmla="*/ 104394 h 104393"/>
                  <a:gd name="connsiteX12" fmla="*/ 23050 w 101441"/>
                  <a:gd name="connsiteY12" fmla="*/ 97536 h 104393"/>
                  <a:gd name="connsiteX13" fmla="*/ 67913 w 101441"/>
                  <a:gd name="connsiteY13" fmla="*/ 75342 h 104393"/>
                  <a:gd name="connsiteX14" fmla="*/ 74104 w 101441"/>
                  <a:gd name="connsiteY14" fmla="*/ 51911 h 104393"/>
                  <a:gd name="connsiteX15" fmla="*/ 68199 w 101441"/>
                  <a:gd name="connsiteY15" fmla="*/ 28765 h 104393"/>
                  <a:gd name="connsiteX16" fmla="*/ 51149 w 101441"/>
                  <a:gd name="connsiteY16" fmla="*/ 20669 h 104393"/>
                  <a:gd name="connsiteX17" fmla="*/ 33433 w 101441"/>
                  <a:gd name="connsiteY17" fmla="*/ 28765 h 104393"/>
                  <a:gd name="connsiteX18" fmla="*/ 27337 w 101441"/>
                  <a:gd name="connsiteY18" fmla="*/ 51911 h 104393"/>
                  <a:gd name="connsiteX19" fmla="*/ 30194 w 101441"/>
                  <a:gd name="connsiteY19" fmla="*/ 68961 h 104393"/>
                  <a:gd name="connsiteX20" fmla="*/ 38100 w 101441"/>
                  <a:gd name="connsiteY20" fmla="*/ 79819 h 104393"/>
                  <a:gd name="connsiteX21" fmla="*/ 50006 w 101441"/>
                  <a:gd name="connsiteY21" fmla="*/ 83534 h 104393"/>
                  <a:gd name="connsiteX22" fmla="*/ 67913 w 101441"/>
                  <a:gd name="connsiteY22" fmla="*/ 75342 h 1043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101441" h="104393">
                    <a:moveTo>
                      <a:pt x="23146" y="97346"/>
                    </a:moveTo>
                    <a:cubicBezTo>
                      <a:pt x="15526" y="92773"/>
                      <a:pt x="9811" y="86487"/>
                      <a:pt x="5905" y="78581"/>
                    </a:cubicBezTo>
                    <a:cubicBezTo>
                      <a:pt x="2000" y="70675"/>
                      <a:pt x="0" y="61722"/>
                      <a:pt x="0" y="51911"/>
                    </a:cubicBezTo>
                    <a:cubicBezTo>
                      <a:pt x="0" y="42100"/>
                      <a:pt x="1905" y="33528"/>
                      <a:pt x="5715" y="25717"/>
                    </a:cubicBezTo>
                    <a:cubicBezTo>
                      <a:pt x="9525" y="17812"/>
                      <a:pt x="15240" y="11621"/>
                      <a:pt x="22860" y="6953"/>
                    </a:cubicBezTo>
                    <a:cubicBezTo>
                      <a:pt x="30480" y="2286"/>
                      <a:pt x="39814" y="0"/>
                      <a:pt x="50863" y="0"/>
                    </a:cubicBezTo>
                    <a:cubicBezTo>
                      <a:pt x="62484" y="0"/>
                      <a:pt x="72009" y="2286"/>
                      <a:pt x="79534" y="6953"/>
                    </a:cubicBezTo>
                    <a:cubicBezTo>
                      <a:pt x="87058" y="11525"/>
                      <a:pt x="92583" y="17812"/>
                      <a:pt x="96107" y="25527"/>
                    </a:cubicBezTo>
                    <a:cubicBezTo>
                      <a:pt x="99631" y="33338"/>
                      <a:pt x="101441" y="42100"/>
                      <a:pt x="101441" y="52006"/>
                    </a:cubicBezTo>
                    <a:cubicBezTo>
                      <a:pt x="101441" y="61913"/>
                      <a:pt x="99536" y="70771"/>
                      <a:pt x="95631" y="78676"/>
                    </a:cubicBezTo>
                    <a:cubicBezTo>
                      <a:pt x="91726" y="86582"/>
                      <a:pt x="86011" y="92869"/>
                      <a:pt x="78296" y="97441"/>
                    </a:cubicBezTo>
                    <a:cubicBezTo>
                      <a:pt x="70580" y="102013"/>
                      <a:pt x="61246" y="104394"/>
                      <a:pt x="50292" y="104394"/>
                    </a:cubicBezTo>
                    <a:cubicBezTo>
                      <a:pt x="39338" y="104394"/>
                      <a:pt x="30671" y="102108"/>
                      <a:pt x="23050" y="97536"/>
                    </a:cubicBezTo>
                    <a:close/>
                    <a:moveTo>
                      <a:pt x="67913" y="75342"/>
                    </a:moveTo>
                    <a:cubicBezTo>
                      <a:pt x="72104" y="69913"/>
                      <a:pt x="74104" y="62103"/>
                      <a:pt x="74104" y="51911"/>
                    </a:cubicBezTo>
                    <a:cubicBezTo>
                      <a:pt x="74104" y="41719"/>
                      <a:pt x="72104" y="34099"/>
                      <a:pt x="68199" y="28765"/>
                    </a:cubicBezTo>
                    <a:cubicBezTo>
                      <a:pt x="64294" y="23431"/>
                      <a:pt x="58579" y="20669"/>
                      <a:pt x="51149" y="20669"/>
                    </a:cubicBezTo>
                    <a:cubicBezTo>
                      <a:pt x="43720" y="20669"/>
                      <a:pt x="37529" y="23336"/>
                      <a:pt x="33433" y="28765"/>
                    </a:cubicBezTo>
                    <a:cubicBezTo>
                      <a:pt x="29337" y="34195"/>
                      <a:pt x="27337" y="41910"/>
                      <a:pt x="27337" y="51911"/>
                    </a:cubicBezTo>
                    <a:cubicBezTo>
                      <a:pt x="27337" y="58579"/>
                      <a:pt x="28289" y="64198"/>
                      <a:pt x="30194" y="68961"/>
                    </a:cubicBezTo>
                    <a:cubicBezTo>
                      <a:pt x="32099" y="73723"/>
                      <a:pt x="34766" y="77343"/>
                      <a:pt x="38100" y="79819"/>
                    </a:cubicBezTo>
                    <a:cubicBezTo>
                      <a:pt x="41434" y="82296"/>
                      <a:pt x="45434" y="83534"/>
                      <a:pt x="50006" y="83534"/>
                    </a:cubicBezTo>
                    <a:cubicBezTo>
                      <a:pt x="57721" y="83534"/>
                      <a:pt x="63722" y="80772"/>
                      <a:pt x="67913" y="75342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51" name="Freeform: Shape 284">
                <a:extLst>
                  <a:ext uri="{FF2B5EF4-FFF2-40B4-BE49-F238E27FC236}">
                    <a16:creationId xmlns:a16="http://schemas.microsoft.com/office/drawing/2014/main" id="{66DB87AB-3900-F92D-75C8-74C0A54B864E}"/>
                  </a:ext>
                </a:extLst>
              </p:cNvPr>
              <p:cNvSpPr/>
              <p:nvPr/>
            </p:nvSpPr>
            <p:spPr>
              <a:xfrm>
                <a:off x="6256115" y="5059394"/>
                <a:ext cx="40671" cy="139445"/>
              </a:xfrm>
              <a:custGeom>
                <a:avLst/>
                <a:gdLst>
                  <a:gd name="connsiteX0" fmla="*/ 6572 w 40671"/>
                  <a:gd name="connsiteY0" fmla="*/ 132397 h 139445"/>
                  <a:gd name="connsiteX1" fmla="*/ 0 w 40671"/>
                  <a:gd name="connsiteY1" fmla="*/ 113728 h 139445"/>
                  <a:gd name="connsiteX2" fmla="*/ 0 w 40671"/>
                  <a:gd name="connsiteY2" fmla="*/ 0 h 139445"/>
                  <a:gd name="connsiteX3" fmla="*/ 26098 w 40671"/>
                  <a:gd name="connsiteY3" fmla="*/ 0 h 139445"/>
                  <a:gd name="connsiteX4" fmla="*/ 26098 w 40671"/>
                  <a:gd name="connsiteY4" fmla="*/ 107251 h 139445"/>
                  <a:gd name="connsiteX5" fmla="*/ 26765 w 40671"/>
                  <a:gd name="connsiteY5" fmla="*/ 114014 h 139445"/>
                  <a:gd name="connsiteX6" fmla="*/ 29337 w 40671"/>
                  <a:gd name="connsiteY6" fmla="*/ 117443 h 139445"/>
                  <a:gd name="connsiteX7" fmla="*/ 34957 w 40671"/>
                  <a:gd name="connsiteY7" fmla="*/ 118491 h 139445"/>
                  <a:gd name="connsiteX8" fmla="*/ 39719 w 40671"/>
                  <a:gd name="connsiteY8" fmla="*/ 117919 h 139445"/>
                  <a:gd name="connsiteX9" fmla="*/ 40672 w 40671"/>
                  <a:gd name="connsiteY9" fmla="*/ 138113 h 139445"/>
                  <a:gd name="connsiteX10" fmla="*/ 26765 w 40671"/>
                  <a:gd name="connsiteY10" fmla="*/ 139446 h 139445"/>
                  <a:gd name="connsiteX11" fmla="*/ 6477 w 40671"/>
                  <a:gd name="connsiteY11" fmla="*/ 132493 h 1394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40671" h="139445">
                    <a:moveTo>
                      <a:pt x="6572" y="132397"/>
                    </a:moveTo>
                    <a:cubicBezTo>
                      <a:pt x="2191" y="127730"/>
                      <a:pt x="0" y="121539"/>
                      <a:pt x="0" y="113728"/>
                    </a:cubicBezTo>
                    <a:lnTo>
                      <a:pt x="0" y="0"/>
                    </a:lnTo>
                    <a:lnTo>
                      <a:pt x="26098" y="0"/>
                    </a:lnTo>
                    <a:lnTo>
                      <a:pt x="26098" y="107251"/>
                    </a:lnTo>
                    <a:cubicBezTo>
                      <a:pt x="26098" y="110204"/>
                      <a:pt x="26289" y="112395"/>
                      <a:pt x="26765" y="114014"/>
                    </a:cubicBezTo>
                    <a:cubicBezTo>
                      <a:pt x="27242" y="115633"/>
                      <a:pt x="28099" y="116776"/>
                      <a:pt x="29337" y="117443"/>
                    </a:cubicBezTo>
                    <a:cubicBezTo>
                      <a:pt x="30575" y="118110"/>
                      <a:pt x="32480" y="118491"/>
                      <a:pt x="34957" y="118491"/>
                    </a:cubicBezTo>
                    <a:cubicBezTo>
                      <a:pt x="36481" y="118491"/>
                      <a:pt x="38005" y="118300"/>
                      <a:pt x="39719" y="117919"/>
                    </a:cubicBezTo>
                    <a:lnTo>
                      <a:pt x="40672" y="138113"/>
                    </a:lnTo>
                    <a:cubicBezTo>
                      <a:pt x="36195" y="138970"/>
                      <a:pt x="31623" y="139446"/>
                      <a:pt x="26765" y="139446"/>
                    </a:cubicBezTo>
                    <a:cubicBezTo>
                      <a:pt x="17621" y="139446"/>
                      <a:pt x="10859" y="137160"/>
                      <a:pt x="6477" y="1324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52" name="Freeform: Shape 285">
                <a:extLst>
                  <a:ext uri="{FF2B5EF4-FFF2-40B4-BE49-F238E27FC236}">
                    <a16:creationId xmlns:a16="http://schemas.microsoft.com/office/drawing/2014/main" id="{1154C891-C4A3-23F8-008A-3A073AA89E66}"/>
                  </a:ext>
                </a:extLst>
              </p:cNvPr>
              <p:cNvSpPr/>
              <p:nvPr/>
            </p:nvSpPr>
            <p:spPr>
              <a:xfrm>
                <a:off x="6307169" y="5095113"/>
                <a:ext cx="101441" cy="104393"/>
              </a:xfrm>
              <a:custGeom>
                <a:avLst/>
                <a:gdLst>
                  <a:gd name="connsiteX0" fmla="*/ 23146 w 101441"/>
                  <a:gd name="connsiteY0" fmla="*/ 97346 h 104393"/>
                  <a:gd name="connsiteX1" fmla="*/ 5905 w 101441"/>
                  <a:gd name="connsiteY1" fmla="*/ 78581 h 104393"/>
                  <a:gd name="connsiteX2" fmla="*/ 0 w 101441"/>
                  <a:gd name="connsiteY2" fmla="*/ 51911 h 104393"/>
                  <a:gd name="connsiteX3" fmla="*/ 5715 w 101441"/>
                  <a:gd name="connsiteY3" fmla="*/ 25717 h 104393"/>
                  <a:gd name="connsiteX4" fmla="*/ 22860 w 101441"/>
                  <a:gd name="connsiteY4" fmla="*/ 6953 h 104393"/>
                  <a:gd name="connsiteX5" fmla="*/ 50863 w 101441"/>
                  <a:gd name="connsiteY5" fmla="*/ 0 h 104393"/>
                  <a:gd name="connsiteX6" fmla="*/ 79534 w 101441"/>
                  <a:gd name="connsiteY6" fmla="*/ 6953 h 104393"/>
                  <a:gd name="connsiteX7" fmla="*/ 96107 w 101441"/>
                  <a:gd name="connsiteY7" fmla="*/ 25527 h 104393"/>
                  <a:gd name="connsiteX8" fmla="*/ 101441 w 101441"/>
                  <a:gd name="connsiteY8" fmla="*/ 52006 h 104393"/>
                  <a:gd name="connsiteX9" fmla="*/ 95631 w 101441"/>
                  <a:gd name="connsiteY9" fmla="*/ 78676 h 104393"/>
                  <a:gd name="connsiteX10" fmla="*/ 78296 w 101441"/>
                  <a:gd name="connsiteY10" fmla="*/ 97441 h 104393"/>
                  <a:gd name="connsiteX11" fmla="*/ 50292 w 101441"/>
                  <a:gd name="connsiteY11" fmla="*/ 104394 h 104393"/>
                  <a:gd name="connsiteX12" fmla="*/ 23050 w 101441"/>
                  <a:gd name="connsiteY12" fmla="*/ 97536 h 104393"/>
                  <a:gd name="connsiteX13" fmla="*/ 67913 w 101441"/>
                  <a:gd name="connsiteY13" fmla="*/ 75342 h 104393"/>
                  <a:gd name="connsiteX14" fmla="*/ 74104 w 101441"/>
                  <a:gd name="connsiteY14" fmla="*/ 51911 h 104393"/>
                  <a:gd name="connsiteX15" fmla="*/ 68199 w 101441"/>
                  <a:gd name="connsiteY15" fmla="*/ 28765 h 104393"/>
                  <a:gd name="connsiteX16" fmla="*/ 51149 w 101441"/>
                  <a:gd name="connsiteY16" fmla="*/ 20669 h 104393"/>
                  <a:gd name="connsiteX17" fmla="*/ 33433 w 101441"/>
                  <a:gd name="connsiteY17" fmla="*/ 28765 h 104393"/>
                  <a:gd name="connsiteX18" fmla="*/ 27337 w 101441"/>
                  <a:gd name="connsiteY18" fmla="*/ 51911 h 104393"/>
                  <a:gd name="connsiteX19" fmla="*/ 30194 w 101441"/>
                  <a:gd name="connsiteY19" fmla="*/ 68961 h 104393"/>
                  <a:gd name="connsiteX20" fmla="*/ 38100 w 101441"/>
                  <a:gd name="connsiteY20" fmla="*/ 79819 h 104393"/>
                  <a:gd name="connsiteX21" fmla="*/ 50006 w 101441"/>
                  <a:gd name="connsiteY21" fmla="*/ 83534 h 104393"/>
                  <a:gd name="connsiteX22" fmla="*/ 67913 w 101441"/>
                  <a:gd name="connsiteY22" fmla="*/ 75342 h 1043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101441" h="104393">
                    <a:moveTo>
                      <a:pt x="23146" y="97346"/>
                    </a:moveTo>
                    <a:cubicBezTo>
                      <a:pt x="15526" y="92773"/>
                      <a:pt x="9811" y="86487"/>
                      <a:pt x="5905" y="78581"/>
                    </a:cubicBezTo>
                    <a:cubicBezTo>
                      <a:pt x="2000" y="70675"/>
                      <a:pt x="0" y="61722"/>
                      <a:pt x="0" y="51911"/>
                    </a:cubicBezTo>
                    <a:cubicBezTo>
                      <a:pt x="0" y="42100"/>
                      <a:pt x="1905" y="33528"/>
                      <a:pt x="5715" y="25717"/>
                    </a:cubicBezTo>
                    <a:cubicBezTo>
                      <a:pt x="9525" y="17812"/>
                      <a:pt x="15240" y="11621"/>
                      <a:pt x="22860" y="6953"/>
                    </a:cubicBezTo>
                    <a:cubicBezTo>
                      <a:pt x="30480" y="2286"/>
                      <a:pt x="39814" y="0"/>
                      <a:pt x="50863" y="0"/>
                    </a:cubicBezTo>
                    <a:cubicBezTo>
                      <a:pt x="62484" y="0"/>
                      <a:pt x="72009" y="2286"/>
                      <a:pt x="79534" y="6953"/>
                    </a:cubicBezTo>
                    <a:cubicBezTo>
                      <a:pt x="87058" y="11525"/>
                      <a:pt x="92583" y="17812"/>
                      <a:pt x="96107" y="25527"/>
                    </a:cubicBezTo>
                    <a:cubicBezTo>
                      <a:pt x="99631" y="33338"/>
                      <a:pt x="101441" y="42100"/>
                      <a:pt x="101441" y="52006"/>
                    </a:cubicBezTo>
                    <a:cubicBezTo>
                      <a:pt x="101441" y="61913"/>
                      <a:pt x="99536" y="70771"/>
                      <a:pt x="95631" y="78676"/>
                    </a:cubicBezTo>
                    <a:cubicBezTo>
                      <a:pt x="91726" y="86582"/>
                      <a:pt x="86011" y="92869"/>
                      <a:pt x="78296" y="97441"/>
                    </a:cubicBezTo>
                    <a:cubicBezTo>
                      <a:pt x="70580" y="102013"/>
                      <a:pt x="61246" y="104394"/>
                      <a:pt x="50292" y="104394"/>
                    </a:cubicBezTo>
                    <a:cubicBezTo>
                      <a:pt x="39338" y="104394"/>
                      <a:pt x="30671" y="102108"/>
                      <a:pt x="23050" y="97536"/>
                    </a:cubicBezTo>
                    <a:close/>
                    <a:moveTo>
                      <a:pt x="67913" y="75342"/>
                    </a:moveTo>
                    <a:cubicBezTo>
                      <a:pt x="72104" y="69913"/>
                      <a:pt x="74104" y="62103"/>
                      <a:pt x="74104" y="51911"/>
                    </a:cubicBezTo>
                    <a:cubicBezTo>
                      <a:pt x="74104" y="41719"/>
                      <a:pt x="72104" y="34099"/>
                      <a:pt x="68199" y="28765"/>
                    </a:cubicBezTo>
                    <a:cubicBezTo>
                      <a:pt x="64294" y="23431"/>
                      <a:pt x="58579" y="20669"/>
                      <a:pt x="51149" y="20669"/>
                    </a:cubicBezTo>
                    <a:cubicBezTo>
                      <a:pt x="43720" y="20669"/>
                      <a:pt x="37528" y="23336"/>
                      <a:pt x="33433" y="28765"/>
                    </a:cubicBezTo>
                    <a:cubicBezTo>
                      <a:pt x="29337" y="34195"/>
                      <a:pt x="27337" y="41910"/>
                      <a:pt x="27337" y="51911"/>
                    </a:cubicBezTo>
                    <a:cubicBezTo>
                      <a:pt x="27337" y="58579"/>
                      <a:pt x="28289" y="64198"/>
                      <a:pt x="30194" y="68961"/>
                    </a:cubicBezTo>
                    <a:cubicBezTo>
                      <a:pt x="32099" y="73723"/>
                      <a:pt x="34766" y="77343"/>
                      <a:pt x="38100" y="79819"/>
                    </a:cubicBezTo>
                    <a:cubicBezTo>
                      <a:pt x="41434" y="82296"/>
                      <a:pt x="45434" y="83534"/>
                      <a:pt x="50006" y="83534"/>
                    </a:cubicBezTo>
                    <a:cubicBezTo>
                      <a:pt x="57721" y="83534"/>
                      <a:pt x="63722" y="80772"/>
                      <a:pt x="67913" y="75342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53" name="Freeform: Shape 286">
                <a:extLst>
                  <a:ext uri="{FF2B5EF4-FFF2-40B4-BE49-F238E27FC236}">
                    <a16:creationId xmlns:a16="http://schemas.microsoft.com/office/drawing/2014/main" id="{41C0C421-D5D6-3242-F516-E286BE35A65C}"/>
                  </a:ext>
                </a:extLst>
              </p:cNvPr>
              <p:cNvSpPr/>
              <p:nvPr/>
            </p:nvSpPr>
            <p:spPr>
              <a:xfrm>
                <a:off x="6421755" y="5087588"/>
                <a:ext cx="101440" cy="149542"/>
              </a:xfrm>
              <a:custGeom>
                <a:avLst/>
                <a:gdLst>
                  <a:gd name="connsiteX0" fmla="*/ 80486 w 101440"/>
                  <a:gd name="connsiteY0" fmla="*/ 90392 h 149542"/>
                  <a:gd name="connsiteX1" fmla="*/ 95535 w 101440"/>
                  <a:gd name="connsiteY1" fmla="*/ 98584 h 149542"/>
                  <a:gd name="connsiteX2" fmla="*/ 101441 w 101440"/>
                  <a:gd name="connsiteY2" fmla="*/ 118015 h 149542"/>
                  <a:gd name="connsiteX3" fmla="*/ 88678 w 101440"/>
                  <a:gd name="connsiteY3" fmla="*/ 141732 h 149542"/>
                  <a:gd name="connsiteX4" fmla="*/ 48292 w 101440"/>
                  <a:gd name="connsiteY4" fmla="*/ 149542 h 149542"/>
                  <a:gd name="connsiteX5" fmla="*/ 20288 w 101440"/>
                  <a:gd name="connsiteY5" fmla="*/ 147161 h 149542"/>
                  <a:gd name="connsiteX6" fmla="*/ 4858 w 101440"/>
                  <a:gd name="connsiteY6" fmla="*/ 139351 h 149542"/>
                  <a:gd name="connsiteX7" fmla="*/ 0 w 101440"/>
                  <a:gd name="connsiteY7" fmla="*/ 124778 h 149542"/>
                  <a:gd name="connsiteX8" fmla="*/ 3334 w 101440"/>
                  <a:gd name="connsiteY8" fmla="*/ 113252 h 149542"/>
                  <a:gd name="connsiteX9" fmla="*/ 13240 w 101440"/>
                  <a:gd name="connsiteY9" fmla="*/ 103537 h 149542"/>
                  <a:gd name="connsiteX10" fmla="*/ 7048 w 101440"/>
                  <a:gd name="connsiteY10" fmla="*/ 89345 h 149542"/>
                  <a:gd name="connsiteX11" fmla="*/ 10192 w 101440"/>
                  <a:gd name="connsiteY11" fmla="*/ 77914 h 149542"/>
                  <a:gd name="connsiteX12" fmla="*/ 19335 w 101440"/>
                  <a:gd name="connsiteY12" fmla="*/ 68199 h 149542"/>
                  <a:gd name="connsiteX13" fmla="*/ 8572 w 101440"/>
                  <a:gd name="connsiteY13" fmla="*/ 57055 h 149542"/>
                  <a:gd name="connsiteX14" fmla="*/ 4858 w 101440"/>
                  <a:gd name="connsiteY14" fmla="*/ 41338 h 149542"/>
                  <a:gd name="connsiteX15" fmla="*/ 9144 w 101440"/>
                  <a:gd name="connsiteY15" fmla="*/ 24003 h 149542"/>
                  <a:gd name="connsiteX16" fmla="*/ 22955 w 101440"/>
                  <a:gd name="connsiteY16" fmla="*/ 11906 h 149542"/>
                  <a:gd name="connsiteX17" fmla="*/ 47054 w 101440"/>
                  <a:gd name="connsiteY17" fmla="*/ 7429 h 149542"/>
                  <a:gd name="connsiteX18" fmla="*/ 72771 w 101440"/>
                  <a:gd name="connsiteY18" fmla="*/ 13049 h 149542"/>
                  <a:gd name="connsiteX19" fmla="*/ 83439 w 101440"/>
                  <a:gd name="connsiteY19" fmla="*/ 3238 h 149542"/>
                  <a:gd name="connsiteX20" fmla="*/ 97250 w 101440"/>
                  <a:gd name="connsiteY20" fmla="*/ 0 h 149542"/>
                  <a:gd name="connsiteX21" fmla="*/ 97631 w 101440"/>
                  <a:gd name="connsiteY21" fmla="*/ 0 h 149542"/>
                  <a:gd name="connsiteX22" fmla="*/ 98584 w 101440"/>
                  <a:gd name="connsiteY22" fmla="*/ 21241 h 149542"/>
                  <a:gd name="connsiteX23" fmla="*/ 98203 w 101440"/>
                  <a:gd name="connsiteY23" fmla="*/ 21241 h 149542"/>
                  <a:gd name="connsiteX24" fmla="*/ 84201 w 101440"/>
                  <a:gd name="connsiteY24" fmla="*/ 23241 h 149542"/>
                  <a:gd name="connsiteX25" fmla="*/ 89154 w 101440"/>
                  <a:gd name="connsiteY25" fmla="*/ 41338 h 149542"/>
                  <a:gd name="connsiteX26" fmla="*/ 84677 w 101440"/>
                  <a:gd name="connsiteY26" fmla="*/ 58293 h 149542"/>
                  <a:gd name="connsiteX27" fmla="*/ 70675 w 101440"/>
                  <a:gd name="connsiteY27" fmla="*/ 70199 h 149542"/>
                  <a:gd name="connsiteX28" fmla="*/ 46672 w 101440"/>
                  <a:gd name="connsiteY28" fmla="*/ 74581 h 149542"/>
                  <a:gd name="connsiteX29" fmla="*/ 34004 w 101440"/>
                  <a:gd name="connsiteY29" fmla="*/ 73438 h 149542"/>
                  <a:gd name="connsiteX30" fmla="*/ 31052 w 101440"/>
                  <a:gd name="connsiteY30" fmla="*/ 76962 h 149542"/>
                  <a:gd name="connsiteX31" fmla="*/ 30099 w 101440"/>
                  <a:gd name="connsiteY31" fmla="*/ 80486 h 149542"/>
                  <a:gd name="connsiteX32" fmla="*/ 32099 w 101440"/>
                  <a:gd name="connsiteY32" fmla="*/ 84296 h 149542"/>
                  <a:gd name="connsiteX33" fmla="*/ 37719 w 101440"/>
                  <a:gd name="connsiteY33" fmla="*/ 86011 h 149542"/>
                  <a:gd name="connsiteX34" fmla="*/ 49339 w 101440"/>
                  <a:gd name="connsiteY34" fmla="*/ 86963 h 149542"/>
                  <a:gd name="connsiteX35" fmla="*/ 54007 w 101440"/>
                  <a:gd name="connsiteY35" fmla="*/ 87249 h 149542"/>
                  <a:gd name="connsiteX36" fmla="*/ 80772 w 101440"/>
                  <a:gd name="connsiteY36" fmla="*/ 90297 h 149542"/>
                  <a:gd name="connsiteX37" fmla="*/ 69818 w 101440"/>
                  <a:gd name="connsiteY37" fmla="*/ 128683 h 149542"/>
                  <a:gd name="connsiteX38" fmla="*/ 76390 w 101440"/>
                  <a:gd name="connsiteY38" fmla="*/ 121253 h 149542"/>
                  <a:gd name="connsiteX39" fmla="*/ 73723 w 101440"/>
                  <a:gd name="connsiteY39" fmla="*/ 115729 h 149542"/>
                  <a:gd name="connsiteX40" fmla="*/ 65817 w 101440"/>
                  <a:gd name="connsiteY40" fmla="*/ 113157 h 149542"/>
                  <a:gd name="connsiteX41" fmla="*/ 49244 w 101440"/>
                  <a:gd name="connsiteY41" fmla="*/ 111538 h 149542"/>
                  <a:gd name="connsiteX42" fmla="*/ 45529 w 101440"/>
                  <a:gd name="connsiteY42" fmla="*/ 111252 h 149542"/>
                  <a:gd name="connsiteX43" fmla="*/ 38767 w 101440"/>
                  <a:gd name="connsiteY43" fmla="*/ 110776 h 149542"/>
                  <a:gd name="connsiteX44" fmla="*/ 28099 w 101440"/>
                  <a:gd name="connsiteY44" fmla="*/ 109442 h 149542"/>
                  <a:gd name="connsiteX45" fmla="*/ 24765 w 101440"/>
                  <a:gd name="connsiteY45" fmla="*/ 114967 h 149542"/>
                  <a:gd name="connsiteX46" fmla="*/ 23717 w 101440"/>
                  <a:gd name="connsiteY46" fmla="*/ 120967 h 149542"/>
                  <a:gd name="connsiteX47" fmla="*/ 26384 w 101440"/>
                  <a:gd name="connsiteY47" fmla="*/ 127254 h 149542"/>
                  <a:gd name="connsiteX48" fmla="*/ 34385 w 101440"/>
                  <a:gd name="connsiteY48" fmla="*/ 130112 h 149542"/>
                  <a:gd name="connsiteX49" fmla="*/ 49339 w 101440"/>
                  <a:gd name="connsiteY49" fmla="*/ 130778 h 149542"/>
                  <a:gd name="connsiteX50" fmla="*/ 70009 w 101440"/>
                  <a:gd name="connsiteY50" fmla="*/ 128683 h 149542"/>
                  <a:gd name="connsiteX51" fmla="*/ 33909 w 101440"/>
                  <a:gd name="connsiteY51" fmla="*/ 29432 h 149542"/>
                  <a:gd name="connsiteX52" fmla="*/ 29623 w 101440"/>
                  <a:gd name="connsiteY52" fmla="*/ 41338 h 149542"/>
                  <a:gd name="connsiteX53" fmla="*/ 33909 w 101440"/>
                  <a:gd name="connsiteY53" fmla="*/ 52864 h 149542"/>
                  <a:gd name="connsiteX54" fmla="*/ 46291 w 101440"/>
                  <a:gd name="connsiteY54" fmla="*/ 56959 h 149542"/>
                  <a:gd name="connsiteX55" fmla="*/ 60103 w 101440"/>
                  <a:gd name="connsiteY55" fmla="*/ 52864 h 149542"/>
                  <a:gd name="connsiteX56" fmla="*/ 64198 w 101440"/>
                  <a:gd name="connsiteY56" fmla="*/ 41338 h 149542"/>
                  <a:gd name="connsiteX57" fmla="*/ 60007 w 101440"/>
                  <a:gd name="connsiteY57" fmla="*/ 29432 h 149542"/>
                  <a:gd name="connsiteX58" fmla="*/ 46863 w 101440"/>
                  <a:gd name="connsiteY58" fmla="*/ 25146 h 149542"/>
                  <a:gd name="connsiteX59" fmla="*/ 33909 w 101440"/>
                  <a:gd name="connsiteY59" fmla="*/ 29432 h 1495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</a:cxnLst>
                <a:rect l="l" t="t" r="r" b="b"/>
                <a:pathLst>
                  <a:path w="101440" h="149542">
                    <a:moveTo>
                      <a:pt x="80486" y="90392"/>
                    </a:moveTo>
                    <a:cubicBezTo>
                      <a:pt x="86582" y="91630"/>
                      <a:pt x="91630" y="94393"/>
                      <a:pt x="95535" y="98584"/>
                    </a:cubicBezTo>
                    <a:cubicBezTo>
                      <a:pt x="99441" y="102775"/>
                      <a:pt x="101441" y="109252"/>
                      <a:pt x="101441" y="118015"/>
                    </a:cubicBezTo>
                    <a:cubicBezTo>
                      <a:pt x="101441" y="128588"/>
                      <a:pt x="97155" y="136493"/>
                      <a:pt x="88678" y="141732"/>
                    </a:cubicBezTo>
                    <a:cubicBezTo>
                      <a:pt x="80200" y="146875"/>
                      <a:pt x="66770" y="149542"/>
                      <a:pt x="48292" y="149542"/>
                    </a:cubicBezTo>
                    <a:cubicBezTo>
                      <a:pt x="36671" y="149542"/>
                      <a:pt x="27337" y="148780"/>
                      <a:pt x="20288" y="147161"/>
                    </a:cubicBezTo>
                    <a:cubicBezTo>
                      <a:pt x="13240" y="145542"/>
                      <a:pt x="8191" y="142970"/>
                      <a:pt x="4858" y="139351"/>
                    </a:cubicBezTo>
                    <a:cubicBezTo>
                      <a:pt x="1619" y="135731"/>
                      <a:pt x="0" y="130873"/>
                      <a:pt x="0" y="124778"/>
                    </a:cubicBezTo>
                    <a:cubicBezTo>
                      <a:pt x="0" y="120491"/>
                      <a:pt x="1143" y="116681"/>
                      <a:pt x="3334" y="113252"/>
                    </a:cubicBezTo>
                    <a:cubicBezTo>
                      <a:pt x="5525" y="109823"/>
                      <a:pt x="8858" y="106585"/>
                      <a:pt x="13240" y="103537"/>
                    </a:cubicBezTo>
                    <a:cubicBezTo>
                      <a:pt x="9049" y="100203"/>
                      <a:pt x="7048" y="95536"/>
                      <a:pt x="7048" y="89345"/>
                    </a:cubicBezTo>
                    <a:cubicBezTo>
                      <a:pt x="7048" y="85154"/>
                      <a:pt x="8096" y="81344"/>
                      <a:pt x="10192" y="77914"/>
                    </a:cubicBezTo>
                    <a:cubicBezTo>
                      <a:pt x="12287" y="74486"/>
                      <a:pt x="15335" y="71247"/>
                      <a:pt x="19335" y="68199"/>
                    </a:cubicBezTo>
                    <a:cubicBezTo>
                      <a:pt x="14573" y="65341"/>
                      <a:pt x="11049" y="61627"/>
                      <a:pt x="8572" y="57055"/>
                    </a:cubicBezTo>
                    <a:cubicBezTo>
                      <a:pt x="6096" y="52483"/>
                      <a:pt x="4858" y="47244"/>
                      <a:pt x="4858" y="41338"/>
                    </a:cubicBezTo>
                    <a:cubicBezTo>
                      <a:pt x="4858" y="34862"/>
                      <a:pt x="6286" y="29146"/>
                      <a:pt x="9144" y="24003"/>
                    </a:cubicBezTo>
                    <a:cubicBezTo>
                      <a:pt x="12002" y="18955"/>
                      <a:pt x="16573" y="14859"/>
                      <a:pt x="22955" y="11906"/>
                    </a:cubicBezTo>
                    <a:cubicBezTo>
                      <a:pt x="29242" y="8858"/>
                      <a:pt x="37338" y="7429"/>
                      <a:pt x="47054" y="7429"/>
                    </a:cubicBezTo>
                    <a:cubicBezTo>
                      <a:pt x="57435" y="7429"/>
                      <a:pt x="66008" y="9334"/>
                      <a:pt x="72771" y="13049"/>
                    </a:cubicBezTo>
                    <a:cubicBezTo>
                      <a:pt x="76009" y="8668"/>
                      <a:pt x="79534" y="5429"/>
                      <a:pt x="83439" y="3238"/>
                    </a:cubicBezTo>
                    <a:cubicBezTo>
                      <a:pt x="87344" y="1048"/>
                      <a:pt x="91916" y="0"/>
                      <a:pt x="97250" y="0"/>
                    </a:cubicBezTo>
                    <a:lnTo>
                      <a:pt x="97631" y="0"/>
                    </a:lnTo>
                    <a:lnTo>
                      <a:pt x="98584" y="21241"/>
                    </a:lnTo>
                    <a:lnTo>
                      <a:pt x="98203" y="21241"/>
                    </a:lnTo>
                    <a:cubicBezTo>
                      <a:pt x="92773" y="21241"/>
                      <a:pt x="88106" y="21907"/>
                      <a:pt x="84201" y="23241"/>
                    </a:cubicBezTo>
                    <a:cubicBezTo>
                      <a:pt x="87439" y="28480"/>
                      <a:pt x="89154" y="34480"/>
                      <a:pt x="89154" y="41338"/>
                    </a:cubicBezTo>
                    <a:cubicBezTo>
                      <a:pt x="89154" y="47625"/>
                      <a:pt x="87630" y="53245"/>
                      <a:pt x="84677" y="58293"/>
                    </a:cubicBezTo>
                    <a:cubicBezTo>
                      <a:pt x="81725" y="63341"/>
                      <a:pt x="77057" y="67342"/>
                      <a:pt x="70675" y="70199"/>
                    </a:cubicBezTo>
                    <a:cubicBezTo>
                      <a:pt x="64294" y="73152"/>
                      <a:pt x="56292" y="74581"/>
                      <a:pt x="46672" y="74581"/>
                    </a:cubicBezTo>
                    <a:cubicBezTo>
                      <a:pt x="42100" y="74581"/>
                      <a:pt x="37909" y="74200"/>
                      <a:pt x="34004" y="73438"/>
                    </a:cubicBezTo>
                    <a:cubicBezTo>
                      <a:pt x="32671" y="74771"/>
                      <a:pt x="31718" y="75914"/>
                      <a:pt x="31052" y="76962"/>
                    </a:cubicBezTo>
                    <a:cubicBezTo>
                      <a:pt x="30385" y="78010"/>
                      <a:pt x="30099" y="79153"/>
                      <a:pt x="30099" y="80486"/>
                    </a:cubicBezTo>
                    <a:cubicBezTo>
                      <a:pt x="30099" y="82201"/>
                      <a:pt x="30766" y="83534"/>
                      <a:pt x="32099" y="84296"/>
                    </a:cubicBezTo>
                    <a:cubicBezTo>
                      <a:pt x="33433" y="85058"/>
                      <a:pt x="35243" y="85630"/>
                      <a:pt x="37719" y="86011"/>
                    </a:cubicBezTo>
                    <a:cubicBezTo>
                      <a:pt x="40100" y="86392"/>
                      <a:pt x="44005" y="86678"/>
                      <a:pt x="49339" y="86963"/>
                    </a:cubicBezTo>
                    <a:lnTo>
                      <a:pt x="54007" y="87249"/>
                    </a:lnTo>
                    <a:cubicBezTo>
                      <a:pt x="65722" y="88011"/>
                      <a:pt x="74676" y="88963"/>
                      <a:pt x="80772" y="90297"/>
                    </a:cubicBezTo>
                    <a:close/>
                    <a:moveTo>
                      <a:pt x="69818" y="128683"/>
                    </a:moveTo>
                    <a:cubicBezTo>
                      <a:pt x="74200" y="127254"/>
                      <a:pt x="76390" y="124778"/>
                      <a:pt x="76390" y="121253"/>
                    </a:cubicBezTo>
                    <a:cubicBezTo>
                      <a:pt x="76390" y="118777"/>
                      <a:pt x="75533" y="116967"/>
                      <a:pt x="73723" y="115729"/>
                    </a:cubicBezTo>
                    <a:cubicBezTo>
                      <a:pt x="71914" y="114490"/>
                      <a:pt x="69246" y="113633"/>
                      <a:pt x="65817" y="113157"/>
                    </a:cubicBezTo>
                    <a:cubicBezTo>
                      <a:pt x="62293" y="112586"/>
                      <a:pt x="56769" y="112109"/>
                      <a:pt x="49244" y="111538"/>
                    </a:cubicBezTo>
                    <a:lnTo>
                      <a:pt x="45529" y="111252"/>
                    </a:lnTo>
                    <a:cubicBezTo>
                      <a:pt x="44862" y="111252"/>
                      <a:pt x="42672" y="111062"/>
                      <a:pt x="38767" y="110776"/>
                    </a:cubicBezTo>
                    <a:cubicBezTo>
                      <a:pt x="34861" y="110490"/>
                      <a:pt x="31337" y="110014"/>
                      <a:pt x="28099" y="109442"/>
                    </a:cubicBezTo>
                    <a:cubicBezTo>
                      <a:pt x="26575" y="111347"/>
                      <a:pt x="25527" y="113157"/>
                      <a:pt x="24765" y="114967"/>
                    </a:cubicBezTo>
                    <a:cubicBezTo>
                      <a:pt x="24003" y="116777"/>
                      <a:pt x="23717" y="118777"/>
                      <a:pt x="23717" y="120967"/>
                    </a:cubicBezTo>
                    <a:cubicBezTo>
                      <a:pt x="23717" y="123730"/>
                      <a:pt x="24575" y="125825"/>
                      <a:pt x="26384" y="127254"/>
                    </a:cubicBezTo>
                    <a:cubicBezTo>
                      <a:pt x="28194" y="128683"/>
                      <a:pt x="30861" y="129635"/>
                      <a:pt x="34385" y="130112"/>
                    </a:cubicBezTo>
                    <a:cubicBezTo>
                      <a:pt x="37909" y="130588"/>
                      <a:pt x="42958" y="130778"/>
                      <a:pt x="49339" y="130778"/>
                    </a:cubicBezTo>
                    <a:cubicBezTo>
                      <a:pt x="58674" y="130778"/>
                      <a:pt x="65627" y="130112"/>
                      <a:pt x="70009" y="128683"/>
                    </a:cubicBezTo>
                    <a:close/>
                    <a:moveTo>
                      <a:pt x="33909" y="29432"/>
                    </a:moveTo>
                    <a:cubicBezTo>
                      <a:pt x="31052" y="32290"/>
                      <a:pt x="29623" y="36290"/>
                      <a:pt x="29623" y="41338"/>
                    </a:cubicBezTo>
                    <a:cubicBezTo>
                      <a:pt x="29623" y="46387"/>
                      <a:pt x="31052" y="50102"/>
                      <a:pt x="33909" y="52864"/>
                    </a:cubicBezTo>
                    <a:cubicBezTo>
                      <a:pt x="36766" y="55626"/>
                      <a:pt x="40957" y="56959"/>
                      <a:pt x="46291" y="56959"/>
                    </a:cubicBezTo>
                    <a:cubicBezTo>
                      <a:pt x="52768" y="56959"/>
                      <a:pt x="57340" y="55626"/>
                      <a:pt x="60103" y="52864"/>
                    </a:cubicBezTo>
                    <a:cubicBezTo>
                      <a:pt x="62865" y="50102"/>
                      <a:pt x="64198" y="46291"/>
                      <a:pt x="64198" y="41338"/>
                    </a:cubicBezTo>
                    <a:cubicBezTo>
                      <a:pt x="64198" y="36386"/>
                      <a:pt x="62769" y="32385"/>
                      <a:pt x="60007" y="29432"/>
                    </a:cubicBezTo>
                    <a:cubicBezTo>
                      <a:pt x="57245" y="26479"/>
                      <a:pt x="52768" y="25146"/>
                      <a:pt x="46863" y="25146"/>
                    </a:cubicBezTo>
                    <a:cubicBezTo>
                      <a:pt x="40957" y="25146"/>
                      <a:pt x="36766" y="26575"/>
                      <a:pt x="33909" y="29432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54" name="Freeform: Shape 287">
                <a:extLst>
                  <a:ext uri="{FF2B5EF4-FFF2-40B4-BE49-F238E27FC236}">
                    <a16:creationId xmlns:a16="http://schemas.microsoft.com/office/drawing/2014/main" id="{F686B4B8-BA19-2351-9C7D-4B850E0CD020}"/>
                  </a:ext>
                </a:extLst>
              </p:cNvPr>
              <p:cNvSpPr/>
              <p:nvPr/>
            </p:nvSpPr>
            <p:spPr>
              <a:xfrm>
                <a:off x="6525672" y="5096827"/>
                <a:ext cx="103441" cy="140208"/>
              </a:xfrm>
              <a:custGeom>
                <a:avLst/>
                <a:gdLst>
                  <a:gd name="connsiteX0" fmla="*/ 8287 w 103441"/>
                  <a:gd name="connsiteY0" fmla="*/ 138779 h 140208"/>
                  <a:gd name="connsiteX1" fmla="*/ 10287 w 103441"/>
                  <a:gd name="connsiteY1" fmla="*/ 118300 h 140208"/>
                  <a:gd name="connsiteX2" fmla="*/ 17336 w 103441"/>
                  <a:gd name="connsiteY2" fmla="*/ 119158 h 140208"/>
                  <a:gd name="connsiteX3" fmla="*/ 26098 w 103441"/>
                  <a:gd name="connsiteY3" fmla="*/ 117729 h 140208"/>
                  <a:gd name="connsiteX4" fmla="*/ 32576 w 103441"/>
                  <a:gd name="connsiteY4" fmla="*/ 113062 h 140208"/>
                  <a:gd name="connsiteX5" fmla="*/ 38100 w 103441"/>
                  <a:gd name="connsiteY5" fmla="*/ 104013 h 140208"/>
                  <a:gd name="connsiteX6" fmla="*/ 39814 w 103441"/>
                  <a:gd name="connsiteY6" fmla="*/ 99631 h 140208"/>
                  <a:gd name="connsiteX7" fmla="*/ 0 w 103441"/>
                  <a:gd name="connsiteY7" fmla="*/ 0 h 140208"/>
                  <a:gd name="connsiteX8" fmla="*/ 27813 w 103441"/>
                  <a:gd name="connsiteY8" fmla="*/ 0 h 140208"/>
                  <a:gd name="connsiteX9" fmla="*/ 43625 w 103441"/>
                  <a:gd name="connsiteY9" fmla="*/ 46577 h 140208"/>
                  <a:gd name="connsiteX10" fmla="*/ 48863 w 103441"/>
                  <a:gd name="connsiteY10" fmla="*/ 62960 h 140208"/>
                  <a:gd name="connsiteX11" fmla="*/ 52864 w 103441"/>
                  <a:gd name="connsiteY11" fmla="*/ 76200 h 140208"/>
                  <a:gd name="connsiteX12" fmla="*/ 56769 w 103441"/>
                  <a:gd name="connsiteY12" fmla="*/ 61531 h 140208"/>
                  <a:gd name="connsiteX13" fmla="*/ 61056 w 103441"/>
                  <a:gd name="connsiteY13" fmla="*/ 47054 h 140208"/>
                  <a:gd name="connsiteX14" fmla="*/ 75819 w 103441"/>
                  <a:gd name="connsiteY14" fmla="*/ 0 h 140208"/>
                  <a:gd name="connsiteX15" fmla="*/ 103441 w 103441"/>
                  <a:gd name="connsiteY15" fmla="*/ 0 h 140208"/>
                  <a:gd name="connsiteX16" fmla="*/ 63627 w 103441"/>
                  <a:gd name="connsiteY16" fmla="*/ 105823 h 140208"/>
                  <a:gd name="connsiteX17" fmla="*/ 53530 w 103441"/>
                  <a:gd name="connsiteY17" fmla="*/ 125539 h 140208"/>
                  <a:gd name="connsiteX18" fmla="*/ 41529 w 103441"/>
                  <a:gd name="connsiteY18" fmla="*/ 136588 h 140208"/>
                  <a:gd name="connsiteX19" fmla="*/ 24860 w 103441"/>
                  <a:gd name="connsiteY19" fmla="*/ 140208 h 140208"/>
                  <a:gd name="connsiteX20" fmla="*/ 8382 w 103441"/>
                  <a:gd name="connsiteY20" fmla="*/ 138684 h 1402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03441" h="140208">
                    <a:moveTo>
                      <a:pt x="8287" y="138779"/>
                    </a:moveTo>
                    <a:lnTo>
                      <a:pt x="10287" y="118300"/>
                    </a:lnTo>
                    <a:cubicBezTo>
                      <a:pt x="13335" y="118872"/>
                      <a:pt x="15716" y="119158"/>
                      <a:pt x="17336" y="119158"/>
                    </a:cubicBezTo>
                    <a:cubicBezTo>
                      <a:pt x="20764" y="119158"/>
                      <a:pt x="23622" y="118681"/>
                      <a:pt x="26098" y="117729"/>
                    </a:cubicBezTo>
                    <a:cubicBezTo>
                      <a:pt x="28575" y="116776"/>
                      <a:pt x="30671" y="115253"/>
                      <a:pt x="32576" y="113062"/>
                    </a:cubicBezTo>
                    <a:cubicBezTo>
                      <a:pt x="34480" y="110871"/>
                      <a:pt x="36290" y="107918"/>
                      <a:pt x="38100" y="104013"/>
                    </a:cubicBezTo>
                    <a:lnTo>
                      <a:pt x="39814" y="99631"/>
                    </a:lnTo>
                    <a:lnTo>
                      <a:pt x="0" y="0"/>
                    </a:lnTo>
                    <a:lnTo>
                      <a:pt x="27813" y="0"/>
                    </a:lnTo>
                    <a:lnTo>
                      <a:pt x="43625" y="46577"/>
                    </a:lnTo>
                    <a:cubicBezTo>
                      <a:pt x="44863" y="50482"/>
                      <a:pt x="46577" y="55912"/>
                      <a:pt x="48863" y="62960"/>
                    </a:cubicBezTo>
                    <a:cubicBezTo>
                      <a:pt x="51054" y="70009"/>
                      <a:pt x="52388" y="74390"/>
                      <a:pt x="52864" y="76200"/>
                    </a:cubicBezTo>
                    <a:cubicBezTo>
                      <a:pt x="53340" y="74009"/>
                      <a:pt x="54673" y="69056"/>
                      <a:pt x="56769" y="61531"/>
                    </a:cubicBezTo>
                    <a:cubicBezTo>
                      <a:pt x="58864" y="54007"/>
                      <a:pt x="60293" y="49149"/>
                      <a:pt x="61056" y="47054"/>
                    </a:cubicBezTo>
                    <a:lnTo>
                      <a:pt x="75819" y="0"/>
                    </a:lnTo>
                    <a:lnTo>
                      <a:pt x="103441" y="0"/>
                    </a:lnTo>
                    <a:lnTo>
                      <a:pt x="63627" y="105823"/>
                    </a:lnTo>
                    <a:cubicBezTo>
                      <a:pt x="60293" y="114014"/>
                      <a:pt x="56865" y="120587"/>
                      <a:pt x="53530" y="125539"/>
                    </a:cubicBezTo>
                    <a:cubicBezTo>
                      <a:pt x="50197" y="130492"/>
                      <a:pt x="46101" y="134112"/>
                      <a:pt x="41529" y="136588"/>
                    </a:cubicBezTo>
                    <a:cubicBezTo>
                      <a:pt x="36957" y="139065"/>
                      <a:pt x="31432" y="140208"/>
                      <a:pt x="24860" y="140208"/>
                    </a:cubicBezTo>
                    <a:cubicBezTo>
                      <a:pt x="18288" y="140208"/>
                      <a:pt x="12859" y="139732"/>
                      <a:pt x="8382" y="138684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55" name="Freeform: Shape 288">
                <a:extLst>
                  <a:ext uri="{FF2B5EF4-FFF2-40B4-BE49-F238E27FC236}">
                    <a16:creationId xmlns:a16="http://schemas.microsoft.com/office/drawing/2014/main" id="{D8E792AF-6FF7-1932-D5FF-21FEB3982108}"/>
                  </a:ext>
                </a:extLst>
              </p:cNvPr>
              <p:cNvSpPr/>
              <p:nvPr/>
            </p:nvSpPr>
            <p:spPr>
              <a:xfrm>
                <a:off x="6695694" y="5066252"/>
                <a:ext cx="107823" cy="131063"/>
              </a:xfrm>
              <a:custGeom>
                <a:avLst/>
                <a:gdLst>
                  <a:gd name="connsiteX0" fmla="*/ 0 w 107823"/>
                  <a:gd name="connsiteY0" fmla="*/ 95 h 131063"/>
                  <a:gd name="connsiteX1" fmla="*/ 58864 w 107823"/>
                  <a:gd name="connsiteY1" fmla="*/ 95 h 131063"/>
                  <a:gd name="connsiteX2" fmla="*/ 86201 w 107823"/>
                  <a:gd name="connsiteY2" fmla="*/ 5429 h 131063"/>
                  <a:gd name="connsiteX3" fmla="*/ 102489 w 107823"/>
                  <a:gd name="connsiteY3" fmla="*/ 20288 h 131063"/>
                  <a:gd name="connsiteX4" fmla="*/ 107823 w 107823"/>
                  <a:gd name="connsiteY4" fmla="*/ 42767 h 131063"/>
                  <a:gd name="connsiteX5" fmla="*/ 102584 w 107823"/>
                  <a:gd name="connsiteY5" fmla="*/ 64770 h 131063"/>
                  <a:gd name="connsiteX6" fmla="*/ 86582 w 107823"/>
                  <a:gd name="connsiteY6" fmla="*/ 80867 h 131063"/>
                  <a:gd name="connsiteX7" fmla="*/ 60007 w 107823"/>
                  <a:gd name="connsiteY7" fmla="*/ 86868 h 131063"/>
                  <a:gd name="connsiteX8" fmla="*/ 27432 w 107823"/>
                  <a:gd name="connsiteY8" fmla="*/ 86868 h 131063"/>
                  <a:gd name="connsiteX9" fmla="*/ 27432 w 107823"/>
                  <a:gd name="connsiteY9" fmla="*/ 131064 h 131063"/>
                  <a:gd name="connsiteX10" fmla="*/ 0 w 107823"/>
                  <a:gd name="connsiteY10" fmla="*/ 131064 h 131063"/>
                  <a:gd name="connsiteX11" fmla="*/ 0 w 107823"/>
                  <a:gd name="connsiteY11" fmla="*/ 0 h 131063"/>
                  <a:gd name="connsiteX12" fmla="*/ 56579 w 107823"/>
                  <a:gd name="connsiteY12" fmla="*/ 63913 h 131063"/>
                  <a:gd name="connsiteX13" fmla="*/ 74295 w 107823"/>
                  <a:gd name="connsiteY13" fmla="*/ 58388 h 131063"/>
                  <a:gd name="connsiteX14" fmla="*/ 80200 w 107823"/>
                  <a:gd name="connsiteY14" fmla="*/ 43148 h 131063"/>
                  <a:gd name="connsiteX15" fmla="*/ 74104 w 107823"/>
                  <a:gd name="connsiteY15" fmla="*/ 28384 h 131063"/>
                  <a:gd name="connsiteX16" fmla="*/ 55912 w 107823"/>
                  <a:gd name="connsiteY16" fmla="*/ 23336 h 131063"/>
                  <a:gd name="connsiteX17" fmla="*/ 27527 w 107823"/>
                  <a:gd name="connsiteY17" fmla="*/ 23336 h 131063"/>
                  <a:gd name="connsiteX18" fmla="*/ 27527 w 107823"/>
                  <a:gd name="connsiteY18" fmla="*/ 63913 h 131063"/>
                  <a:gd name="connsiteX19" fmla="*/ 56673 w 107823"/>
                  <a:gd name="connsiteY19" fmla="*/ 63913 h 1310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07823" h="131063">
                    <a:moveTo>
                      <a:pt x="0" y="95"/>
                    </a:moveTo>
                    <a:lnTo>
                      <a:pt x="58864" y="95"/>
                    </a:lnTo>
                    <a:cubicBezTo>
                      <a:pt x="69818" y="95"/>
                      <a:pt x="78867" y="1905"/>
                      <a:pt x="86201" y="5429"/>
                    </a:cubicBezTo>
                    <a:cubicBezTo>
                      <a:pt x="93536" y="8953"/>
                      <a:pt x="98870" y="13906"/>
                      <a:pt x="102489" y="20288"/>
                    </a:cubicBezTo>
                    <a:cubicBezTo>
                      <a:pt x="106013" y="26670"/>
                      <a:pt x="107823" y="34195"/>
                      <a:pt x="107823" y="42767"/>
                    </a:cubicBezTo>
                    <a:cubicBezTo>
                      <a:pt x="107823" y="50768"/>
                      <a:pt x="106108" y="58102"/>
                      <a:pt x="102584" y="64770"/>
                    </a:cubicBezTo>
                    <a:cubicBezTo>
                      <a:pt x="99060" y="71438"/>
                      <a:pt x="93726" y="76867"/>
                      <a:pt x="86582" y="80867"/>
                    </a:cubicBezTo>
                    <a:cubicBezTo>
                      <a:pt x="79438" y="84867"/>
                      <a:pt x="70580" y="86868"/>
                      <a:pt x="60007" y="86868"/>
                    </a:cubicBezTo>
                    <a:lnTo>
                      <a:pt x="27432" y="86868"/>
                    </a:lnTo>
                    <a:lnTo>
                      <a:pt x="27432" y="131064"/>
                    </a:lnTo>
                    <a:lnTo>
                      <a:pt x="0" y="131064"/>
                    </a:lnTo>
                    <a:lnTo>
                      <a:pt x="0" y="0"/>
                    </a:lnTo>
                    <a:close/>
                    <a:moveTo>
                      <a:pt x="56579" y="63913"/>
                    </a:moveTo>
                    <a:cubicBezTo>
                      <a:pt x="64484" y="63913"/>
                      <a:pt x="70389" y="62103"/>
                      <a:pt x="74295" y="58388"/>
                    </a:cubicBezTo>
                    <a:cubicBezTo>
                      <a:pt x="78200" y="54673"/>
                      <a:pt x="80200" y="49625"/>
                      <a:pt x="80200" y="43148"/>
                    </a:cubicBezTo>
                    <a:cubicBezTo>
                      <a:pt x="80200" y="36671"/>
                      <a:pt x="78200" y="31718"/>
                      <a:pt x="74104" y="28384"/>
                    </a:cubicBezTo>
                    <a:cubicBezTo>
                      <a:pt x="70009" y="25051"/>
                      <a:pt x="63912" y="23336"/>
                      <a:pt x="55912" y="23336"/>
                    </a:cubicBezTo>
                    <a:lnTo>
                      <a:pt x="27527" y="23336"/>
                    </a:lnTo>
                    <a:lnTo>
                      <a:pt x="27527" y="63913"/>
                    </a:lnTo>
                    <a:lnTo>
                      <a:pt x="56673" y="63913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56" name="Freeform: Shape 289">
                <a:extLst>
                  <a:ext uri="{FF2B5EF4-FFF2-40B4-BE49-F238E27FC236}">
                    <a16:creationId xmlns:a16="http://schemas.microsoft.com/office/drawing/2014/main" id="{8C95B13D-9A24-6F41-31DD-BC5E16B3A769}"/>
                  </a:ext>
                </a:extLst>
              </p:cNvPr>
              <p:cNvSpPr/>
              <p:nvPr/>
            </p:nvSpPr>
            <p:spPr>
              <a:xfrm>
                <a:off x="6822376" y="5059394"/>
                <a:ext cx="40671" cy="139445"/>
              </a:xfrm>
              <a:custGeom>
                <a:avLst/>
                <a:gdLst>
                  <a:gd name="connsiteX0" fmla="*/ 6572 w 40671"/>
                  <a:gd name="connsiteY0" fmla="*/ 132397 h 139445"/>
                  <a:gd name="connsiteX1" fmla="*/ 0 w 40671"/>
                  <a:gd name="connsiteY1" fmla="*/ 113728 h 139445"/>
                  <a:gd name="connsiteX2" fmla="*/ 0 w 40671"/>
                  <a:gd name="connsiteY2" fmla="*/ 0 h 139445"/>
                  <a:gd name="connsiteX3" fmla="*/ 26098 w 40671"/>
                  <a:gd name="connsiteY3" fmla="*/ 0 h 139445"/>
                  <a:gd name="connsiteX4" fmla="*/ 26098 w 40671"/>
                  <a:gd name="connsiteY4" fmla="*/ 107251 h 139445"/>
                  <a:gd name="connsiteX5" fmla="*/ 26765 w 40671"/>
                  <a:gd name="connsiteY5" fmla="*/ 114014 h 139445"/>
                  <a:gd name="connsiteX6" fmla="*/ 29337 w 40671"/>
                  <a:gd name="connsiteY6" fmla="*/ 117443 h 139445"/>
                  <a:gd name="connsiteX7" fmla="*/ 34957 w 40671"/>
                  <a:gd name="connsiteY7" fmla="*/ 118491 h 139445"/>
                  <a:gd name="connsiteX8" fmla="*/ 39719 w 40671"/>
                  <a:gd name="connsiteY8" fmla="*/ 117919 h 139445"/>
                  <a:gd name="connsiteX9" fmla="*/ 40672 w 40671"/>
                  <a:gd name="connsiteY9" fmla="*/ 138113 h 139445"/>
                  <a:gd name="connsiteX10" fmla="*/ 26765 w 40671"/>
                  <a:gd name="connsiteY10" fmla="*/ 139446 h 139445"/>
                  <a:gd name="connsiteX11" fmla="*/ 6477 w 40671"/>
                  <a:gd name="connsiteY11" fmla="*/ 132493 h 1394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40671" h="139445">
                    <a:moveTo>
                      <a:pt x="6572" y="132397"/>
                    </a:moveTo>
                    <a:cubicBezTo>
                      <a:pt x="2191" y="127730"/>
                      <a:pt x="0" y="121539"/>
                      <a:pt x="0" y="113728"/>
                    </a:cubicBezTo>
                    <a:lnTo>
                      <a:pt x="0" y="0"/>
                    </a:lnTo>
                    <a:lnTo>
                      <a:pt x="26098" y="0"/>
                    </a:lnTo>
                    <a:lnTo>
                      <a:pt x="26098" y="107251"/>
                    </a:lnTo>
                    <a:cubicBezTo>
                      <a:pt x="26098" y="110204"/>
                      <a:pt x="26289" y="112395"/>
                      <a:pt x="26765" y="114014"/>
                    </a:cubicBezTo>
                    <a:cubicBezTo>
                      <a:pt x="27241" y="115633"/>
                      <a:pt x="28099" y="116776"/>
                      <a:pt x="29337" y="117443"/>
                    </a:cubicBezTo>
                    <a:cubicBezTo>
                      <a:pt x="30575" y="118110"/>
                      <a:pt x="32480" y="118491"/>
                      <a:pt x="34957" y="118491"/>
                    </a:cubicBezTo>
                    <a:cubicBezTo>
                      <a:pt x="36481" y="118491"/>
                      <a:pt x="38005" y="118300"/>
                      <a:pt x="39719" y="117919"/>
                    </a:cubicBezTo>
                    <a:lnTo>
                      <a:pt x="40672" y="138113"/>
                    </a:lnTo>
                    <a:cubicBezTo>
                      <a:pt x="36195" y="138970"/>
                      <a:pt x="31623" y="139446"/>
                      <a:pt x="26765" y="139446"/>
                    </a:cubicBezTo>
                    <a:cubicBezTo>
                      <a:pt x="17621" y="139446"/>
                      <a:pt x="10859" y="137160"/>
                      <a:pt x="6477" y="1324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57" name="Freeform: Shape 290">
                <a:extLst>
                  <a:ext uri="{FF2B5EF4-FFF2-40B4-BE49-F238E27FC236}">
                    <a16:creationId xmlns:a16="http://schemas.microsoft.com/office/drawing/2014/main" id="{7D961C03-7B15-F857-741C-36855C113458}"/>
                  </a:ext>
                </a:extLst>
              </p:cNvPr>
              <p:cNvSpPr/>
              <p:nvPr/>
            </p:nvSpPr>
            <p:spPr>
              <a:xfrm>
                <a:off x="6874001" y="5094922"/>
                <a:ext cx="88487" cy="104489"/>
              </a:xfrm>
              <a:custGeom>
                <a:avLst/>
                <a:gdLst>
                  <a:gd name="connsiteX0" fmla="*/ 14859 w 88487"/>
                  <a:gd name="connsiteY0" fmla="*/ 100870 h 104489"/>
                  <a:gd name="connsiteX1" fmla="*/ 3906 w 88487"/>
                  <a:gd name="connsiteY1" fmla="*/ 90488 h 104489"/>
                  <a:gd name="connsiteX2" fmla="*/ 0 w 88487"/>
                  <a:gd name="connsiteY2" fmla="*/ 74200 h 104489"/>
                  <a:gd name="connsiteX3" fmla="*/ 10859 w 88487"/>
                  <a:gd name="connsiteY3" fmla="*/ 49911 h 104489"/>
                  <a:gd name="connsiteX4" fmla="*/ 39814 w 88487"/>
                  <a:gd name="connsiteY4" fmla="*/ 42005 h 104489"/>
                  <a:gd name="connsiteX5" fmla="*/ 61532 w 88487"/>
                  <a:gd name="connsiteY5" fmla="*/ 41624 h 104489"/>
                  <a:gd name="connsiteX6" fmla="*/ 61532 w 88487"/>
                  <a:gd name="connsiteY6" fmla="*/ 36767 h 104489"/>
                  <a:gd name="connsiteX7" fmla="*/ 57150 w 88487"/>
                  <a:gd name="connsiteY7" fmla="*/ 23908 h 104489"/>
                  <a:gd name="connsiteX8" fmla="*/ 45053 w 88487"/>
                  <a:gd name="connsiteY8" fmla="*/ 20193 h 104489"/>
                  <a:gd name="connsiteX9" fmla="*/ 18002 w 88487"/>
                  <a:gd name="connsiteY9" fmla="*/ 32385 h 104489"/>
                  <a:gd name="connsiteX10" fmla="*/ 5620 w 88487"/>
                  <a:gd name="connsiteY10" fmla="*/ 16002 h 104489"/>
                  <a:gd name="connsiteX11" fmla="*/ 46577 w 88487"/>
                  <a:gd name="connsiteY11" fmla="*/ 0 h 104489"/>
                  <a:gd name="connsiteX12" fmla="*/ 76962 w 88487"/>
                  <a:gd name="connsiteY12" fmla="*/ 9335 h 104489"/>
                  <a:gd name="connsiteX13" fmla="*/ 87725 w 88487"/>
                  <a:gd name="connsiteY13" fmla="*/ 36004 h 104489"/>
                  <a:gd name="connsiteX14" fmla="*/ 87725 w 88487"/>
                  <a:gd name="connsiteY14" fmla="*/ 72866 h 104489"/>
                  <a:gd name="connsiteX15" fmla="*/ 88487 w 88487"/>
                  <a:gd name="connsiteY15" fmla="*/ 102584 h 104489"/>
                  <a:gd name="connsiteX16" fmla="*/ 63722 w 88487"/>
                  <a:gd name="connsiteY16" fmla="*/ 102584 h 104489"/>
                  <a:gd name="connsiteX17" fmla="*/ 63055 w 88487"/>
                  <a:gd name="connsiteY17" fmla="*/ 88487 h 104489"/>
                  <a:gd name="connsiteX18" fmla="*/ 62484 w 88487"/>
                  <a:gd name="connsiteY18" fmla="*/ 88487 h 104489"/>
                  <a:gd name="connsiteX19" fmla="*/ 49721 w 88487"/>
                  <a:gd name="connsiteY19" fmla="*/ 100394 h 104489"/>
                  <a:gd name="connsiteX20" fmla="*/ 31242 w 88487"/>
                  <a:gd name="connsiteY20" fmla="*/ 104489 h 104489"/>
                  <a:gd name="connsiteX21" fmla="*/ 14954 w 88487"/>
                  <a:gd name="connsiteY21" fmla="*/ 100965 h 104489"/>
                  <a:gd name="connsiteX22" fmla="*/ 50864 w 88487"/>
                  <a:gd name="connsiteY22" fmla="*/ 81534 h 104489"/>
                  <a:gd name="connsiteX23" fmla="*/ 58769 w 88487"/>
                  <a:gd name="connsiteY23" fmla="*/ 73533 h 104489"/>
                  <a:gd name="connsiteX24" fmla="*/ 61532 w 88487"/>
                  <a:gd name="connsiteY24" fmla="*/ 62960 h 104489"/>
                  <a:gd name="connsiteX25" fmla="*/ 61532 w 88487"/>
                  <a:gd name="connsiteY25" fmla="*/ 57817 h 104489"/>
                  <a:gd name="connsiteX26" fmla="*/ 48006 w 88487"/>
                  <a:gd name="connsiteY26" fmla="*/ 58007 h 104489"/>
                  <a:gd name="connsiteX27" fmla="*/ 36862 w 88487"/>
                  <a:gd name="connsiteY27" fmla="*/ 59341 h 104489"/>
                  <a:gd name="connsiteX28" fmla="*/ 29909 w 88487"/>
                  <a:gd name="connsiteY28" fmla="*/ 63246 h 104489"/>
                  <a:gd name="connsiteX29" fmla="*/ 27241 w 88487"/>
                  <a:gd name="connsiteY29" fmla="*/ 72009 h 104489"/>
                  <a:gd name="connsiteX30" fmla="*/ 30575 w 88487"/>
                  <a:gd name="connsiteY30" fmla="*/ 81344 h 104489"/>
                  <a:gd name="connsiteX31" fmla="*/ 39434 w 88487"/>
                  <a:gd name="connsiteY31" fmla="*/ 84582 h 104489"/>
                  <a:gd name="connsiteX32" fmla="*/ 50959 w 88487"/>
                  <a:gd name="connsiteY32" fmla="*/ 81534 h 1044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88487" h="104489">
                    <a:moveTo>
                      <a:pt x="14859" y="100870"/>
                    </a:moveTo>
                    <a:cubicBezTo>
                      <a:pt x="10192" y="98488"/>
                      <a:pt x="6572" y="95060"/>
                      <a:pt x="3906" y="90488"/>
                    </a:cubicBezTo>
                    <a:cubicBezTo>
                      <a:pt x="1238" y="85916"/>
                      <a:pt x="0" y="80486"/>
                      <a:pt x="0" y="74200"/>
                    </a:cubicBezTo>
                    <a:cubicBezTo>
                      <a:pt x="0" y="63055"/>
                      <a:pt x="3620" y="54959"/>
                      <a:pt x="10859" y="49911"/>
                    </a:cubicBezTo>
                    <a:cubicBezTo>
                      <a:pt x="18098" y="44863"/>
                      <a:pt x="27718" y="42196"/>
                      <a:pt x="39814" y="42005"/>
                    </a:cubicBezTo>
                    <a:lnTo>
                      <a:pt x="61532" y="41624"/>
                    </a:lnTo>
                    <a:lnTo>
                      <a:pt x="61532" y="36767"/>
                    </a:lnTo>
                    <a:cubicBezTo>
                      <a:pt x="61532" y="30671"/>
                      <a:pt x="60103" y="26289"/>
                      <a:pt x="57150" y="23908"/>
                    </a:cubicBezTo>
                    <a:cubicBezTo>
                      <a:pt x="54197" y="21431"/>
                      <a:pt x="50197" y="20193"/>
                      <a:pt x="45053" y="20193"/>
                    </a:cubicBezTo>
                    <a:cubicBezTo>
                      <a:pt x="36195" y="20193"/>
                      <a:pt x="27147" y="24289"/>
                      <a:pt x="18002" y="32385"/>
                    </a:cubicBezTo>
                    <a:lnTo>
                      <a:pt x="5620" y="16002"/>
                    </a:lnTo>
                    <a:cubicBezTo>
                      <a:pt x="17622" y="5334"/>
                      <a:pt x="31337" y="0"/>
                      <a:pt x="46577" y="0"/>
                    </a:cubicBezTo>
                    <a:cubicBezTo>
                      <a:pt x="59627" y="0"/>
                      <a:pt x="69818" y="3143"/>
                      <a:pt x="76962" y="9335"/>
                    </a:cubicBezTo>
                    <a:cubicBezTo>
                      <a:pt x="84106" y="15526"/>
                      <a:pt x="87725" y="24384"/>
                      <a:pt x="87725" y="36004"/>
                    </a:cubicBezTo>
                    <a:lnTo>
                      <a:pt x="87725" y="72866"/>
                    </a:lnTo>
                    <a:cubicBezTo>
                      <a:pt x="87725" y="83915"/>
                      <a:pt x="88011" y="93821"/>
                      <a:pt x="88487" y="102584"/>
                    </a:cubicBezTo>
                    <a:lnTo>
                      <a:pt x="63722" y="102584"/>
                    </a:lnTo>
                    <a:cubicBezTo>
                      <a:pt x="63246" y="98203"/>
                      <a:pt x="63055" y="93440"/>
                      <a:pt x="63055" y="88487"/>
                    </a:cubicBezTo>
                    <a:lnTo>
                      <a:pt x="62484" y="88487"/>
                    </a:lnTo>
                    <a:cubicBezTo>
                      <a:pt x="59246" y="93631"/>
                      <a:pt x="54959" y="97631"/>
                      <a:pt x="49721" y="100394"/>
                    </a:cubicBezTo>
                    <a:cubicBezTo>
                      <a:pt x="44482" y="103156"/>
                      <a:pt x="38291" y="104489"/>
                      <a:pt x="31242" y="104489"/>
                    </a:cubicBezTo>
                    <a:cubicBezTo>
                      <a:pt x="25051" y="104489"/>
                      <a:pt x="19621" y="103346"/>
                      <a:pt x="14954" y="100965"/>
                    </a:cubicBezTo>
                    <a:close/>
                    <a:moveTo>
                      <a:pt x="50864" y="81534"/>
                    </a:moveTo>
                    <a:cubicBezTo>
                      <a:pt x="54197" y="79534"/>
                      <a:pt x="56865" y="76771"/>
                      <a:pt x="58769" y="73533"/>
                    </a:cubicBezTo>
                    <a:cubicBezTo>
                      <a:pt x="60674" y="70199"/>
                      <a:pt x="61532" y="66675"/>
                      <a:pt x="61532" y="62960"/>
                    </a:cubicBezTo>
                    <a:lnTo>
                      <a:pt x="61532" y="57817"/>
                    </a:lnTo>
                    <a:lnTo>
                      <a:pt x="48006" y="58007"/>
                    </a:lnTo>
                    <a:cubicBezTo>
                      <a:pt x="43434" y="58293"/>
                      <a:pt x="39719" y="58674"/>
                      <a:pt x="36862" y="59341"/>
                    </a:cubicBezTo>
                    <a:cubicBezTo>
                      <a:pt x="34004" y="60008"/>
                      <a:pt x="31718" y="61341"/>
                      <a:pt x="29909" y="63246"/>
                    </a:cubicBezTo>
                    <a:cubicBezTo>
                      <a:pt x="28099" y="65151"/>
                      <a:pt x="27241" y="68104"/>
                      <a:pt x="27241" y="72009"/>
                    </a:cubicBezTo>
                    <a:cubicBezTo>
                      <a:pt x="27241" y="75914"/>
                      <a:pt x="28384" y="79248"/>
                      <a:pt x="30575" y="81344"/>
                    </a:cubicBezTo>
                    <a:cubicBezTo>
                      <a:pt x="32766" y="83439"/>
                      <a:pt x="35719" y="84582"/>
                      <a:pt x="39434" y="84582"/>
                    </a:cubicBezTo>
                    <a:cubicBezTo>
                      <a:pt x="43720" y="84582"/>
                      <a:pt x="47530" y="83534"/>
                      <a:pt x="50959" y="81534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58" name="Freeform: Shape 291">
                <a:extLst>
                  <a:ext uri="{FF2B5EF4-FFF2-40B4-BE49-F238E27FC236}">
                    <a16:creationId xmlns:a16="http://schemas.microsoft.com/office/drawing/2014/main" id="{878EBB91-47F0-4756-EDD3-4423D0B3A7C2}"/>
                  </a:ext>
                </a:extLst>
              </p:cNvPr>
              <p:cNvSpPr/>
              <p:nvPr/>
            </p:nvSpPr>
            <p:spPr>
              <a:xfrm>
                <a:off x="6976110" y="5072252"/>
                <a:ext cx="59816" cy="126873"/>
              </a:xfrm>
              <a:custGeom>
                <a:avLst/>
                <a:gdLst>
                  <a:gd name="connsiteX0" fmla="*/ 19431 w 59816"/>
                  <a:gd name="connsiteY0" fmla="*/ 120015 h 126873"/>
                  <a:gd name="connsiteX1" fmla="*/ 12763 w 59816"/>
                  <a:gd name="connsiteY1" fmla="*/ 99727 h 126873"/>
                  <a:gd name="connsiteX2" fmla="*/ 12763 w 59816"/>
                  <a:gd name="connsiteY2" fmla="*/ 44101 h 126873"/>
                  <a:gd name="connsiteX3" fmla="*/ 0 w 59816"/>
                  <a:gd name="connsiteY3" fmla="*/ 44101 h 126873"/>
                  <a:gd name="connsiteX4" fmla="*/ 0 w 59816"/>
                  <a:gd name="connsiteY4" fmla="*/ 24670 h 126873"/>
                  <a:gd name="connsiteX5" fmla="*/ 14001 w 59816"/>
                  <a:gd name="connsiteY5" fmla="*/ 24670 h 126873"/>
                  <a:gd name="connsiteX6" fmla="*/ 15335 w 59816"/>
                  <a:gd name="connsiteY6" fmla="*/ 2000 h 126873"/>
                  <a:gd name="connsiteX7" fmla="*/ 38576 w 59816"/>
                  <a:gd name="connsiteY7" fmla="*/ 0 h 126873"/>
                  <a:gd name="connsiteX8" fmla="*/ 38576 w 59816"/>
                  <a:gd name="connsiteY8" fmla="*/ 24670 h 126873"/>
                  <a:gd name="connsiteX9" fmla="*/ 58578 w 59816"/>
                  <a:gd name="connsiteY9" fmla="*/ 24670 h 126873"/>
                  <a:gd name="connsiteX10" fmla="*/ 58578 w 59816"/>
                  <a:gd name="connsiteY10" fmla="*/ 44101 h 126873"/>
                  <a:gd name="connsiteX11" fmla="*/ 38576 w 59816"/>
                  <a:gd name="connsiteY11" fmla="*/ 44101 h 126873"/>
                  <a:gd name="connsiteX12" fmla="*/ 38576 w 59816"/>
                  <a:gd name="connsiteY12" fmla="*/ 92678 h 126873"/>
                  <a:gd name="connsiteX13" fmla="*/ 40862 w 59816"/>
                  <a:gd name="connsiteY13" fmla="*/ 102203 h 126873"/>
                  <a:gd name="connsiteX14" fmla="*/ 48291 w 59816"/>
                  <a:gd name="connsiteY14" fmla="*/ 105251 h 126873"/>
                  <a:gd name="connsiteX15" fmla="*/ 57816 w 59816"/>
                  <a:gd name="connsiteY15" fmla="*/ 104108 h 126873"/>
                  <a:gd name="connsiteX16" fmla="*/ 59817 w 59816"/>
                  <a:gd name="connsiteY16" fmla="*/ 123920 h 126873"/>
                  <a:gd name="connsiteX17" fmla="*/ 38576 w 59816"/>
                  <a:gd name="connsiteY17" fmla="*/ 126873 h 126873"/>
                  <a:gd name="connsiteX18" fmla="*/ 19335 w 59816"/>
                  <a:gd name="connsiteY18" fmla="*/ 120015 h 1268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9816" h="126873">
                    <a:moveTo>
                      <a:pt x="19431" y="120015"/>
                    </a:moveTo>
                    <a:cubicBezTo>
                      <a:pt x="14954" y="115443"/>
                      <a:pt x="12763" y="108680"/>
                      <a:pt x="12763" y="99727"/>
                    </a:cubicBezTo>
                    <a:lnTo>
                      <a:pt x="12763" y="44101"/>
                    </a:lnTo>
                    <a:lnTo>
                      <a:pt x="0" y="44101"/>
                    </a:lnTo>
                    <a:lnTo>
                      <a:pt x="0" y="24670"/>
                    </a:lnTo>
                    <a:lnTo>
                      <a:pt x="14001" y="24670"/>
                    </a:lnTo>
                    <a:lnTo>
                      <a:pt x="15335" y="2000"/>
                    </a:lnTo>
                    <a:lnTo>
                      <a:pt x="38576" y="0"/>
                    </a:lnTo>
                    <a:lnTo>
                      <a:pt x="38576" y="24670"/>
                    </a:lnTo>
                    <a:lnTo>
                      <a:pt x="58578" y="24670"/>
                    </a:lnTo>
                    <a:lnTo>
                      <a:pt x="58578" y="44101"/>
                    </a:lnTo>
                    <a:lnTo>
                      <a:pt x="38576" y="44101"/>
                    </a:lnTo>
                    <a:lnTo>
                      <a:pt x="38576" y="92678"/>
                    </a:lnTo>
                    <a:cubicBezTo>
                      <a:pt x="38576" y="97060"/>
                      <a:pt x="39338" y="100203"/>
                      <a:pt x="40862" y="102203"/>
                    </a:cubicBezTo>
                    <a:cubicBezTo>
                      <a:pt x="42386" y="104204"/>
                      <a:pt x="44862" y="105251"/>
                      <a:pt x="48291" y="105251"/>
                    </a:cubicBezTo>
                    <a:cubicBezTo>
                      <a:pt x="51054" y="105251"/>
                      <a:pt x="54197" y="104870"/>
                      <a:pt x="57816" y="104108"/>
                    </a:cubicBezTo>
                    <a:lnTo>
                      <a:pt x="59817" y="123920"/>
                    </a:lnTo>
                    <a:cubicBezTo>
                      <a:pt x="52673" y="125921"/>
                      <a:pt x="45625" y="126873"/>
                      <a:pt x="38576" y="126873"/>
                    </a:cubicBezTo>
                    <a:cubicBezTo>
                      <a:pt x="30194" y="126873"/>
                      <a:pt x="23813" y="124587"/>
                      <a:pt x="19335" y="120015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59" name="Freeform: Shape 292">
                <a:extLst>
                  <a:ext uri="{FF2B5EF4-FFF2-40B4-BE49-F238E27FC236}">
                    <a16:creationId xmlns:a16="http://schemas.microsoft.com/office/drawing/2014/main" id="{57D79D32-550C-4397-020C-45871FF3978A}"/>
                  </a:ext>
                </a:extLst>
              </p:cNvPr>
              <p:cNvSpPr/>
              <p:nvPr/>
            </p:nvSpPr>
            <p:spPr>
              <a:xfrm>
                <a:off x="7041451" y="5059299"/>
                <a:ext cx="61436" cy="138112"/>
              </a:xfrm>
              <a:custGeom>
                <a:avLst/>
                <a:gdLst>
                  <a:gd name="connsiteX0" fmla="*/ 14668 w 61436"/>
                  <a:gd name="connsiteY0" fmla="*/ 57055 h 138112"/>
                  <a:gd name="connsiteX1" fmla="*/ 0 w 61436"/>
                  <a:gd name="connsiteY1" fmla="*/ 57055 h 138112"/>
                  <a:gd name="connsiteX2" fmla="*/ 0 w 61436"/>
                  <a:gd name="connsiteY2" fmla="*/ 37624 h 138112"/>
                  <a:gd name="connsiteX3" fmla="*/ 14668 w 61436"/>
                  <a:gd name="connsiteY3" fmla="*/ 37624 h 138112"/>
                  <a:gd name="connsiteX4" fmla="*/ 14668 w 61436"/>
                  <a:gd name="connsiteY4" fmla="*/ 28956 h 138112"/>
                  <a:gd name="connsiteX5" fmla="*/ 21717 w 61436"/>
                  <a:gd name="connsiteY5" fmla="*/ 7715 h 138112"/>
                  <a:gd name="connsiteX6" fmla="*/ 45815 w 61436"/>
                  <a:gd name="connsiteY6" fmla="*/ 0 h 138112"/>
                  <a:gd name="connsiteX7" fmla="*/ 61436 w 61436"/>
                  <a:gd name="connsiteY7" fmla="*/ 1619 h 138112"/>
                  <a:gd name="connsiteX8" fmla="*/ 59531 w 61436"/>
                  <a:gd name="connsiteY8" fmla="*/ 20383 h 138112"/>
                  <a:gd name="connsiteX9" fmla="*/ 50578 w 61436"/>
                  <a:gd name="connsiteY9" fmla="*/ 19431 h 138112"/>
                  <a:gd name="connsiteX10" fmla="*/ 42863 w 61436"/>
                  <a:gd name="connsiteY10" fmla="*/ 22288 h 138112"/>
                  <a:gd name="connsiteX11" fmla="*/ 40672 w 61436"/>
                  <a:gd name="connsiteY11" fmla="*/ 31432 h 138112"/>
                  <a:gd name="connsiteX12" fmla="*/ 40672 w 61436"/>
                  <a:gd name="connsiteY12" fmla="*/ 37529 h 138112"/>
                  <a:gd name="connsiteX13" fmla="*/ 61436 w 61436"/>
                  <a:gd name="connsiteY13" fmla="*/ 37529 h 138112"/>
                  <a:gd name="connsiteX14" fmla="*/ 61436 w 61436"/>
                  <a:gd name="connsiteY14" fmla="*/ 56960 h 138112"/>
                  <a:gd name="connsiteX15" fmla="*/ 40672 w 61436"/>
                  <a:gd name="connsiteY15" fmla="*/ 56960 h 138112"/>
                  <a:gd name="connsiteX16" fmla="*/ 40672 w 61436"/>
                  <a:gd name="connsiteY16" fmla="*/ 138113 h 138112"/>
                  <a:gd name="connsiteX17" fmla="*/ 14668 w 61436"/>
                  <a:gd name="connsiteY17" fmla="*/ 138113 h 138112"/>
                  <a:gd name="connsiteX18" fmla="*/ 14668 w 61436"/>
                  <a:gd name="connsiteY18" fmla="*/ 56960 h 1381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61436" h="138112">
                    <a:moveTo>
                      <a:pt x="14668" y="57055"/>
                    </a:moveTo>
                    <a:lnTo>
                      <a:pt x="0" y="57055"/>
                    </a:lnTo>
                    <a:lnTo>
                      <a:pt x="0" y="37624"/>
                    </a:lnTo>
                    <a:lnTo>
                      <a:pt x="14668" y="37624"/>
                    </a:lnTo>
                    <a:lnTo>
                      <a:pt x="14668" y="28956"/>
                    </a:lnTo>
                    <a:cubicBezTo>
                      <a:pt x="14668" y="19907"/>
                      <a:pt x="17050" y="12859"/>
                      <a:pt x="21717" y="7715"/>
                    </a:cubicBezTo>
                    <a:cubicBezTo>
                      <a:pt x="26384" y="2572"/>
                      <a:pt x="34480" y="0"/>
                      <a:pt x="45815" y="0"/>
                    </a:cubicBezTo>
                    <a:cubicBezTo>
                      <a:pt x="50673" y="0"/>
                      <a:pt x="55912" y="476"/>
                      <a:pt x="61436" y="1619"/>
                    </a:cubicBezTo>
                    <a:lnTo>
                      <a:pt x="59531" y="20383"/>
                    </a:lnTo>
                    <a:cubicBezTo>
                      <a:pt x="56959" y="19717"/>
                      <a:pt x="53911" y="19431"/>
                      <a:pt x="50578" y="19431"/>
                    </a:cubicBezTo>
                    <a:cubicBezTo>
                      <a:pt x="46958" y="19431"/>
                      <a:pt x="44386" y="20383"/>
                      <a:pt x="42863" y="22288"/>
                    </a:cubicBezTo>
                    <a:cubicBezTo>
                      <a:pt x="41338" y="24194"/>
                      <a:pt x="40672" y="27241"/>
                      <a:pt x="40672" y="31432"/>
                    </a:cubicBezTo>
                    <a:lnTo>
                      <a:pt x="40672" y="37529"/>
                    </a:lnTo>
                    <a:lnTo>
                      <a:pt x="61436" y="37529"/>
                    </a:lnTo>
                    <a:lnTo>
                      <a:pt x="61436" y="56960"/>
                    </a:lnTo>
                    <a:lnTo>
                      <a:pt x="40672" y="56960"/>
                    </a:lnTo>
                    <a:lnTo>
                      <a:pt x="40672" y="138113"/>
                    </a:lnTo>
                    <a:lnTo>
                      <a:pt x="14668" y="138113"/>
                    </a:lnTo>
                    <a:lnTo>
                      <a:pt x="14668" y="56960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60" name="Freeform: Shape 293">
                <a:extLst>
                  <a:ext uri="{FF2B5EF4-FFF2-40B4-BE49-F238E27FC236}">
                    <a16:creationId xmlns:a16="http://schemas.microsoft.com/office/drawing/2014/main" id="{F02C74ED-820D-5F56-BEA6-7715E401DC65}"/>
                  </a:ext>
                </a:extLst>
              </p:cNvPr>
              <p:cNvSpPr/>
              <p:nvPr/>
            </p:nvSpPr>
            <p:spPr>
              <a:xfrm>
                <a:off x="7109936" y="5095113"/>
                <a:ext cx="101440" cy="104393"/>
              </a:xfrm>
              <a:custGeom>
                <a:avLst/>
                <a:gdLst>
                  <a:gd name="connsiteX0" fmla="*/ 23146 w 101440"/>
                  <a:gd name="connsiteY0" fmla="*/ 97346 h 104393"/>
                  <a:gd name="connsiteX1" fmla="*/ 5905 w 101440"/>
                  <a:gd name="connsiteY1" fmla="*/ 78581 h 104393"/>
                  <a:gd name="connsiteX2" fmla="*/ 0 w 101440"/>
                  <a:gd name="connsiteY2" fmla="*/ 51911 h 104393"/>
                  <a:gd name="connsiteX3" fmla="*/ 5715 w 101440"/>
                  <a:gd name="connsiteY3" fmla="*/ 25717 h 104393"/>
                  <a:gd name="connsiteX4" fmla="*/ 22860 w 101440"/>
                  <a:gd name="connsiteY4" fmla="*/ 6953 h 104393"/>
                  <a:gd name="connsiteX5" fmla="*/ 50863 w 101440"/>
                  <a:gd name="connsiteY5" fmla="*/ 0 h 104393"/>
                  <a:gd name="connsiteX6" fmla="*/ 79534 w 101440"/>
                  <a:gd name="connsiteY6" fmla="*/ 6953 h 104393"/>
                  <a:gd name="connsiteX7" fmla="*/ 96107 w 101440"/>
                  <a:gd name="connsiteY7" fmla="*/ 25527 h 104393"/>
                  <a:gd name="connsiteX8" fmla="*/ 101441 w 101440"/>
                  <a:gd name="connsiteY8" fmla="*/ 52006 h 104393"/>
                  <a:gd name="connsiteX9" fmla="*/ 95631 w 101440"/>
                  <a:gd name="connsiteY9" fmla="*/ 78676 h 104393"/>
                  <a:gd name="connsiteX10" fmla="*/ 78295 w 101440"/>
                  <a:gd name="connsiteY10" fmla="*/ 97441 h 104393"/>
                  <a:gd name="connsiteX11" fmla="*/ 50292 w 101440"/>
                  <a:gd name="connsiteY11" fmla="*/ 104394 h 104393"/>
                  <a:gd name="connsiteX12" fmla="*/ 23050 w 101440"/>
                  <a:gd name="connsiteY12" fmla="*/ 97536 h 104393"/>
                  <a:gd name="connsiteX13" fmla="*/ 67913 w 101440"/>
                  <a:gd name="connsiteY13" fmla="*/ 75342 h 104393"/>
                  <a:gd name="connsiteX14" fmla="*/ 74104 w 101440"/>
                  <a:gd name="connsiteY14" fmla="*/ 51911 h 104393"/>
                  <a:gd name="connsiteX15" fmla="*/ 68199 w 101440"/>
                  <a:gd name="connsiteY15" fmla="*/ 28765 h 104393"/>
                  <a:gd name="connsiteX16" fmla="*/ 51149 w 101440"/>
                  <a:gd name="connsiteY16" fmla="*/ 20669 h 104393"/>
                  <a:gd name="connsiteX17" fmla="*/ 33433 w 101440"/>
                  <a:gd name="connsiteY17" fmla="*/ 28765 h 104393"/>
                  <a:gd name="connsiteX18" fmla="*/ 27337 w 101440"/>
                  <a:gd name="connsiteY18" fmla="*/ 51911 h 104393"/>
                  <a:gd name="connsiteX19" fmla="*/ 30194 w 101440"/>
                  <a:gd name="connsiteY19" fmla="*/ 68961 h 104393"/>
                  <a:gd name="connsiteX20" fmla="*/ 38100 w 101440"/>
                  <a:gd name="connsiteY20" fmla="*/ 79819 h 104393"/>
                  <a:gd name="connsiteX21" fmla="*/ 50006 w 101440"/>
                  <a:gd name="connsiteY21" fmla="*/ 83534 h 104393"/>
                  <a:gd name="connsiteX22" fmla="*/ 67913 w 101440"/>
                  <a:gd name="connsiteY22" fmla="*/ 75342 h 1043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101440" h="104393">
                    <a:moveTo>
                      <a:pt x="23146" y="97346"/>
                    </a:moveTo>
                    <a:cubicBezTo>
                      <a:pt x="15526" y="92773"/>
                      <a:pt x="9810" y="86487"/>
                      <a:pt x="5905" y="78581"/>
                    </a:cubicBezTo>
                    <a:cubicBezTo>
                      <a:pt x="2000" y="70675"/>
                      <a:pt x="0" y="61722"/>
                      <a:pt x="0" y="51911"/>
                    </a:cubicBezTo>
                    <a:cubicBezTo>
                      <a:pt x="0" y="42100"/>
                      <a:pt x="1905" y="33528"/>
                      <a:pt x="5715" y="25717"/>
                    </a:cubicBezTo>
                    <a:cubicBezTo>
                      <a:pt x="9525" y="17812"/>
                      <a:pt x="15240" y="11621"/>
                      <a:pt x="22860" y="6953"/>
                    </a:cubicBezTo>
                    <a:cubicBezTo>
                      <a:pt x="30480" y="2286"/>
                      <a:pt x="39814" y="0"/>
                      <a:pt x="50863" y="0"/>
                    </a:cubicBezTo>
                    <a:cubicBezTo>
                      <a:pt x="62484" y="0"/>
                      <a:pt x="72009" y="2286"/>
                      <a:pt x="79534" y="6953"/>
                    </a:cubicBezTo>
                    <a:cubicBezTo>
                      <a:pt x="87059" y="11525"/>
                      <a:pt x="92583" y="17812"/>
                      <a:pt x="96107" y="25527"/>
                    </a:cubicBezTo>
                    <a:cubicBezTo>
                      <a:pt x="99631" y="33338"/>
                      <a:pt x="101441" y="42100"/>
                      <a:pt x="101441" y="52006"/>
                    </a:cubicBezTo>
                    <a:cubicBezTo>
                      <a:pt x="101441" y="61913"/>
                      <a:pt x="99536" y="70771"/>
                      <a:pt x="95631" y="78676"/>
                    </a:cubicBezTo>
                    <a:cubicBezTo>
                      <a:pt x="91726" y="86582"/>
                      <a:pt x="86010" y="92869"/>
                      <a:pt x="78295" y="97441"/>
                    </a:cubicBezTo>
                    <a:cubicBezTo>
                      <a:pt x="70580" y="102013"/>
                      <a:pt x="61246" y="104394"/>
                      <a:pt x="50292" y="104394"/>
                    </a:cubicBezTo>
                    <a:cubicBezTo>
                      <a:pt x="39338" y="104394"/>
                      <a:pt x="30670" y="102108"/>
                      <a:pt x="23050" y="97536"/>
                    </a:cubicBezTo>
                    <a:close/>
                    <a:moveTo>
                      <a:pt x="67913" y="75342"/>
                    </a:moveTo>
                    <a:cubicBezTo>
                      <a:pt x="72104" y="69913"/>
                      <a:pt x="74104" y="62103"/>
                      <a:pt x="74104" y="51911"/>
                    </a:cubicBezTo>
                    <a:cubicBezTo>
                      <a:pt x="74104" y="41719"/>
                      <a:pt x="72104" y="34099"/>
                      <a:pt x="68199" y="28765"/>
                    </a:cubicBezTo>
                    <a:cubicBezTo>
                      <a:pt x="64294" y="23431"/>
                      <a:pt x="58578" y="20669"/>
                      <a:pt x="51149" y="20669"/>
                    </a:cubicBezTo>
                    <a:cubicBezTo>
                      <a:pt x="43719" y="20669"/>
                      <a:pt x="37529" y="23336"/>
                      <a:pt x="33433" y="28765"/>
                    </a:cubicBezTo>
                    <a:cubicBezTo>
                      <a:pt x="29337" y="34195"/>
                      <a:pt x="27337" y="41910"/>
                      <a:pt x="27337" y="51911"/>
                    </a:cubicBezTo>
                    <a:cubicBezTo>
                      <a:pt x="27337" y="58579"/>
                      <a:pt x="28289" y="64198"/>
                      <a:pt x="30194" y="68961"/>
                    </a:cubicBezTo>
                    <a:cubicBezTo>
                      <a:pt x="32099" y="73723"/>
                      <a:pt x="34766" y="77343"/>
                      <a:pt x="38100" y="79819"/>
                    </a:cubicBezTo>
                    <a:cubicBezTo>
                      <a:pt x="41434" y="82296"/>
                      <a:pt x="45434" y="83534"/>
                      <a:pt x="50006" y="83534"/>
                    </a:cubicBezTo>
                    <a:cubicBezTo>
                      <a:pt x="57721" y="83534"/>
                      <a:pt x="63722" y="80772"/>
                      <a:pt x="67913" y="75342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61" name="Freeform: Shape 294">
                <a:extLst>
                  <a:ext uri="{FF2B5EF4-FFF2-40B4-BE49-F238E27FC236}">
                    <a16:creationId xmlns:a16="http://schemas.microsoft.com/office/drawing/2014/main" id="{E3E24758-2244-4A3B-73EF-21EB574ACE09}"/>
                  </a:ext>
                </a:extLst>
              </p:cNvPr>
              <p:cNvSpPr/>
              <p:nvPr/>
            </p:nvSpPr>
            <p:spPr>
              <a:xfrm>
                <a:off x="7231570" y="5094827"/>
                <a:ext cx="58674" cy="102774"/>
              </a:xfrm>
              <a:custGeom>
                <a:avLst/>
                <a:gdLst>
                  <a:gd name="connsiteX0" fmla="*/ 667 w 58674"/>
                  <a:gd name="connsiteY0" fmla="*/ 25717 h 102774"/>
                  <a:gd name="connsiteX1" fmla="*/ 477 w 58674"/>
                  <a:gd name="connsiteY1" fmla="*/ 11811 h 102774"/>
                  <a:gd name="connsiteX2" fmla="*/ 0 w 58674"/>
                  <a:gd name="connsiteY2" fmla="*/ 2095 h 102774"/>
                  <a:gd name="connsiteX3" fmla="*/ 24956 w 58674"/>
                  <a:gd name="connsiteY3" fmla="*/ 2095 h 102774"/>
                  <a:gd name="connsiteX4" fmla="*/ 25718 w 58674"/>
                  <a:gd name="connsiteY4" fmla="*/ 10096 h 102774"/>
                  <a:gd name="connsiteX5" fmla="*/ 26099 w 58674"/>
                  <a:gd name="connsiteY5" fmla="*/ 19621 h 102774"/>
                  <a:gd name="connsiteX6" fmla="*/ 26480 w 58674"/>
                  <a:gd name="connsiteY6" fmla="*/ 19621 h 102774"/>
                  <a:gd name="connsiteX7" fmla="*/ 32195 w 58674"/>
                  <a:gd name="connsiteY7" fmla="*/ 8572 h 102774"/>
                  <a:gd name="connsiteX8" fmla="*/ 39148 w 58674"/>
                  <a:gd name="connsiteY8" fmla="*/ 2286 h 102774"/>
                  <a:gd name="connsiteX9" fmla="*/ 50292 w 58674"/>
                  <a:gd name="connsiteY9" fmla="*/ 0 h 102774"/>
                  <a:gd name="connsiteX10" fmla="*/ 55150 w 58674"/>
                  <a:gd name="connsiteY10" fmla="*/ 476 h 102774"/>
                  <a:gd name="connsiteX11" fmla="*/ 58674 w 58674"/>
                  <a:gd name="connsiteY11" fmla="*/ 1619 h 102774"/>
                  <a:gd name="connsiteX12" fmla="*/ 57912 w 58674"/>
                  <a:gd name="connsiteY12" fmla="*/ 24193 h 102774"/>
                  <a:gd name="connsiteX13" fmla="*/ 55912 w 58674"/>
                  <a:gd name="connsiteY13" fmla="*/ 23813 h 102774"/>
                  <a:gd name="connsiteX14" fmla="*/ 47340 w 58674"/>
                  <a:gd name="connsiteY14" fmla="*/ 22860 h 102774"/>
                  <a:gd name="connsiteX15" fmla="*/ 32195 w 58674"/>
                  <a:gd name="connsiteY15" fmla="*/ 30766 h 102774"/>
                  <a:gd name="connsiteX16" fmla="*/ 26766 w 58674"/>
                  <a:gd name="connsiteY16" fmla="*/ 53435 h 102774"/>
                  <a:gd name="connsiteX17" fmla="*/ 26766 w 58674"/>
                  <a:gd name="connsiteY17" fmla="*/ 102775 h 102774"/>
                  <a:gd name="connsiteX18" fmla="*/ 667 w 58674"/>
                  <a:gd name="connsiteY18" fmla="*/ 102775 h 102774"/>
                  <a:gd name="connsiteX19" fmla="*/ 667 w 58674"/>
                  <a:gd name="connsiteY19" fmla="*/ 25813 h 1027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8674" h="102774">
                    <a:moveTo>
                      <a:pt x="667" y="25717"/>
                    </a:moveTo>
                    <a:cubicBezTo>
                      <a:pt x="667" y="21336"/>
                      <a:pt x="667" y="16764"/>
                      <a:pt x="477" y="11811"/>
                    </a:cubicBezTo>
                    <a:cubicBezTo>
                      <a:pt x="286" y="6858"/>
                      <a:pt x="191" y="3619"/>
                      <a:pt x="0" y="2095"/>
                    </a:cubicBezTo>
                    <a:lnTo>
                      <a:pt x="24956" y="2095"/>
                    </a:lnTo>
                    <a:cubicBezTo>
                      <a:pt x="25241" y="3238"/>
                      <a:pt x="25432" y="5905"/>
                      <a:pt x="25718" y="10096"/>
                    </a:cubicBezTo>
                    <a:cubicBezTo>
                      <a:pt x="26004" y="14288"/>
                      <a:pt x="26099" y="17431"/>
                      <a:pt x="26099" y="19621"/>
                    </a:cubicBezTo>
                    <a:lnTo>
                      <a:pt x="26480" y="19621"/>
                    </a:lnTo>
                    <a:cubicBezTo>
                      <a:pt x="28480" y="14859"/>
                      <a:pt x="30385" y="11239"/>
                      <a:pt x="32195" y="8572"/>
                    </a:cubicBezTo>
                    <a:cubicBezTo>
                      <a:pt x="34004" y="5905"/>
                      <a:pt x="36291" y="3810"/>
                      <a:pt x="39148" y="2286"/>
                    </a:cubicBezTo>
                    <a:cubicBezTo>
                      <a:pt x="42006" y="762"/>
                      <a:pt x="45720" y="0"/>
                      <a:pt x="50292" y="0"/>
                    </a:cubicBezTo>
                    <a:cubicBezTo>
                      <a:pt x="52007" y="0"/>
                      <a:pt x="53626" y="190"/>
                      <a:pt x="55150" y="476"/>
                    </a:cubicBezTo>
                    <a:cubicBezTo>
                      <a:pt x="56769" y="762"/>
                      <a:pt x="57912" y="1143"/>
                      <a:pt x="58674" y="1619"/>
                    </a:cubicBezTo>
                    <a:lnTo>
                      <a:pt x="57912" y="24193"/>
                    </a:lnTo>
                    <a:cubicBezTo>
                      <a:pt x="57055" y="24098"/>
                      <a:pt x="56388" y="23908"/>
                      <a:pt x="55912" y="23813"/>
                    </a:cubicBezTo>
                    <a:cubicBezTo>
                      <a:pt x="52578" y="23146"/>
                      <a:pt x="49721" y="22860"/>
                      <a:pt x="47340" y="22860"/>
                    </a:cubicBezTo>
                    <a:cubicBezTo>
                      <a:pt x="40863" y="22860"/>
                      <a:pt x="35814" y="25432"/>
                      <a:pt x="32195" y="30766"/>
                    </a:cubicBezTo>
                    <a:cubicBezTo>
                      <a:pt x="28575" y="36004"/>
                      <a:pt x="26766" y="43529"/>
                      <a:pt x="26766" y="53435"/>
                    </a:cubicBezTo>
                    <a:lnTo>
                      <a:pt x="26766" y="102775"/>
                    </a:lnTo>
                    <a:lnTo>
                      <a:pt x="667" y="102775"/>
                    </a:lnTo>
                    <a:lnTo>
                      <a:pt x="667" y="25813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62" name="Freeform: Shape 295">
                <a:extLst>
                  <a:ext uri="{FF2B5EF4-FFF2-40B4-BE49-F238E27FC236}">
                    <a16:creationId xmlns:a16="http://schemas.microsoft.com/office/drawing/2014/main" id="{95CAF93A-DE7F-F5BD-D81D-9A04DDA483DA}"/>
                  </a:ext>
                </a:extLst>
              </p:cNvPr>
              <p:cNvSpPr/>
              <p:nvPr/>
            </p:nvSpPr>
            <p:spPr>
              <a:xfrm>
                <a:off x="7305675" y="5094636"/>
                <a:ext cx="144970" cy="102679"/>
              </a:xfrm>
              <a:custGeom>
                <a:avLst/>
                <a:gdLst>
                  <a:gd name="connsiteX0" fmla="*/ 667 w 144970"/>
                  <a:gd name="connsiteY0" fmla="*/ 24670 h 102679"/>
                  <a:gd name="connsiteX1" fmla="*/ 476 w 144970"/>
                  <a:gd name="connsiteY1" fmla="*/ 11430 h 102679"/>
                  <a:gd name="connsiteX2" fmla="*/ 0 w 144970"/>
                  <a:gd name="connsiteY2" fmla="*/ 2191 h 102679"/>
                  <a:gd name="connsiteX3" fmla="*/ 24955 w 144970"/>
                  <a:gd name="connsiteY3" fmla="*/ 2191 h 102679"/>
                  <a:gd name="connsiteX4" fmla="*/ 25718 w 144970"/>
                  <a:gd name="connsiteY4" fmla="*/ 10382 h 102679"/>
                  <a:gd name="connsiteX5" fmla="*/ 26098 w 144970"/>
                  <a:gd name="connsiteY5" fmla="*/ 20193 h 102679"/>
                  <a:gd name="connsiteX6" fmla="*/ 26480 w 144970"/>
                  <a:gd name="connsiteY6" fmla="*/ 20193 h 102679"/>
                  <a:gd name="connsiteX7" fmla="*/ 38481 w 144970"/>
                  <a:gd name="connsiteY7" fmla="*/ 4953 h 102679"/>
                  <a:gd name="connsiteX8" fmla="*/ 55816 w 144970"/>
                  <a:gd name="connsiteY8" fmla="*/ 0 h 102679"/>
                  <a:gd name="connsiteX9" fmla="*/ 74295 w 144970"/>
                  <a:gd name="connsiteY9" fmla="*/ 5144 h 102679"/>
                  <a:gd name="connsiteX10" fmla="*/ 83820 w 144970"/>
                  <a:gd name="connsiteY10" fmla="*/ 20193 h 102679"/>
                  <a:gd name="connsiteX11" fmla="*/ 84391 w 144970"/>
                  <a:gd name="connsiteY11" fmla="*/ 20193 h 102679"/>
                  <a:gd name="connsiteX12" fmla="*/ 96774 w 144970"/>
                  <a:gd name="connsiteY12" fmla="*/ 4572 h 102679"/>
                  <a:gd name="connsiteX13" fmla="*/ 114871 w 144970"/>
                  <a:gd name="connsiteY13" fmla="*/ 0 h 102679"/>
                  <a:gd name="connsiteX14" fmla="*/ 137732 w 144970"/>
                  <a:gd name="connsiteY14" fmla="*/ 10573 h 102679"/>
                  <a:gd name="connsiteX15" fmla="*/ 144970 w 144970"/>
                  <a:gd name="connsiteY15" fmla="*/ 38862 h 102679"/>
                  <a:gd name="connsiteX16" fmla="*/ 144970 w 144970"/>
                  <a:gd name="connsiteY16" fmla="*/ 102679 h 102679"/>
                  <a:gd name="connsiteX17" fmla="*/ 119063 w 144970"/>
                  <a:gd name="connsiteY17" fmla="*/ 102679 h 102679"/>
                  <a:gd name="connsiteX18" fmla="*/ 119063 w 144970"/>
                  <a:gd name="connsiteY18" fmla="*/ 46292 h 102679"/>
                  <a:gd name="connsiteX19" fmla="*/ 115824 w 144970"/>
                  <a:gd name="connsiteY19" fmla="*/ 28766 h 102679"/>
                  <a:gd name="connsiteX20" fmla="*/ 104680 w 144970"/>
                  <a:gd name="connsiteY20" fmla="*/ 22670 h 102679"/>
                  <a:gd name="connsiteX21" fmla="*/ 95250 w 144970"/>
                  <a:gd name="connsiteY21" fmla="*/ 25813 h 102679"/>
                  <a:gd name="connsiteX22" fmla="*/ 88582 w 144970"/>
                  <a:gd name="connsiteY22" fmla="*/ 34576 h 102679"/>
                  <a:gd name="connsiteX23" fmla="*/ 85916 w 144970"/>
                  <a:gd name="connsiteY23" fmla="*/ 47435 h 102679"/>
                  <a:gd name="connsiteX24" fmla="*/ 85916 w 144970"/>
                  <a:gd name="connsiteY24" fmla="*/ 102679 h 102679"/>
                  <a:gd name="connsiteX25" fmla="*/ 60007 w 144970"/>
                  <a:gd name="connsiteY25" fmla="*/ 102679 h 102679"/>
                  <a:gd name="connsiteX26" fmla="*/ 60007 w 144970"/>
                  <a:gd name="connsiteY26" fmla="*/ 46292 h 102679"/>
                  <a:gd name="connsiteX27" fmla="*/ 56769 w 144970"/>
                  <a:gd name="connsiteY27" fmla="*/ 28766 h 102679"/>
                  <a:gd name="connsiteX28" fmla="*/ 45625 w 144970"/>
                  <a:gd name="connsiteY28" fmla="*/ 22670 h 102679"/>
                  <a:gd name="connsiteX29" fmla="*/ 36005 w 144970"/>
                  <a:gd name="connsiteY29" fmla="*/ 26003 h 102679"/>
                  <a:gd name="connsiteX30" fmla="*/ 29337 w 144970"/>
                  <a:gd name="connsiteY30" fmla="*/ 35243 h 102679"/>
                  <a:gd name="connsiteX31" fmla="*/ 26956 w 144970"/>
                  <a:gd name="connsiteY31" fmla="*/ 48768 h 102679"/>
                  <a:gd name="connsiteX32" fmla="*/ 26956 w 144970"/>
                  <a:gd name="connsiteY32" fmla="*/ 102679 h 102679"/>
                  <a:gd name="connsiteX33" fmla="*/ 858 w 144970"/>
                  <a:gd name="connsiteY33" fmla="*/ 102679 h 102679"/>
                  <a:gd name="connsiteX34" fmla="*/ 858 w 144970"/>
                  <a:gd name="connsiteY34" fmla="*/ 24575 h 1026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144970" h="102679">
                    <a:moveTo>
                      <a:pt x="667" y="24670"/>
                    </a:moveTo>
                    <a:cubicBezTo>
                      <a:pt x="667" y="20384"/>
                      <a:pt x="667" y="16002"/>
                      <a:pt x="476" y="11430"/>
                    </a:cubicBezTo>
                    <a:cubicBezTo>
                      <a:pt x="286" y="6858"/>
                      <a:pt x="191" y="3810"/>
                      <a:pt x="0" y="2191"/>
                    </a:cubicBezTo>
                    <a:lnTo>
                      <a:pt x="24955" y="2191"/>
                    </a:lnTo>
                    <a:cubicBezTo>
                      <a:pt x="25241" y="3524"/>
                      <a:pt x="25432" y="6287"/>
                      <a:pt x="25718" y="10382"/>
                    </a:cubicBezTo>
                    <a:cubicBezTo>
                      <a:pt x="26003" y="14478"/>
                      <a:pt x="26098" y="17812"/>
                      <a:pt x="26098" y="20193"/>
                    </a:cubicBezTo>
                    <a:lnTo>
                      <a:pt x="26480" y="20193"/>
                    </a:lnTo>
                    <a:cubicBezTo>
                      <a:pt x="29623" y="13335"/>
                      <a:pt x="33624" y="8192"/>
                      <a:pt x="38481" y="4953"/>
                    </a:cubicBezTo>
                    <a:cubicBezTo>
                      <a:pt x="43339" y="1619"/>
                      <a:pt x="49054" y="0"/>
                      <a:pt x="55816" y="0"/>
                    </a:cubicBezTo>
                    <a:cubicBezTo>
                      <a:pt x="63341" y="0"/>
                      <a:pt x="69532" y="1714"/>
                      <a:pt x="74295" y="5144"/>
                    </a:cubicBezTo>
                    <a:cubicBezTo>
                      <a:pt x="79057" y="8572"/>
                      <a:pt x="82201" y="13621"/>
                      <a:pt x="83820" y="20193"/>
                    </a:cubicBezTo>
                    <a:lnTo>
                      <a:pt x="84391" y="20193"/>
                    </a:lnTo>
                    <a:cubicBezTo>
                      <a:pt x="87820" y="12763"/>
                      <a:pt x="91916" y="7620"/>
                      <a:pt x="96774" y="4572"/>
                    </a:cubicBezTo>
                    <a:cubicBezTo>
                      <a:pt x="101632" y="1524"/>
                      <a:pt x="107632" y="0"/>
                      <a:pt x="114871" y="0"/>
                    </a:cubicBezTo>
                    <a:cubicBezTo>
                      <a:pt x="125254" y="0"/>
                      <a:pt x="132874" y="3524"/>
                      <a:pt x="137732" y="10573"/>
                    </a:cubicBezTo>
                    <a:cubicBezTo>
                      <a:pt x="142589" y="17621"/>
                      <a:pt x="144970" y="27051"/>
                      <a:pt x="144970" y="38862"/>
                    </a:cubicBezTo>
                    <a:lnTo>
                      <a:pt x="144970" y="102679"/>
                    </a:lnTo>
                    <a:lnTo>
                      <a:pt x="119063" y="102679"/>
                    </a:lnTo>
                    <a:lnTo>
                      <a:pt x="119063" y="46292"/>
                    </a:lnTo>
                    <a:cubicBezTo>
                      <a:pt x="119063" y="38767"/>
                      <a:pt x="118015" y="32861"/>
                      <a:pt x="115824" y="28766"/>
                    </a:cubicBezTo>
                    <a:cubicBezTo>
                      <a:pt x="113633" y="24670"/>
                      <a:pt x="109918" y="22670"/>
                      <a:pt x="104680" y="22670"/>
                    </a:cubicBezTo>
                    <a:cubicBezTo>
                      <a:pt x="101251" y="22670"/>
                      <a:pt x="98107" y="23717"/>
                      <a:pt x="95250" y="25813"/>
                    </a:cubicBezTo>
                    <a:cubicBezTo>
                      <a:pt x="92488" y="27908"/>
                      <a:pt x="90201" y="30766"/>
                      <a:pt x="88582" y="34576"/>
                    </a:cubicBezTo>
                    <a:cubicBezTo>
                      <a:pt x="86963" y="38291"/>
                      <a:pt x="86011" y="42577"/>
                      <a:pt x="85916" y="47435"/>
                    </a:cubicBezTo>
                    <a:lnTo>
                      <a:pt x="85916" y="102679"/>
                    </a:lnTo>
                    <a:lnTo>
                      <a:pt x="60007" y="102679"/>
                    </a:lnTo>
                    <a:lnTo>
                      <a:pt x="60007" y="46292"/>
                    </a:lnTo>
                    <a:cubicBezTo>
                      <a:pt x="60007" y="38767"/>
                      <a:pt x="58960" y="32861"/>
                      <a:pt x="56769" y="28766"/>
                    </a:cubicBezTo>
                    <a:cubicBezTo>
                      <a:pt x="54578" y="24670"/>
                      <a:pt x="50864" y="22670"/>
                      <a:pt x="45625" y="22670"/>
                    </a:cubicBezTo>
                    <a:cubicBezTo>
                      <a:pt x="42100" y="22670"/>
                      <a:pt x="38862" y="23813"/>
                      <a:pt x="36005" y="26003"/>
                    </a:cubicBezTo>
                    <a:cubicBezTo>
                      <a:pt x="33147" y="28194"/>
                      <a:pt x="30956" y="31242"/>
                      <a:pt x="29337" y="35243"/>
                    </a:cubicBezTo>
                    <a:cubicBezTo>
                      <a:pt x="27717" y="39243"/>
                      <a:pt x="26956" y="43720"/>
                      <a:pt x="26956" y="48768"/>
                    </a:cubicBezTo>
                    <a:lnTo>
                      <a:pt x="26956" y="102679"/>
                    </a:lnTo>
                    <a:lnTo>
                      <a:pt x="858" y="102679"/>
                    </a:lnTo>
                    <a:lnTo>
                      <a:pt x="858" y="24575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32" name="Graphic 2">
              <a:extLst>
                <a:ext uri="{FF2B5EF4-FFF2-40B4-BE49-F238E27FC236}">
                  <a16:creationId xmlns:a16="http://schemas.microsoft.com/office/drawing/2014/main" id="{D0010E84-4D37-A31C-1453-F02C76C00906}"/>
                </a:ext>
              </a:extLst>
            </p:cNvPr>
            <p:cNvGrpSpPr/>
            <p:nvPr/>
          </p:nvGrpSpPr>
          <p:grpSpPr>
            <a:xfrm>
              <a:off x="6952760" y="4288178"/>
              <a:ext cx="1270785" cy="192405"/>
              <a:chOff x="5621845" y="4542853"/>
              <a:chExt cx="956024" cy="140207"/>
            </a:xfrm>
            <a:solidFill>
              <a:srgbClr val="FFFFFF"/>
            </a:solidFill>
          </p:grpSpPr>
          <p:sp>
            <p:nvSpPr>
              <p:cNvPr id="429" name="Freeform: Shape 262">
                <a:extLst>
                  <a:ext uri="{FF2B5EF4-FFF2-40B4-BE49-F238E27FC236}">
                    <a16:creationId xmlns:a16="http://schemas.microsoft.com/office/drawing/2014/main" id="{3F609810-49FD-708F-9346-0725B4534C49}"/>
                  </a:ext>
                </a:extLst>
              </p:cNvPr>
              <p:cNvSpPr/>
              <p:nvPr/>
            </p:nvSpPr>
            <p:spPr>
              <a:xfrm>
                <a:off x="5621845" y="4547997"/>
                <a:ext cx="123539" cy="134969"/>
              </a:xfrm>
              <a:custGeom>
                <a:avLst/>
                <a:gdLst>
                  <a:gd name="connsiteX0" fmla="*/ 30099 w 123539"/>
                  <a:gd name="connsiteY0" fmla="*/ 126206 h 134969"/>
                  <a:gd name="connsiteX1" fmla="*/ 7620 w 123539"/>
                  <a:gd name="connsiteY1" fmla="*/ 102203 h 134969"/>
                  <a:gd name="connsiteX2" fmla="*/ 0 w 123539"/>
                  <a:gd name="connsiteY2" fmla="*/ 66865 h 134969"/>
                  <a:gd name="connsiteX3" fmla="*/ 7811 w 123539"/>
                  <a:gd name="connsiteY3" fmla="*/ 31432 h 134969"/>
                  <a:gd name="connsiteX4" fmla="*/ 30289 w 123539"/>
                  <a:gd name="connsiteY4" fmla="*/ 8191 h 134969"/>
                  <a:gd name="connsiteX5" fmla="*/ 64961 w 123539"/>
                  <a:gd name="connsiteY5" fmla="*/ 0 h 134969"/>
                  <a:gd name="connsiteX6" fmla="*/ 99631 w 123539"/>
                  <a:gd name="connsiteY6" fmla="*/ 8382 h 134969"/>
                  <a:gd name="connsiteX7" fmla="*/ 121158 w 123539"/>
                  <a:gd name="connsiteY7" fmla="*/ 31432 h 134969"/>
                  <a:gd name="connsiteX8" fmla="*/ 98393 w 123539"/>
                  <a:gd name="connsiteY8" fmla="*/ 42481 h 134969"/>
                  <a:gd name="connsiteX9" fmla="*/ 85725 w 123539"/>
                  <a:gd name="connsiteY9" fmla="*/ 28765 h 134969"/>
                  <a:gd name="connsiteX10" fmla="*/ 65627 w 123539"/>
                  <a:gd name="connsiteY10" fmla="*/ 23336 h 134969"/>
                  <a:gd name="connsiteX11" fmla="*/ 45815 w 123539"/>
                  <a:gd name="connsiteY11" fmla="*/ 28765 h 134969"/>
                  <a:gd name="connsiteX12" fmla="*/ 32480 w 123539"/>
                  <a:gd name="connsiteY12" fmla="*/ 44005 h 134969"/>
                  <a:gd name="connsiteX13" fmla="*/ 27813 w 123539"/>
                  <a:gd name="connsiteY13" fmla="*/ 66865 h 134969"/>
                  <a:gd name="connsiteX14" fmla="*/ 32195 w 123539"/>
                  <a:gd name="connsiteY14" fmla="*/ 90106 h 134969"/>
                  <a:gd name="connsiteX15" fmla="*/ 45244 w 123539"/>
                  <a:gd name="connsiteY15" fmla="*/ 105727 h 134969"/>
                  <a:gd name="connsiteX16" fmla="*/ 66294 w 123539"/>
                  <a:gd name="connsiteY16" fmla="*/ 111347 h 134969"/>
                  <a:gd name="connsiteX17" fmla="*/ 101060 w 123539"/>
                  <a:gd name="connsiteY17" fmla="*/ 89059 h 134969"/>
                  <a:gd name="connsiteX18" fmla="*/ 123539 w 123539"/>
                  <a:gd name="connsiteY18" fmla="*/ 100679 h 134969"/>
                  <a:gd name="connsiteX19" fmla="*/ 102584 w 123539"/>
                  <a:gd name="connsiteY19" fmla="*/ 125349 h 134969"/>
                  <a:gd name="connsiteX20" fmla="*/ 66294 w 123539"/>
                  <a:gd name="connsiteY20" fmla="*/ 134969 h 134969"/>
                  <a:gd name="connsiteX21" fmla="*/ 30194 w 123539"/>
                  <a:gd name="connsiteY21" fmla="*/ 126301 h 1349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23539" h="134969">
                    <a:moveTo>
                      <a:pt x="30099" y="126206"/>
                    </a:moveTo>
                    <a:cubicBezTo>
                      <a:pt x="20193" y="120396"/>
                      <a:pt x="12668" y="112395"/>
                      <a:pt x="7620" y="102203"/>
                    </a:cubicBezTo>
                    <a:cubicBezTo>
                      <a:pt x="2572" y="92012"/>
                      <a:pt x="0" y="80200"/>
                      <a:pt x="0" y="66865"/>
                    </a:cubicBezTo>
                    <a:cubicBezTo>
                      <a:pt x="0" y="53530"/>
                      <a:pt x="2572" y="41434"/>
                      <a:pt x="7811" y="31432"/>
                    </a:cubicBezTo>
                    <a:cubicBezTo>
                      <a:pt x="13049" y="21431"/>
                      <a:pt x="20479" y="13621"/>
                      <a:pt x="30289" y="8191"/>
                    </a:cubicBezTo>
                    <a:cubicBezTo>
                      <a:pt x="40100" y="2762"/>
                      <a:pt x="51626" y="0"/>
                      <a:pt x="64961" y="0"/>
                    </a:cubicBezTo>
                    <a:cubicBezTo>
                      <a:pt x="78296" y="0"/>
                      <a:pt x="90392" y="2762"/>
                      <a:pt x="99631" y="8382"/>
                    </a:cubicBezTo>
                    <a:cubicBezTo>
                      <a:pt x="108871" y="14002"/>
                      <a:pt x="116110" y="21622"/>
                      <a:pt x="121158" y="31432"/>
                    </a:cubicBezTo>
                    <a:lnTo>
                      <a:pt x="98393" y="42481"/>
                    </a:lnTo>
                    <a:cubicBezTo>
                      <a:pt x="95440" y="36957"/>
                      <a:pt x="91249" y="32385"/>
                      <a:pt x="85725" y="28765"/>
                    </a:cubicBezTo>
                    <a:cubicBezTo>
                      <a:pt x="80201" y="25146"/>
                      <a:pt x="73438" y="23336"/>
                      <a:pt x="65627" y="23336"/>
                    </a:cubicBezTo>
                    <a:cubicBezTo>
                      <a:pt x="57817" y="23336"/>
                      <a:pt x="51530" y="25146"/>
                      <a:pt x="45815" y="28765"/>
                    </a:cubicBezTo>
                    <a:cubicBezTo>
                      <a:pt x="40100" y="32385"/>
                      <a:pt x="35623" y="37433"/>
                      <a:pt x="32480" y="44005"/>
                    </a:cubicBezTo>
                    <a:cubicBezTo>
                      <a:pt x="29337" y="50578"/>
                      <a:pt x="27813" y="58198"/>
                      <a:pt x="27813" y="66865"/>
                    </a:cubicBezTo>
                    <a:cubicBezTo>
                      <a:pt x="27813" y="75533"/>
                      <a:pt x="29242" y="83439"/>
                      <a:pt x="32195" y="90106"/>
                    </a:cubicBezTo>
                    <a:cubicBezTo>
                      <a:pt x="35147" y="96774"/>
                      <a:pt x="39433" y="102013"/>
                      <a:pt x="45244" y="105727"/>
                    </a:cubicBezTo>
                    <a:cubicBezTo>
                      <a:pt x="51054" y="109442"/>
                      <a:pt x="58103" y="111347"/>
                      <a:pt x="66294" y="111347"/>
                    </a:cubicBezTo>
                    <a:cubicBezTo>
                      <a:pt x="81820" y="111347"/>
                      <a:pt x="93440" y="103918"/>
                      <a:pt x="101060" y="89059"/>
                    </a:cubicBezTo>
                    <a:lnTo>
                      <a:pt x="123539" y="100679"/>
                    </a:lnTo>
                    <a:cubicBezTo>
                      <a:pt x="118967" y="110680"/>
                      <a:pt x="111919" y="118967"/>
                      <a:pt x="102584" y="125349"/>
                    </a:cubicBezTo>
                    <a:cubicBezTo>
                      <a:pt x="93154" y="131731"/>
                      <a:pt x="81058" y="134969"/>
                      <a:pt x="66294" y="134969"/>
                    </a:cubicBezTo>
                    <a:cubicBezTo>
                      <a:pt x="51530" y="134969"/>
                      <a:pt x="40100" y="132112"/>
                      <a:pt x="30194" y="126301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30" name="Freeform: Shape 263">
                <a:extLst>
                  <a:ext uri="{FF2B5EF4-FFF2-40B4-BE49-F238E27FC236}">
                    <a16:creationId xmlns:a16="http://schemas.microsoft.com/office/drawing/2014/main" id="{0DFE1DC4-4E96-B228-7935-580EADF06692}"/>
                  </a:ext>
                </a:extLst>
              </p:cNvPr>
              <p:cNvSpPr/>
              <p:nvPr/>
            </p:nvSpPr>
            <p:spPr>
              <a:xfrm>
                <a:off x="5761672" y="4542948"/>
                <a:ext cx="40671" cy="139445"/>
              </a:xfrm>
              <a:custGeom>
                <a:avLst/>
                <a:gdLst>
                  <a:gd name="connsiteX0" fmla="*/ 6572 w 40671"/>
                  <a:gd name="connsiteY0" fmla="*/ 132397 h 139445"/>
                  <a:gd name="connsiteX1" fmla="*/ 0 w 40671"/>
                  <a:gd name="connsiteY1" fmla="*/ 113729 h 139445"/>
                  <a:gd name="connsiteX2" fmla="*/ 0 w 40671"/>
                  <a:gd name="connsiteY2" fmla="*/ 0 h 139445"/>
                  <a:gd name="connsiteX3" fmla="*/ 26099 w 40671"/>
                  <a:gd name="connsiteY3" fmla="*/ 0 h 139445"/>
                  <a:gd name="connsiteX4" fmla="*/ 26099 w 40671"/>
                  <a:gd name="connsiteY4" fmla="*/ 107251 h 139445"/>
                  <a:gd name="connsiteX5" fmla="*/ 26765 w 40671"/>
                  <a:gd name="connsiteY5" fmla="*/ 114014 h 139445"/>
                  <a:gd name="connsiteX6" fmla="*/ 29337 w 40671"/>
                  <a:gd name="connsiteY6" fmla="*/ 117443 h 139445"/>
                  <a:gd name="connsiteX7" fmla="*/ 34957 w 40671"/>
                  <a:gd name="connsiteY7" fmla="*/ 118491 h 139445"/>
                  <a:gd name="connsiteX8" fmla="*/ 39719 w 40671"/>
                  <a:gd name="connsiteY8" fmla="*/ 117919 h 139445"/>
                  <a:gd name="connsiteX9" fmla="*/ 40672 w 40671"/>
                  <a:gd name="connsiteY9" fmla="*/ 138113 h 139445"/>
                  <a:gd name="connsiteX10" fmla="*/ 26765 w 40671"/>
                  <a:gd name="connsiteY10" fmla="*/ 139446 h 139445"/>
                  <a:gd name="connsiteX11" fmla="*/ 6477 w 40671"/>
                  <a:gd name="connsiteY11" fmla="*/ 132493 h 1394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40671" h="139445">
                    <a:moveTo>
                      <a:pt x="6572" y="132397"/>
                    </a:moveTo>
                    <a:cubicBezTo>
                      <a:pt x="2191" y="127730"/>
                      <a:pt x="0" y="121539"/>
                      <a:pt x="0" y="113729"/>
                    </a:cubicBezTo>
                    <a:lnTo>
                      <a:pt x="0" y="0"/>
                    </a:lnTo>
                    <a:lnTo>
                      <a:pt x="26099" y="0"/>
                    </a:lnTo>
                    <a:lnTo>
                      <a:pt x="26099" y="107251"/>
                    </a:lnTo>
                    <a:cubicBezTo>
                      <a:pt x="26099" y="110204"/>
                      <a:pt x="26289" y="112395"/>
                      <a:pt x="26765" y="114014"/>
                    </a:cubicBezTo>
                    <a:cubicBezTo>
                      <a:pt x="27242" y="115633"/>
                      <a:pt x="28099" y="116776"/>
                      <a:pt x="29337" y="117443"/>
                    </a:cubicBezTo>
                    <a:cubicBezTo>
                      <a:pt x="30575" y="118205"/>
                      <a:pt x="32480" y="118491"/>
                      <a:pt x="34957" y="118491"/>
                    </a:cubicBezTo>
                    <a:cubicBezTo>
                      <a:pt x="36481" y="118491"/>
                      <a:pt x="38005" y="118300"/>
                      <a:pt x="39719" y="117919"/>
                    </a:cubicBezTo>
                    <a:lnTo>
                      <a:pt x="40672" y="138113"/>
                    </a:lnTo>
                    <a:cubicBezTo>
                      <a:pt x="36195" y="138970"/>
                      <a:pt x="31623" y="139446"/>
                      <a:pt x="26765" y="139446"/>
                    </a:cubicBezTo>
                    <a:cubicBezTo>
                      <a:pt x="17621" y="139446"/>
                      <a:pt x="10859" y="137160"/>
                      <a:pt x="6477" y="1324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31" name="Freeform: Shape 264">
                <a:extLst>
                  <a:ext uri="{FF2B5EF4-FFF2-40B4-BE49-F238E27FC236}">
                    <a16:creationId xmlns:a16="http://schemas.microsoft.com/office/drawing/2014/main" id="{80CD21BD-855F-62C9-8678-A1E2705B4630}"/>
                  </a:ext>
                </a:extLst>
              </p:cNvPr>
              <p:cNvSpPr/>
              <p:nvPr/>
            </p:nvSpPr>
            <p:spPr>
              <a:xfrm>
                <a:off x="5812726" y="4578667"/>
                <a:ext cx="101441" cy="104393"/>
              </a:xfrm>
              <a:custGeom>
                <a:avLst/>
                <a:gdLst>
                  <a:gd name="connsiteX0" fmla="*/ 23146 w 101441"/>
                  <a:gd name="connsiteY0" fmla="*/ 97346 h 104393"/>
                  <a:gd name="connsiteX1" fmla="*/ 5905 w 101441"/>
                  <a:gd name="connsiteY1" fmla="*/ 78581 h 104393"/>
                  <a:gd name="connsiteX2" fmla="*/ 0 w 101441"/>
                  <a:gd name="connsiteY2" fmla="*/ 51911 h 104393"/>
                  <a:gd name="connsiteX3" fmla="*/ 5715 w 101441"/>
                  <a:gd name="connsiteY3" fmla="*/ 25717 h 104393"/>
                  <a:gd name="connsiteX4" fmla="*/ 22860 w 101441"/>
                  <a:gd name="connsiteY4" fmla="*/ 6953 h 104393"/>
                  <a:gd name="connsiteX5" fmla="*/ 50863 w 101441"/>
                  <a:gd name="connsiteY5" fmla="*/ 0 h 104393"/>
                  <a:gd name="connsiteX6" fmla="*/ 79534 w 101441"/>
                  <a:gd name="connsiteY6" fmla="*/ 6953 h 104393"/>
                  <a:gd name="connsiteX7" fmla="*/ 96107 w 101441"/>
                  <a:gd name="connsiteY7" fmla="*/ 25527 h 104393"/>
                  <a:gd name="connsiteX8" fmla="*/ 101441 w 101441"/>
                  <a:gd name="connsiteY8" fmla="*/ 52006 h 104393"/>
                  <a:gd name="connsiteX9" fmla="*/ 95631 w 101441"/>
                  <a:gd name="connsiteY9" fmla="*/ 78676 h 104393"/>
                  <a:gd name="connsiteX10" fmla="*/ 78296 w 101441"/>
                  <a:gd name="connsiteY10" fmla="*/ 97441 h 104393"/>
                  <a:gd name="connsiteX11" fmla="*/ 50292 w 101441"/>
                  <a:gd name="connsiteY11" fmla="*/ 104394 h 104393"/>
                  <a:gd name="connsiteX12" fmla="*/ 23050 w 101441"/>
                  <a:gd name="connsiteY12" fmla="*/ 97536 h 104393"/>
                  <a:gd name="connsiteX13" fmla="*/ 67913 w 101441"/>
                  <a:gd name="connsiteY13" fmla="*/ 75342 h 104393"/>
                  <a:gd name="connsiteX14" fmla="*/ 74104 w 101441"/>
                  <a:gd name="connsiteY14" fmla="*/ 51911 h 104393"/>
                  <a:gd name="connsiteX15" fmla="*/ 68199 w 101441"/>
                  <a:gd name="connsiteY15" fmla="*/ 28765 h 104393"/>
                  <a:gd name="connsiteX16" fmla="*/ 51149 w 101441"/>
                  <a:gd name="connsiteY16" fmla="*/ 20669 h 104393"/>
                  <a:gd name="connsiteX17" fmla="*/ 33433 w 101441"/>
                  <a:gd name="connsiteY17" fmla="*/ 28765 h 104393"/>
                  <a:gd name="connsiteX18" fmla="*/ 27337 w 101441"/>
                  <a:gd name="connsiteY18" fmla="*/ 51911 h 104393"/>
                  <a:gd name="connsiteX19" fmla="*/ 30194 w 101441"/>
                  <a:gd name="connsiteY19" fmla="*/ 68961 h 104393"/>
                  <a:gd name="connsiteX20" fmla="*/ 38100 w 101441"/>
                  <a:gd name="connsiteY20" fmla="*/ 79819 h 104393"/>
                  <a:gd name="connsiteX21" fmla="*/ 50006 w 101441"/>
                  <a:gd name="connsiteY21" fmla="*/ 83534 h 104393"/>
                  <a:gd name="connsiteX22" fmla="*/ 67913 w 101441"/>
                  <a:gd name="connsiteY22" fmla="*/ 75342 h 1043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101441" h="104393">
                    <a:moveTo>
                      <a:pt x="23146" y="97346"/>
                    </a:moveTo>
                    <a:cubicBezTo>
                      <a:pt x="15526" y="92773"/>
                      <a:pt x="9811" y="86487"/>
                      <a:pt x="5905" y="78581"/>
                    </a:cubicBezTo>
                    <a:cubicBezTo>
                      <a:pt x="2000" y="70675"/>
                      <a:pt x="0" y="61722"/>
                      <a:pt x="0" y="51911"/>
                    </a:cubicBezTo>
                    <a:cubicBezTo>
                      <a:pt x="0" y="42100"/>
                      <a:pt x="1905" y="33528"/>
                      <a:pt x="5715" y="25717"/>
                    </a:cubicBezTo>
                    <a:cubicBezTo>
                      <a:pt x="9525" y="17812"/>
                      <a:pt x="15240" y="11621"/>
                      <a:pt x="22860" y="6953"/>
                    </a:cubicBezTo>
                    <a:cubicBezTo>
                      <a:pt x="30480" y="2286"/>
                      <a:pt x="39814" y="0"/>
                      <a:pt x="50863" y="0"/>
                    </a:cubicBezTo>
                    <a:cubicBezTo>
                      <a:pt x="62484" y="0"/>
                      <a:pt x="72009" y="2286"/>
                      <a:pt x="79534" y="6953"/>
                    </a:cubicBezTo>
                    <a:cubicBezTo>
                      <a:pt x="87058" y="11621"/>
                      <a:pt x="92583" y="17812"/>
                      <a:pt x="96107" y="25527"/>
                    </a:cubicBezTo>
                    <a:cubicBezTo>
                      <a:pt x="99631" y="33338"/>
                      <a:pt x="101441" y="42100"/>
                      <a:pt x="101441" y="52006"/>
                    </a:cubicBezTo>
                    <a:cubicBezTo>
                      <a:pt x="101441" y="61913"/>
                      <a:pt x="99536" y="70771"/>
                      <a:pt x="95631" y="78676"/>
                    </a:cubicBezTo>
                    <a:cubicBezTo>
                      <a:pt x="91726" y="86582"/>
                      <a:pt x="86011" y="92869"/>
                      <a:pt x="78296" y="97441"/>
                    </a:cubicBezTo>
                    <a:cubicBezTo>
                      <a:pt x="70580" y="102108"/>
                      <a:pt x="61246" y="104394"/>
                      <a:pt x="50292" y="104394"/>
                    </a:cubicBezTo>
                    <a:cubicBezTo>
                      <a:pt x="39338" y="104394"/>
                      <a:pt x="30671" y="102108"/>
                      <a:pt x="23050" y="97536"/>
                    </a:cubicBezTo>
                    <a:close/>
                    <a:moveTo>
                      <a:pt x="67913" y="75342"/>
                    </a:moveTo>
                    <a:cubicBezTo>
                      <a:pt x="72104" y="69913"/>
                      <a:pt x="74104" y="62103"/>
                      <a:pt x="74104" y="51911"/>
                    </a:cubicBezTo>
                    <a:cubicBezTo>
                      <a:pt x="74104" y="41719"/>
                      <a:pt x="72104" y="34099"/>
                      <a:pt x="68199" y="28765"/>
                    </a:cubicBezTo>
                    <a:cubicBezTo>
                      <a:pt x="64294" y="23431"/>
                      <a:pt x="58579" y="20669"/>
                      <a:pt x="51149" y="20669"/>
                    </a:cubicBezTo>
                    <a:cubicBezTo>
                      <a:pt x="43720" y="20669"/>
                      <a:pt x="37529" y="23431"/>
                      <a:pt x="33433" y="28765"/>
                    </a:cubicBezTo>
                    <a:cubicBezTo>
                      <a:pt x="29337" y="34195"/>
                      <a:pt x="27337" y="41910"/>
                      <a:pt x="27337" y="51911"/>
                    </a:cubicBezTo>
                    <a:cubicBezTo>
                      <a:pt x="27337" y="58579"/>
                      <a:pt x="28289" y="64198"/>
                      <a:pt x="30194" y="68961"/>
                    </a:cubicBezTo>
                    <a:cubicBezTo>
                      <a:pt x="32099" y="73723"/>
                      <a:pt x="34766" y="77343"/>
                      <a:pt x="38100" y="79819"/>
                    </a:cubicBezTo>
                    <a:cubicBezTo>
                      <a:pt x="41434" y="82296"/>
                      <a:pt x="45434" y="83534"/>
                      <a:pt x="50006" y="83534"/>
                    </a:cubicBezTo>
                    <a:cubicBezTo>
                      <a:pt x="57721" y="83534"/>
                      <a:pt x="63722" y="80772"/>
                      <a:pt x="67913" y="75342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32" name="Freeform: Shape 265">
                <a:extLst>
                  <a:ext uri="{FF2B5EF4-FFF2-40B4-BE49-F238E27FC236}">
                    <a16:creationId xmlns:a16="http://schemas.microsoft.com/office/drawing/2014/main" id="{F8B3128C-69AC-5235-0DA3-2686F555B09E}"/>
                  </a:ext>
                </a:extLst>
              </p:cNvPr>
              <p:cNvSpPr/>
              <p:nvPr/>
            </p:nvSpPr>
            <p:spPr>
              <a:xfrm>
                <a:off x="5933503" y="4580477"/>
                <a:ext cx="91820" cy="102393"/>
              </a:xfrm>
              <a:custGeom>
                <a:avLst/>
                <a:gdLst>
                  <a:gd name="connsiteX0" fmla="*/ 7906 w 91820"/>
                  <a:gd name="connsiteY0" fmla="*/ 91916 h 102393"/>
                  <a:gd name="connsiteX1" fmla="*/ 0 w 91820"/>
                  <a:gd name="connsiteY1" fmla="*/ 63817 h 102393"/>
                  <a:gd name="connsiteX2" fmla="*/ 0 w 91820"/>
                  <a:gd name="connsiteY2" fmla="*/ 0 h 102393"/>
                  <a:gd name="connsiteX3" fmla="*/ 26098 w 91820"/>
                  <a:gd name="connsiteY3" fmla="*/ 0 h 102393"/>
                  <a:gd name="connsiteX4" fmla="*/ 26098 w 91820"/>
                  <a:gd name="connsiteY4" fmla="*/ 56388 h 102393"/>
                  <a:gd name="connsiteX5" fmla="*/ 29908 w 91820"/>
                  <a:gd name="connsiteY5" fmla="*/ 73819 h 102393"/>
                  <a:gd name="connsiteX6" fmla="*/ 43053 w 91820"/>
                  <a:gd name="connsiteY6" fmla="*/ 80010 h 102393"/>
                  <a:gd name="connsiteX7" fmla="*/ 54293 w 91820"/>
                  <a:gd name="connsiteY7" fmla="*/ 76676 h 102393"/>
                  <a:gd name="connsiteX8" fmla="*/ 62198 w 91820"/>
                  <a:gd name="connsiteY8" fmla="*/ 67437 h 102393"/>
                  <a:gd name="connsiteX9" fmla="*/ 65056 w 91820"/>
                  <a:gd name="connsiteY9" fmla="*/ 53816 h 102393"/>
                  <a:gd name="connsiteX10" fmla="*/ 65056 w 91820"/>
                  <a:gd name="connsiteY10" fmla="*/ 0 h 102393"/>
                  <a:gd name="connsiteX11" fmla="*/ 91154 w 91820"/>
                  <a:gd name="connsiteY11" fmla="*/ 0 h 102393"/>
                  <a:gd name="connsiteX12" fmla="*/ 91154 w 91820"/>
                  <a:gd name="connsiteY12" fmla="*/ 78009 h 102393"/>
                  <a:gd name="connsiteX13" fmla="*/ 91345 w 91820"/>
                  <a:gd name="connsiteY13" fmla="*/ 91154 h 102393"/>
                  <a:gd name="connsiteX14" fmla="*/ 91821 w 91820"/>
                  <a:gd name="connsiteY14" fmla="*/ 100489 h 102393"/>
                  <a:gd name="connsiteX15" fmla="*/ 66865 w 91820"/>
                  <a:gd name="connsiteY15" fmla="*/ 100489 h 102393"/>
                  <a:gd name="connsiteX16" fmla="*/ 66199 w 91820"/>
                  <a:gd name="connsiteY16" fmla="*/ 92107 h 102393"/>
                  <a:gd name="connsiteX17" fmla="*/ 65818 w 91820"/>
                  <a:gd name="connsiteY17" fmla="*/ 82391 h 102393"/>
                  <a:gd name="connsiteX18" fmla="*/ 65341 w 91820"/>
                  <a:gd name="connsiteY18" fmla="*/ 82391 h 102393"/>
                  <a:gd name="connsiteX19" fmla="*/ 52197 w 91820"/>
                  <a:gd name="connsiteY19" fmla="*/ 97536 h 102393"/>
                  <a:gd name="connsiteX20" fmla="*/ 32956 w 91820"/>
                  <a:gd name="connsiteY20" fmla="*/ 102394 h 102393"/>
                  <a:gd name="connsiteX21" fmla="*/ 7811 w 91820"/>
                  <a:gd name="connsiteY21" fmla="*/ 91916 h 1023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91820" h="102393">
                    <a:moveTo>
                      <a:pt x="7906" y="91916"/>
                    </a:moveTo>
                    <a:cubicBezTo>
                      <a:pt x="2572" y="84963"/>
                      <a:pt x="0" y="75533"/>
                      <a:pt x="0" y="63817"/>
                    </a:cubicBezTo>
                    <a:lnTo>
                      <a:pt x="0" y="0"/>
                    </a:lnTo>
                    <a:lnTo>
                      <a:pt x="26098" y="0"/>
                    </a:lnTo>
                    <a:lnTo>
                      <a:pt x="26098" y="56388"/>
                    </a:lnTo>
                    <a:cubicBezTo>
                      <a:pt x="26098" y="63913"/>
                      <a:pt x="27337" y="69723"/>
                      <a:pt x="29908" y="73819"/>
                    </a:cubicBezTo>
                    <a:cubicBezTo>
                      <a:pt x="32480" y="77914"/>
                      <a:pt x="36862" y="80010"/>
                      <a:pt x="43053" y="80010"/>
                    </a:cubicBezTo>
                    <a:cubicBezTo>
                      <a:pt x="47244" y="80010"/>
                      <a:pt x="50959" y="78867"/>
                      <a:pt x="54293" y="76676"/>
                    </a:cubicBezTo>
                    <a:cubicBezTo>
                      <a:pt x="57626" y="74485"/>
                      <a:pt x="60293" y="71438"/>
                      <a:pt x="62198" y="67437"/>
                    </a:cubicBezTo>
                    <a:cubicBezTo>
                      <a:pt x="64103" y="63436"/>
                      <a:pt x="65056" y="58959"/>
                      <a:pt x="65056" y="53816"/>
                    </a:cubicBezTo>
                    <a:lnTo>
                      <a:pt x="65056" y="0"/>
                    </a:lnTo>
                    <a:lnTo>
                      <a:pt x="91154" y="0"/>
                    </a:lnTo>
                    <a:lnTo>
                      <a:pt x="91154" y="78009"/>
                    </a:lnTo>
                    <a:cubicBezTo>
                      <a:pt x="91154" y="82201"/>
                      <a:pt x="91154" y="86582"/>
                      <a:pt x="91345" y="91154"/>
                    </a:cubicBezTo>
                    <a:cubicBezTo>
                      <a:pt x="91535" y="95726"/>
                      <a:pt x="91630" y="98869"/>
                      <a:pt x="91821" y="100489"/>
                    </a:cubicBezTo>
                    <a:lnTo>
                      <a:pt x="66865" y="100489"/>
                    </a:lnTo>
                    <a:cubicBezTo>
                      <a:pt x="66675" y="98965"/>
                      <a:pt x="66485" y="96202"/>
                      <a:pt x="66199" y="92107"/>
                    </a:cubicBezTo>
                    <a:cubicBezTo>
                      <a:pt x="65913" y="88011"/>
                      <a:pt x="65818" y="84772"/>
                      <a:pt x="65818" y="82391"/>
                    </a:cubicBezTo>
                    <a:lnTo>
                      <a:pt x="65341" y="82391"/>
                    </a:lnTo>
                    <a:cubicBezTo>
                      <a:pt x="61913" y="89249"/>
                      <a:pt x="57531" y="94297"/>
                      <a:pt x="52197" y="97536"/>
                    </a:cubicBezTo>
                    <a:cubicBezTo>
                      <a:pt x="46863" y="100774"/>
                      <a:pt x="40386" y="102394"/>
                      <a:pt x="32956" y="102394"/>
                    </a:cubicBezTo>
                    <a:cubicBezTo>
                      <a:pt x="21527" y="102394"/>
                      <a:pt x="13145" y="98869"/>
                      <a:pt x="7811" y="91916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33" name="Freeform: Shape 266">
                <a:extLst>
                  <a:ext uri="{FF2B5EF4-FFF2-40B4-BE49-F238E27FC236}">
                    <a16:creationId xmlns:a16="http://schemas.microsoft.com/office/drawing/2014/main" id="{780EE34B-B6A8-C4B8-99FB-A3C53F92A570}"/>
                  </a:ext>
                </a:extLst>
              </p:cNvPr>
              <p:cNvSpPr/>
              <p:nvPr/>
            </p:nvSpPr>
            <p:spPr>
              <a:xfrm>
                <a:off x="6045803" y="4542853"/>
                <a:ext cx="96964" cy="140017"/>
              </a:xfrm>
              <a:custGeom>
                <a:avLst/>
                <a:gdLst>
                  <a:gd name="connsiteX0" fmla="*/ 18002 w 96964"/>
                  <a:gd name="connsiteY0" fmla="*/ 133350 h 140017"/>
                  <a:gd name="connsiteX1" fmla="*/ 4477 w 96964"/>
                  <a:gd name="connsiteY1" fmla="*/ 114871 h 140017"/>
                  <a:gd name="connsiteX2" fmla="*/ 0 w 96964"/>
                  <a:gd name="connsiteY2" fmla="*/ 87821 h 140017"/>
                  <a:gd name="connsiteX3" fmla="*/ 4763 w 96964"/>
                  <a:gd name="connsiteY3" fmla="*/ 60674 h 140017"/>
                  <a:gd name="connsiteX4" fmla="*/ 18859 w 96964"/>
                  <a:gd name="connsiteY4" fmla="*/ 42291 h 140017"/>
                  <a:gd name="connsiteX5" fmla="*/ 41624 w 96964"/>
                  <a:gd name="connsiteY5" fmla="*/ 35623 h 140017"/>
                  <a:gd name="connsiteX6" fmla="*/ 58293 w 96964"/>
                  <a:gd name="connsiteY6" fmla="*/ 39529 h 140017"/>
                  <a:gd name="connsiteX7" fmla="*/ 70104 w 96964"/>
                  <a:gd name="connsiteY7" fmla="*/ 51435 h 140017"/>
                  <a:gd name="connsiteX8" fmla="*/ 70294 w 96964"/>
                  <a:gd name="connsiteY8" fmla="*/ 51435 h 140017"/>
                  <a:gd name="connsiteX9" fmla="*/ 70294 w 96964"/>
                  <a:gd name="connsiteY9" fmla="*/ 47054 h 140017"/>
                  <a:gd name="connsiteX10" fmla="*/ 70294 w 96964"/>
                  <a:gd name="connsiteY10" fmla="*/ 36766 h 140017"/>
                  <a:gd name="connsiteX11" fmla="*/ 70294 w 96964"/>
                  <a:gd name="connsiteY11" fmla="*/ 0 h 140017"/>
                  <a:gd name="connsiteX12" fmla="*/ 96298 w 96964"/>
                  <a:gd name="connsiteY12" fmla="*/ 0 h 140017"/>
                  <a:gd name="connsiteX13" fmla="*/ 96298 w 96964"/>
                  <a:gd name="connsiteY13" fmla="*/ 116205 h 140017"/>
                  <a:gd name="connsiteX14" fmla="*/ 96488 w 96964"/>
                  <a:gd name="connsiteY14" fmla="*/ 128206 h 140017"/>
                  <a:gd name="connsiteX15" fmla="*/ 96774 w 96964"/>
                  <a:gd name="connsiteY15" fmla="*/ 135064 h 140017"/>
                  <a:gd name="connsiteX16" fmla="*/ 96964 w 96964"/>
                  <a:gd name="connsiteY16" fmla="*/ 138113 h 140017"/>
                  <a:gd name="connsiteX17" fmla="*/ 71628 w 96964"/>
                  <a:gd name="connsiteY17" fmla="*/ 138113 h 140017"/>
                  <a:gd name="connsiteX18" fmla="*/ 70771 w 96964"/>
                  <a:gd name="connsiteY18" fmla="*/ 131921 h 140017"/>
                  <a:gd name="connsiteX19" fmla="*/ 70390 w 96964"/>
                  <a:gd name="connsiteY19" fmla="*/ 123635 h 140017"/>
                  <a:gd name="connsiteX20" fmla="*/ 70009 w 96964"/>
                  <a:gd name="connsiteY20" fmla="*/ 123635 h 140017"/>
                  <a:gd name="connsiteX21" fmla="*/ 57912 w 96964"/>
                  <a:gd name="connsiteY21" fmla="*/ 136017 h 140017"/>
                  <a:gd name="connsiteX22" fmla="*/ 39910 w 96964"/>
                  <a:gd name="connsiteY22" fmla="*/ 140018 h 140017"/>
                  <a:gd name="connsiteX23" fmla="*/ 18097 w 96964"/>
                  <a:gd name="connsiteY23" fmla="*/ 133350 h 140017"/>
                  <a:gd name="connsiteX24" fmla="*/ 58864 w 96964"/>
                  <a:gd name="connsiteY24" fmla="*/ 116205 h 140017"/>
                  <a:gd name="connsiteX25" fmla="*/ 67246 w 96964"/>
                  <a:gd name="connsiteY25" fmla="*/ 106013 h 140017"/>
                  <a:gd name="connsiteX26" fmla="*/ 70485 w 96964"/>
                  <a:gd name="connsiteY26" fmla="*/ 87344 h 140017"/>
                  <a:gd name="connsiteX27" fmla="*/ 64008 w 96964"/>
                  <a:gd name="connsiteY27" fmla="*/ 63437 h 140017"/>
                  <a:gd name="connsiteX28" fmla="*/ 48101 w 96964"/>
                  <a:gd name="connsiteY28" fmla="*/ 56293 h 140017"/>
                  <a:gd name="connsiteX29" fmla="*/ 32861 w 96964"/>
                  <a:gd name="connsiteY29" fmla="*/ 64103 h 140017"/>
                  <a:gd name="connsiteX30" fmla="*/ 27146 w 96964"/>
                  <a:gd name="connsiteY30" fmla="*/ 87916 h 140017"/>
                  <a:gd name="connsiteX31" fmla="*/ 32766 w 96964"/>
                  <a:gd name="connsiteY31" fmla="*/ 111252 h 140017"/>
                  <a:gd name="connsiteX32" fmla="*/ 47911 w 96964"/>
                  <a:gd name="connsiteY32" fmla="*/ 119348 h 140017"/>
                  <a:gd name="connsiteX33" fmla="*/ 58769 w 96964"/>
                  <a:gd name="connsiteY33" fmla="*/ 116300 h 140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96964" h="140017">
                    <a:moveTo>
                      <a:pt x="18002" y="133350"/>
                    </a:moveTo>
                    <a:cubicBezTo>
                      <a:pt x="12001" y="128969"/>
                      <a:pt x="7525" y="122777"/>
                      <a:pt x="4477" y="114871"/>
                    </a:cubicBezTo>
                    <a:cubicBezTo>
                      <a:pt x="1429" y="106966"/>
                      <a:pt x="0" y="98012"/>
                      <a:pt x="0" y="87821"/>
                    </a:cubicBezTo>
                    <a:cubicBezTo>
                      <a:pt x="0" y="77629"/>
                      <a:pt x="1619" y="68580"/>
                      <a:pt x="4763" y="60674"/>
                    </a:cubicBezTo>
                    <a:cubicBezTo>
                      <a:pt x="7906" y="52864"/>
                      <a:pt x="12668" y="46672"/>
                      <a:pt x="18859" y="42291"/>
                    </a:cubicBezTo>
                    <a:cubicBezTo>
                      <a:pt x="25146" y="37910"/>
                      <a:pt x="32766" y="35623"/>
                      <a:pt x="41624" y="35623"/>
                    </a:cubicBezTo>
                    <a:cubicBezTo>
                      <a:pt x="47530" y="35623"/>
                      <a:pt x="53149" y="36957"/>
                      <a:pt x="58293" y="39529"/>
                    </a:cubicBezTo>
                    <a:cubicBezTo>
                      <a:pt x="63437" y="42100"/>
                      <a:pt x="67342" y="46101"/>
                      <a:pt x="70104" y="51435"/>
                    </a:cubicBezTo>
                    <a:lnTo>
                      <a:pt x="70294" y="51435"/>
                    </a:lnTo>
                    <a:cubicBezTo>
                      <a:pt x="70294" y="49816"/>
                      <a:pt x="70294" y="48387"/>
                      <a:pt x="70294" y="47054"/>
                    </a:cubicBezTo>
                    <a:lnTo>
                      <a:pt x="70294" y="36766"/>
                    </a:lnTo>
                    <a:cubicBezTo>
                      <a:pt x="70294" y="36766"/>
                      <a:pt x="70294" y="0"/>
                      <a:pt x="70294" y="0"/>
                    </a:cubicBezTo>
                    <a:lnTo>
                      <a:pt x="96298" y="0"/>
                    </a:lnTo>
                    <a:lnTo>
                      <a:pt x="96298" y="116205"/>
                    </a:lnTo>
                    <a:cubicBezTo>
                      <a:pt x="96298" y="120491"/>
                      <a:pt x="96298" y="124492"/>
                      <a:pt x="96488" y="128206"/>
                    </a:cubicBezTo>
                    <a:cubicBezTo>
                      <a:pt x="96679" y="131921"/>
                      <a:pt x="96774" y="134207"/>
                      <a:pt x="96774" y="135064"/>
                    </a:cubicBezTo>
                    <a:cubicBezTo>
                      <a:pt x="96869" y="136684"/>
                      <a:pt x="96964" y="137731"/>
                      <a:pt x="96964" y="138113"/>
                    </a:cubicBezTo>
                    <a:lnTo>
                      <a:pt x="71628" y="138113"/>
                    </a:lnTo>
                    <a:cubicBezTo>
                      <a:pt x="71342" y="137255"/>
                      <a:pt x="71056" y="135160"/>
                      <a:pt x="70771" y="131921"/>
                    </a:cubicBezTo>
                    <a:cubicBezTo>
                      <a:pt x="70485" y="128683"/>
                      <a:pt x="70390" y="125921"/>
                      <a:pt x="70390" y="123635"/>
                    </a:cubicBezTo>
                    <a:lnTo>
                      <a:pt x="70009" y="123635"/>
                    </a:lnTo>
                    <a:cubicBezTo>
                      <a:pt x="67151" y="129254"/>
                      <a:pt x="63151" y="133350"/>
                      <a:pt x="57912" y="136017"/>
                    </a:cubicBezTo>
                    <a:cubicBezTo>
                      <a:pt x="52673" y="138684"/>
                      <a:pt x="46672" y="140018"/>
                      <a:pt x="39910" y="140018"/>
                    </a:cubicBezTo>
                    <a:cubicBezTo>
                      <a:pt x="31337" y="140018"/>
                      <a:pt x="24098" y="137827"/>
                      <a:pt x="18097" y="133350"/>
                    </a:cubicBezTo>
                    <a:close/>
                    <a:moveTo>
                      <a:pt x="58864" y="116205"/>
                    </a:moveTo>
                    <a:cubicBezTo>
                      <a:pt x="62293" y="114205"/>
                      <a:pt x="65056" y="110776"/>
                      <a:pt x="67246" y="106013"/>
                    </a:cubicBezTo>
                    <a:cubicBezTo>
                      <a:pt x="69437" y="101251"/>
                      <a:pt x="70485" y="94964"/>
                      <a:pt x="70485" y="87344"/>
                    </a:cubicBezTo>
                    <a:cubicBezTo>
                      <a:pt x="70485" y="76200"/>
                      <a:pt x="68294" y="68199"/>
                      <a:pt x="64008" y="63437"/>
                    </a:cubicBezTo>
                    <a:cubicBezTo>
                      <a:pt x="59722" y="58674"/>
                      <a:pt x="54388" y="56293"/>
                      <a:pt x="48101" y="56293"/>
                    </a:cubicBezTo>
                    <a:cubicBezTo>
                      <a:pt x="41815" y="56293"/>
                      <a:pt x="36671" y="58864"/>
                      <a:pt x="32861" y="64103"/>
                    </a:cubicBezTo>
                    <a:cubicBezTo>
                      <a:pt x="29051" y="69342"/>
                      <a:pt x="27146" y="77248"/>
                      <a:pt x="27146" y="87916"/>
                    </a:cubicBezTo>
                    <a:cubicBezTo>
                      <a:pt x="27146" y="98584"/>
                      <a:pt x="29051" y="105823"/>
                      <a:pt x="32766" y="111252"/>
                    </a:cubicBezTo>
                    <a:cubicBezTo>
                      <a:pt x="36481" y="116681"/>
                      <a:pt x="41529" y="119348"/>
                      <a:pt x="47911" y="119348"/>
                    </a:cubicBezTo>
                    <a:cubicBezTo>
                      <a:pt x="51721" y="119348"/>
                      <a:pt x="55340" y="118300"/>
                      <a:pt x="58769" y="11630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34" name="Freeform: Shape 267">
                <a:extLst>
                  <a:ext uri="{FF2B5EF4-FFF2-40B4-BE49-F238E27FC236}">
                    <a16:creationId xmlns:a16="http://schemas.microsoft.com/office/drawing/2014/main" id="{2D3C746F-B960-4FB5-78ED-AD5687168A93}"/>
                  </a:ext>
                </a:extLst>
              </p:cNvPr>
              <p:cNvSpPr/>
              <p:nvPr/>
            </p:nvSpPr>
            <p:spPr>
              <a:xfrm>
                <a:off x="6221063" y="4549806"/>
                <a:ext cx="98107" cy="131063"/>
              </a:xfrm>
              <a:custGeom>
                <a:avLst/>
                <a:gdLst>
                  <a:gd name="connsiteX0" fmla="*/ 0 w 98107"/>
                  <a:gd name="connsiteY0" fmla="*/ 95 h 131063"/>
                  <a:gd name="connsiteX1" fmla="*/ 94297 w 98107"/>
                  <a:gd name="connsiteY1" fmla="*/ 95 h 131063"/>
                  <a:gd name="connsiteX2" fmla="*/ 94297 w 98107"/>
                  <a:gd name="connsiteY2" fmla="*/ 23146 h 131063"/>
                  <a:gd name="connsiteX3" fmla="*/ 27432 w 98107"/>
                  <a:gd name="connsiteY3" fmla="*/ 23146 h 131063"/>
                  <a:gd name="connsiteX4" fmla="*/ 27432 w 98107"/>
                  <a:gd name="connsiteY4" fmla="*/ 53530 h 131063"/>
                  <a:gd name="connsiteX5" fmla="*/ 88678 w 98107"/>
                  <a:gd name="connsiteY5" fmla="*/ 53530 h 131063"/>
                  <a:gd name="connsiteX6" fmla="*/ 88678 w 98107"/>
                  <a:gd name="connsiteY6" fmla="*/ 76771 h 131063"/>
                  <a:gd name="connsiteX7" fmla="*/ 27432 w 98107"/>
                  <a:gd name="connsiteY7" fmla="*/ 76771 h 131063"/>
                  <a:gd name="connsiteX8" fmla="*/ 27432 w 98107"/>
                  <a:gd name="connsiteY8" fmla="*/ 108013 h 131063"/>
                  <a:gd name="connsiteX9" fmla="*/ 98107 w 98107"/>
                  <a:gd name="connsiteY9" fmla="*/ 108013 h 131063"/>
                  <a:gd name="connsiteX10" fmla="*/ 98107 w 98107"/>
                  <a:gd name="connsiteY10" fmla="*/ 131064 h 131063"/>
                  <a:gd name="connsiteX11" fmla="*/ 0 w 98107"/>
                  <a:gd name="connsiteY11" fmla="*/ 131064 h 131063"/>
                  <a:gd name="connsiteX12" fmla="*/ 0 w 98107"/>
                  <a:gd name="connsiteY12" fmla="*/ 0 h 1310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98107" h="131063">
                    <a:moveTo>
                      <a:pt x="0" y="95"/>
                    </a:moveTo>
                    <a:lnTo>
                      <a:pt x="94297" y="95"/>
                    </a:lnTo>
                    <a:lnTo>
                      <a:pt x="94297" y="23146"/>
                    </a:lnTo>
                    <a:lnTo>
                      <a:pt x="27432" y="23146"/>
                    </a:lnTo>
                    <a:lnTo>
                      <a:pt x="27432" y="53530"/>
                    </a:lnTo>
                    <a:lnTo>
                      <a:pt x="88678" y="53530"/>
                    </a:lnTo>
                    <a:lnTo>
                      <a:pt x="88678" y="76771"/>
                    </a:lnTo>
                    <a:lnTo>
                      <a:pt x="27432" y="76771"/>
                    </a:lnTo>
                    <a:lnTo>
                      <a:pt x="27432" y="108013"/>
                    </a:lnTo>
                    <a:lnTo>
                      <a:pt x="98107" y="108013"/>
                    </a:lnTo>
                    <a:lnTo>
                      <a:pt x="98107" y="131064"/>
                    </a:lnTo>
                    <a:lnTo>
                      <a:pt x="0" y="13106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35" name="Freeform: Shape 268">
                <a:extLst>
                  <a:ext uri="{FF2B5EF4-FFF2-40B4-BE49-F238E27FC236}">
                    <a16:creationId xmlns:a16="http://schemas.microsoft.com/office/drawing/2014/main" id="{6787F918-DF4A-1E5B-4BE6-C3868EF0B345}"/>
                  </a:ext>
                </a:extLst>
              </p:cNvPr>
              <p:cNvSpPr/>
              <p:nvPr/>
            </p:nvSpPr>
            <p:spPr>
              <a:xfrm>
                <a:off x="6339268" y="4549901"/>
                <a:ext cx="114109" cy="131254"/>
              </a:xfrm>
              <a:custGeom>
                <a:avLst/>
                <a:gdLst>
                  <a:gd name="connsiteX0" fmla="*/ 95 w 114109"/>
                  <a:gd name="connsiteY0" fmla="*/ 0 h 131254"/>
                  <a:gd name="connsiteX1" fmla="*/ 58769 w 114109"/>
                  <a:gd name="connsiteY1" fmla="*/ 0 h 131254"/>
                  <a:gd name="connsiteX2" fmla="*/ 85725 w 114109"/>
                  <a:gd name="connsiteY2" fmla="*/ 4858 h 131254"/>
                  <a:gd name="connsiteX3" fmla="*/ 102013 w 114109"/>
                  <a:gd name="connsiteY3" fmla="*/ 18669 h 131254"/>
                  <a:gd name="connsiteX4" fmla="*/ 107442 w 114109"/>
                  <a:gd name="connsiteY4" fmla="*/ 40100 h 131254"/>
                  <a:gd name="connsiteX5" fmla="*/ 103727 w 114109"/>
                  <a:gd name="connsiteY5" fmla="*/ 57817 h 131254"/>
                  <a:gd name="connsiteX6" fmla="*/ 93535 w 114109"/>
                  <a:gd name="connsiteY6" fmla="*/ 70771 h 131254"/>
                  <a:gd name="connsiteX7" fmla="*/ 78676 w 114109"/>
                  <a:gd name="connsiteY7" fmla="*/ 78105 h 131254"/>
                  <a:gd name="connsiteX8" fmla="*/ 114110 w 114109"/>
                  <a:gd name="connsiteY8" fmla="*/ 131254 h 131254"/>
                  <a:gd name="connsiteX9" fmla="*/ 83249 w 114109"/>
                  <a:gd name="connsiteY9" fmla="*/ 131254 h 131254"/>
                  <a:gd name="connsiteX10" fmla="*/ 52864 w 114109"/>
                  <a:gd name="connsiteY10" fmla="*/ 83439 h 131254"/>
                  <a:gd name="connsiteX11" fmla="*/ 27432 w 114109"/>
                  <a:gd name="connsiteY11" fmla="*/ 83439 h 131254"/>
                  <a:gd name="connsiteX12" fmla="*/ 27432 w 114109"/>
                  <a:gd name="connsiteY12" fmla="*/ 131254 h 131254"/>
                  <a:gd name="connsiteX13" fmla="*/ 0 w 114109"/>
                  <a:gd name="connsiteY13" fmla="*/ 131254 h 131254"/>
                  <a:gd name="connsiteX14" fmla="*/ 0 w 114109"/>
                  <a:gd name="connsiteY14" fmla="*/ 191 h 131254"/>
                  <a:gd name="connsiteX15" fmla="*/ 56483 w 114109"/>
                  <a:gd name="connsiteY15" fmla="*/ 60008 h 131254"/>
                  <a:gd name="connsiteX16" fmla="*/ 74200 w 114109"/>
                  <a:gd name="connsiteY16" fmla="*/ 54959 h 131254"/>
                  <a:gd name="connsiteX17" fmla="*/ 80010 w 114109"/>
                  <a:gd name="connsiteY17" fmla="*/ 41148 h 131254"/>
                  <a:gd name="connsiteX18" fmla="*/ 73914 w 114109"/>
                  <a:gd name="connsiteY18" fmla="*/ 27718 h 131254"/>
                  <a:gd name="connsiteX19" fmla="*/ 56007 w 114109"/>
                  <a:gd name="connsiteY19" fmla="*/ 23336 h 131254"/>
                  <a:gd name="connsiteX20" fmla="*/ 27622 w 114109"/>
                  <a:gd name="connsiteY20" fmla="*/ 23336 h 131254"/>
                  <a:gd name="connsiteX21" fmla="*/ 27622 w 114109"/>
                  <a:gd name="connsiteY21" fmla="*/ 60103 h 131254"/>
                  <a:gd name="connsiteX22" fmla="*/ 56579 w 114109"/>
                  <a:gd name="connsiteY22" fmla="*/ 60103 h 1312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114109" h="131254">
                    <a:moveTo>
                      <a:pt x="95" y="0"/>
                    </a:moveTo>
                    <a:lnTo>
                      <a:pt x="58769" y="0"/>
                    </a:lnTo>
                    <a:cubicBezTo>
                      <a:pt x="69533" y="0"/>
                      <a:pt x="78486" y="1619"/>
                      <a:pt x="85725" y="4858"/>
                    </a:cubicBezTo>
                    <a:cubicBezTo>
                      <a:pt x="92964" y="8096"/>
                      <a:pt x="98393" y="12668"/>
                      <a:pt x="102013" y="18669"/>
                    </a:cubicBezTo>
                    <a:cubicBezTo>
                      <a:pt x="105632" y="24670"/>
                      <a:pt x="107442" y="31718"/>
                      <a:pt x="107442" y="40100"/>
                    </a:cubicBezTo>
                    <a:cubicBezTo>
                      <a:pt x="107442" y="46672"/>
                      <a:pt x="106204" y="52578"/>
                      <a:pt x="103727" y="57817"/>
                    </a:cubicBezTo>
                    <a:cubicBezTo>
                      <a:pt x="101251" y="63055"/>
                      <a:pt x="97917" y="67342"/>
                      <a:pt x="93535" y="70771"/>
                    </a:cubicBezTo>
                    <a:cubicBezTo>
                      <a:pt x="89154" y="74200"/>
                      <a:pt x="84201" y="76676"/>
                      <a:pt x="78676" y="78105"/>
                    </a:cubicBezTo>
                    <a:lnTo>
                      <a:pt x="114110" y="131254"/>
                    </a:lnTo>
                    <a:lnTo>
                      <a:pt x="83249" y="131254"/>
                    </a:lnTo>
                    <a:lnTo>
                      <a:pt x="52864" y="83439"/>
                    </a:lnTo>
                    <a:lnTo>
                      <a:pt x="27432" y="83439"/>
                    </a:lnTo>
                    <a:lnTo>
                      <a:pt x="27432" y="131254"/>
                    </a:lnTo>
                    <a:lnTo>
                      <a:pt x="0" y="131254"/>
                    </a:lnTo>
                    <a:lnTo>
                      <a:pt x="0" y="191"/>
                    </a:lnTo>
                    <a:close/>
                    <a:moveTo>
                      <a:pt x="56483" y="60008"/>
                    </a:moveTo>
                    <a:cubicBezTo>
                      <a:pt x="64389" y="60008"/>
                      <a:pt x="70294" y="58293"/>
                      <a:pt x="74200" y="54959"/>
                    </a:cubicBezTo>
                    <a:cubicBezTo>
                      <a:pt x="78009" y="51626"/>
                      <a:pt x="80010" y="46958"/>
                      <a:pt x="80010" y="41148"/>
                    </a:cubicBezTo>
                    <a:cubicBezTo>
                      <a:pt x="80010" y="35338"/>
                      <a:pt x="78009" y="30671"/>
                      <a:pt x="73914" y="27718"/>
                    </a:cubicBezTo>
                    <a:cubicBezTo>
                      <a:pt x="69818" y="24765"/>
                      <a:pt x="63913" y="23336"/>
                      <a:pt x="56007" y="23336"/>
                    </a:cubicBezTo>
                    <a:lnTo>
                      <a:pt x="27622" y="23336"/>
                    </a:lnTo>
                    <a:lnTo>
                      <a:pt x="27622" y="60103"/>
                    </a:lnTo>
                    <a:lnTo>
                      <a:pt x="56579" y="60103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36" name="Freeform: Shape 269">
                <a:extLst>
                  <a:ext uri="{FF2B5EF4-FFF2-40B4-BE49-F238E27FC236}">
                    <a16:creationId xmlns:a16="http://schemas.microsoft.com/office/drawing/2014/main" id="{4BDA1021-B3A9-1733-EBBA-8D809710DCCE}"/>
                  </a:ext>
                </a:extLst>
              </p:cNvPr>
              <p:cNvSpPr/>
              <p:nvPr/>
            </p:nvSpPr>
            <p:spPr>
              <a:xfrm>
                <a:off x="6470046" y="4549806"/>
                <a:ext cx="107823" cy="131063"/>
              </a:xfrm>
              <a:custGeom>
                <a:avLst/>
                <a:gdLst>
                  <a:gd name="connsiteX0" fmla="*/ 0 w 107823"/>
                  <a:gd name="connsiteY0" fmla="*/ 95 h 131063"/>
                  <a:gd name="connsiteX1" fmla="*/ 58864 w 107823"/>
                  <a:gd name="connsiteY1" fmla="*/ 95 h 131063"/>
                  <a:gd name="connsiteX2" fmla="*/ 86201 w 107823"/>
                  <a:gd name="connsiteY2" fmla="*/ 5429 h 131063"/>
                  <a:gd name="connsiteX3" fmla="*/ 102489 w 107823"/>
                  <a:gd name="connsiteY3" fmla="*/ 20288 h 131063"/>
                  <a:gd name="connsiteX4" fmla="*/ 107823 w 107823"/>
                  <a:gd name="connsiteY4" fmla="*/ 42767 h 131063"/>
                  <a:gd name="connsiteX5" fmla="*/ 102584 w 107823"/>
                  <a:gd name="connsiteY5" fmla="*/ 64770 h 131063"/>
                  <a:gd name="connsiteX6" fmla="*/ 86582 w 107823"/>
                  <a:gd name="connsiteY6" fmla="*/ 80867 h 131063"/>
                  <a:gd name="connsiteX7" fmla="*/ 60007 w 107823"/>
                  <a:gd name="connsiteY7" fmla="*/ 86868 h 131063"/>
                  <a:gd name="connsiteX8" fmla="*/ 27432 w 107823"/>
                  <a:gd name="connsiteY8" fmla="*/ 86868 h 131063"/>
                  <a:gd name="connsiteX9" fmla="*/ 27432 w 107823"/>
                  <a:gd name="connsiteY9" fmla="*/ 131064 h 131063"/>
                  <a:gd name="connsiteX10" fmla="*/ 0 w 107823"/>
                  <a:gd name="connsiteY10" fmla="*/ 131064 h 131063"/>
                  <a:gd name="connsiteX11" fmla="*/ 0 w 107823"/>
                  <a:gd name="connsiteY11" fmla="*/ 0 h 131063"/>
                  <a:gd name="connsiteX12" fmla="*/ 56579 w 107823"/>
                  <a:gd name="connsiteY12" fmla="*/ 63913 h 131063"/>
                  <a:gd name="connsiteX13" fmla="*/ 74295 w 107823"/>
                  <a:gd name="connsiteY13" fmla="*/ 58388 h 131063"/>
                  <a:gd name="connsiteX14" fmla="*/ 80200 w 107823"/>
                  <a:gd name="connsiteY14" fmla="*/ 43148 h 131063"/>
                  <a:gd name="connsiteX15" fmla="*/ 74104 w 107823"/>
                  <a:gd name="connsiteY15" fmla="*/ 28384 h 131063"/>
                  <a:gd name="connsiteX16" fmla="*/ 55912 w 107823"/>
                  <a:gd name="connsiteY16" fmla="*/ 23336 h 131063"/>
                  <a:gd name="connsiteX17" fmla="*/ 27527 w 107823"/>
                  <a:gd name="connsiteY17" fmla="*/ 23336 h 131063"/>
                  <a:gd name="connsiteX18" fmla="*/ 27527 w 107823"/>
                  <a:gd name="connsiteY18" fmla="*/ 63913 h 131063"/>
                  <a:gd name="connsiteX19" fmla="*/ 56673 w 107823"/>
                  <a:gd name="connsiteY19" fmla="*/ 63913 h 1310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07823" h="131063">
                    <a:moveTo>
                      <a:pt x="0" y="95"/>
                    </a:moveTo>
                    <a:lnTo>
                      <a:pt x="58864" y="95"/>
                    </a:lnTo>
                    <a:cubicBezTo>
                      <a:pt x="69818" y="95"/>
                      <a:pt x="78867" y="1905"/>
                      <a:pt x="86201" y="5429"/>
                    </a:cubicBezTo>
                    <a:cubicBezTo>
                      <a:pt x="93536" y="8953"/>
                      <a:pt x="98870" y="13906"/>
                      <a:pt x="102489" y="20288"/>
                    </a:cubicBezTo>
                    <a:cubicBezTo>
                      <a:pt x="106013" y="26670"/>
                      <a:pt x="107823" y="34195"/>
                      <a:pt x="107823" y="42767"/>
                    </a:cubicBezTo>
                    <a:cubicBezTo>
                      <a:pt x="107823" y="50768"/>
                      <a:pt x="106108" y="58102"/>
                      <a:pt x="102584" y="64770"/>
                    </a:cubicBezTo>
                    <a:cubicBezTo>
                      <a:pt x="99060" y="71438"/>
                      <a:pt x="93726" y="76867"/>
                      <a:pt x="86582" y="80867"/>
                    </a:cubicBezTo>
                    <a:cubicBezTo>
                      <a:pt x="79438" y="84867"/>
                      <a:pt x="70580" y="86868"/>
                      <a:pt x="60007" y="86868"/>
                    </a:cubicBezTo>
                    <a:lnTo>
                      <a:pt x="27432" y="86868"/>
                    </a:lnTo>
                    <a:lnTo>
                      <a:pt x="27432" y="131064"/>
                    </a:lnTo>
                    <a:lnTo>
                      <a:pt x="0" y="131064"/>
                    </a:lnTo>
                    <a:lnTo>
                      <a:pt x="0" y="0"/>
                    </a:lnTo>
                    <a:close/>
                    <a:moveTo>
                      <a:pt x="56579" y="63913"/>
                    </a:moveTo>
                    <a:cubicBezTo>
                      <a:pt x="64484" y="63913"/>
                      <a:pt x="70389" y="62103"/>
                      <a:pt x="74295" y="58388"/>
                    </a:cubicBezTo>
                    <a:cubicBezTo>
                      <a:pt x="78200" y="54673"/>
                      <a:pt x="80200" y="49625"/>
                      <a:pt x="80200" y="43148"/>
                    </a:cubicBezTo>
                    <a:cubicBezTo>
                      <a:pt x="80200" y="36671"/>
                      <a:pt x="78200" y="31718"/>
                      <a:pt x="74104" y="28384"/>
                    </a:cubicBezTo>
                    <a:cubicBezTo>
                      <a:pt x="70009" y="25051"/>
                      <a:pt x="63912" y="23336"/>
                      <a:pt x="55912" y="23336"/>
                    </a:cubicBezTo>
                    <a:lnTo>
                      <a:pt x="27527" y="23336"/>
                    </a:lnTo>
                    <a:lnTo>
                      <a:pt x="27527" y="63913"/>
                    </a:lnTo>
                    <a:lnTo>
                      <a:pt x="56673" y="63913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33" name="Graphic 2">
              <a:extLst>
                <a:ext uri="{FF2B5EF4-FFF2-40B4-BE49-F238E27FC236}">
                  <a16:creationId xmlns:a16="http://schemas.microsoft.com/office/drawing/2014/main" id="{79F7A6B8-DF55-09D6-CE87-85F00E2B799C}"/>
                </a:ext>
              </a:extLst>
            </p:cNvPr>
            <p:cNvGrpSpPr/>
            <p:nvPr/>
          </p:nvGrpSpPr>
          <p:grpSpPr>
            <a:xfrm>
              <a:off x="6846536" y="1582446"/>
              <a:ext cx="1472348" cy="195282"/>
              <a:chOff x="5541930" y="2571178"/>
              <a:chExt cx="1107662" cy="142304"/>
            </a:xfrm>
            <a:solidFill>
              <a:srgbClr val="231F20"/>
            </a:solidFill>
          </p:grpSpPr>
          <p:sp>
            <p:nvSpPr>
              <p:cNvPr id="411" name="Freeform: Shape 244">
                <a:extLst>
                  <a:ext uri="{FF2B5EF4-FFF2-40B4-BE49-F238E27FC236}">
                    <a16:creationId xmlns:a16="http://schemas.microsoft.com/office/drawing/2014/main" id="{53D68EFD-D7E2-B9F5-0B53-E324A16B6F51}"/>
                  </a:ext>
                </a:extLst>
              </p:cNvPr>
              <p:cNvSpPr/>
              <p:nvPr/>
            </p:nvSpPr>
            <p:spPr>
              <a:xfrm>
                <a:off x="5541930" y="2623566"/>
                <a:ext cx="76009" cy="89916"/>
              </a:xfrm>
              <a:custGeom>
                <a:avLst/>
                <a:gdLst>
                  <a:gd name="connsiteX0" fmla="*/ 0 w 76009"/>
                  <a:gd name="connsiteY0" fmla="*/ 13525 h 89916"/>
                  <a:gd name="connsiteX1" fmla="*/ 54959 w 76009"/>
                  <a:gd name="connsiteY1" fmla="*/ 0 h 89916"/>
                  <a:gd name="connsiteX2" fmla="*/ 58293 w 76009"/>
                  <a:gd name="connsiteY2" fmla="*/ 13430 h 89916"/>
                  <a:gd name="connsiteX3" fmla="*/ 19336 w 76009"/>
                  <a:gd name="connsiteY3" fmla="*/ 23050 h 89916"/>
                  <a:gd name="connsiteX4" fmla="*/ 23717 w 76009"/>
                  <a:gd name="connsiteY4" fmla="*/ 40767 h 89916"/>
                  <a:gd name="connsiteX5" fmla="*/ 59341 w 76009"/>
                  <a:gd name="connsiteY5" fmla="*/ 32004 h 89916"/>
                  <a:gd name="connsiteX6" fmla="*/ 62675 w 76009"/>
                  <a:gd name="connsiteY6" fmla="*/ 45529 h 89916"/>
                  <a:gd name="connsiteX7" fmla="*/ 27051 w 76009"/>
                  <a:gd name="connsiteY7" fmla="*/ 54292 h 89916"/>
                  <a:gd name="connsiteX8" fmla="*/ 31528 w 76009"/>
                  <a:gd name="connsiteY8" fmla="*/ 72485 h 89916"/>
                  <a:gd name="connsiteX9" fmla="*/ 72676 w 76009"/>
                  <a:gd name="connsiteY9" fmla="*/ 62389 h 89916"/>
                  <a:gd name="connsiteX10" fmla="*/ 76010 w 76009"/>
                  <a:gd name="connsiteY10" fmla="*/ 75819 h 89916"/>
                  <a:gd name="connsiteX11" fmla="*/ 18860 w 76009"/>
                  <a:gd name="connsiteY11" fmla="*/ 89916 h 89916"/>
                  <a:gd name="connsiteX12" fmla="*/ 95 w 76009"/>
                  <a:gd name="connsiteY12" fmla="*/ 13525 h 899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6009" h="89916">
                    <a:moveTo>
                      <a:pt x="0" y="13525"/>
                    </a:moveTo>
                    <a:lnTo>
                      <a:pt x="54959" y="0"/>
                    </a:lnTo>
                    <a:lnTo>
                      <a:pt x="58293" y="13430"/>
                    </a:lnTo>
                    <a:lnTo>
                      <a:pt x="19336" y="23050"/>
                    </a:lnTo>
                    <a:lnTo>
                      <a:pt x="23717" y="40767"/>
                    </a:lnTo>
                    <a:lnTo>
                      <a:pt x="59341" y="32004"/>
                    </a:lnTo>
                    <a:lnTo>
                      <a:pt x="62675" y="45529"/>
                    </a:lnTo>
                    <a:lnTo>
                      <a:pt x="27051" y="54292"/>
                    </a:lnTo>
                    <a:lnTo>
                      <a:pt x="31528" y="72485"/>
                    </a:lnTo>
                    <a:lnTo>
                      <a:pt x="72676" y="62389"/>
                    </a:lnTo>
                    <a:lnTo>
                      <a:pt x="76010" y="75819"/>
                    </a:lnTo>
                    <a:lnTo>
                      <a:pt x="18860" y="89916"/>
                    </a:lnTo>
                    <a:lnTo>
                      <a:pt x="95" y="13525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12" name="Freeform: Shape 245">
                <a:extLst>
                  <a:ext uri="{FF2B5EF4-FFF2-40B4-BE49-F238E27FC236}">
                    <a16:creationId xmlns:a16="http://schemas.microsoft.com/office/drawing/2014/main" id="{8D95DB3F-1290-5CC4-C6C3-44651048B6FA}"/>
                  </a:ext>
                </a:extLst>
              </p:cNvPr>
              <p:cNvSpPr/>
              <p:nvPr/>
            </p:nvSpPr>
            <p:spPr>
              <a:xfrm>
                <a:off x="5618809" y="2630429"/>
                <a:ext cx="58376" cy="63117"/>
              </a:xfrm>
              <a:custGeom>
                <a:avLst/>
                <a:gdLst>
                  <a:gd name="connsiteX0" fmla="*/ 19991 w 58376"/>
                  <a:gd name="connsiteY0" fmla="*/ 61717 h 63117"/>
                  <a:gd name="connsiteX1" fmla="*/ 7799 w 58376"/>
                  <a:gd name="connsiteY1" fmla="*/ 53240 h 63117"/>
                  <a:gd name="connsiteX2" fmla="*/ 1036 w 58376"/>
                  <a:gd name="connsiteY2" fmla="*/ 38000 h 63117"/>
                  <a:gd name="connsiteX3" fmla="*/ 1036 w 58376"/>
                  <a:gd name="connsiteY3" fmla="*/ 20474 h 63117"/>
                  <a:gd name="connsiteX4" fmla="*/ 9037 w 58376"/>
                  <a:gd name="connsiteY4" fmla="*/ 7710 h 63117"/>
                  <a:gd name="connsiteX5" fmla="*/ 23992 w 58376"/>
                  <a:gd name="connsiteY5" fmla="*/ 757 h 63117"/>
                  <a:gd name="connsiteX6" fmla="*/ 49423 w 58376"/>
                  <a:gd name="connsiteY6" fmla="*/ 8377 h 63117"/>
                  <a:gd name="connsiteX7" fmla="*/ 40279 w 58376"/>
                  <a:gd name="connsiteY7" fmla="*/ 17902 h 63117"/>
                  <a:gd name="connsiteX8" fmla="*/ 33897 w 58376"/>
                  <a:gd name="connsiteY8" fmla="*/ 13425 h 63117"/>
                  <a:gd name="connsiteX9" fmla="*/ 26563 w 58376"/>
                  <a:gd name="connsiteY9" fmla="*/ 12949 h 63117"/>
                  <a:gd name="connsiteX10" fmla="*/ 17514 w 58376"/>
                  <a:gd name="connsiteY10" fmla="*/ 19807 h 63117"/>
                  <a:gd name="connsiteX11" fmla="*/ 16943 w 58376"/>
                  <a:gd name="connsiteY11" fmla="*/ 33999 h 63117"/>
                  <a:gd name="connsiteX12" fmla="*/ 23515 w 58376"/>
                  <a:gd name="connsiteY12" fmla="*/ 47144 h 63117"/>
                  <a:gd name="connsiteX13" fmla="*/ 34660 w 58376"/>
                  <a:gd name="connsiteY13" fmla="*/ 49811 h 63117"/>
                  <a:gd name="connsiteX14" fmla="*/ 41803 w 58376"/>
                  <a:gd name="connsiteY14" fmla="*/ 46191 h 63117"/>
                  <a:gd name="connsiteX15" fmla="*/ 47328 w 58376"/>
                  <a:gd name="connsiteY15" fmla="*/ 39047 h 63117"/>
                  <a:gd name="connsiteX16" fmla="*/ 58377 w 58376"/>
                  <a:gd name="connsiteY16" fmla="*/ 45905 h 63117"/>
                  <a:gd name="connsiteX17" fmla="*/ 49804 w 58376"/>
                  <a:gd name="connsiteY17" fmla="*/ 56288 h 63117"/>
                  <a:gd name="connsiteX18" fmla="*/ 36660 w 58376"/>
                  <a:gd name="connsiteY18" fmla="*/ 62193 h 63117"/>
                  <a:gd name="connsiteX19" fmla="*/ 19991 w 58376"/>
                  <a:gd name="connsiteY19" fmla="*/ 61812 h 631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8376" h="63117">
                    <a:moveTo>
                      <a:pt x="19991" y="61717"/>
                    </a:moveTo>
                    <a:cubicBezTo>
                      <a:pt x="15133" y="60098"/>
                      <a:pt x="11037" y="57335"/>
                      <a:pt x="7799" y="53240"/>
                    </a:cubicBezTo>
                    <a:cubicBezTo>
                      <a:pt x="4560" y="49144"/>
                      <a:pt x="2370" y="44096"/>
                      <a:pt x="1036" y="38000"/>
                    </a:cubicBezTo>
                    <a:cubicBezTo>
                      <a:pt x="-393" y="31523"/>
                      <a:pt x="-297" y="25617"/>
                      <a:pt x="1036" y="20474"/>
                    </a:cubicBezTo>
                    <a:cubicBezTo>
                      <a:pt x="2465" y="15330"/>
                      <a:pt x="5132" y="11044"/>
                      <a:pt x="9037" y="7710"/>
                    </a:cubicBezTo>
                    <a:cubicBezTo>
                      <a:pt x="12943" y="4376"/>
                      <a:pt x="17991" y="1995"/>
                      <a:pt x="23992" y="757"/>
                    </a:cubicBezTo>
                    <a:cubicBezTo>
                      <a:pt x="34088" y="-1434"/>
                      <a:pt x="42565" y="1138"/>
                      <a:pt x="49423" y="8377"/>
                    </a:cubicBezTo>
                    <a:lnTo>
                      <a:pt x="40279" y="17902"/>
                    </a:lnTo>
                    <a:cubicBezTo>
                      <a:pt x="38184" y="15807"/>
                      <a:pt x="36088" y="14378"/>
                      <a:pt x="33897" y="13425"/>
                    </a:cubicBezTo>
                    <a:cubicBezTo>
                      <a:pt x="31802" y="12473"/>
                      <a:pt x="29326" y="12378"/>
                      <a:pt x="26563" y="12949"/>
                    </a:cubicBezTo>
                    <a:cubicBezTo>
                      <a:pt x="22182" y="13901"/>
                      <a:pt x="19134" y="16187"/>
                      <a:pt x="17514" y="19807"/>
                    </a:cubicBezTo>
                    <a:cubicBezTo>
                      <a:pt x="15895" y="23426"/>
                      <a:pt x="15705" y="28189"/>
                      <a:pt x="16943" y="33999"/>
                    </a:cubicBezTo>
                    <a:cubicBezTo>
                      <a:pt x="18277" y="40095"/>
                      <a:pt x="20467" y="44477"/>
                      <a:pt x="23515" y="47144"/>
                    </a:cubicBezTo>
                    <a:cubicBezTo>
                      <a:pt x="26563" y="49811"/>
                      <a:pt x="30278" y="50668"/>
                      <a:pt x="34660" y="49811"/>
                    </a:cubicBezTo>
                    <a:cubicBezTo>
                      <a:pt x="37517" y="49239"/>
                      <a:pt x="39898" y="48001"/>
                      <a:pt x="41803" y="46191"/>
                    </a:cubicBezTo>
                    <a:cubicBezTo>
                      <a:pt x="43613" y="44382"/>
                      <a:pt x="45518" y="42000"/>
                      <a:pt x="47328" y="39047"/>
                    </a:cubicBezTo>
                    <a:lnTo>
                      <a:pt x="58377" y="45905"/>
                    </a:lnTo>
                    <a:cubicBezTo>
                      <a:pt x="56281" y="50001"/>
                      <a:pt x="53424" y="53430"/>
                      <a:pt x="49804" y="56288"/>
                    </a:cubicBezTo>
                    <a:cubicBezTo>
                      <a:pt x="46185" y="59145"/>
                      <a:pt x="41803" y="61050"/>
                      <a:pt x="36660" y="62193"/>
                    </a:cubicBezTo>
                    <a:cubicBezTo>
                      <a:pt x="30469" y="63527"/>
                      <a:pt x="24849" y="63432"/>
                      <a:pt x="19991" y="61812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13" name="Freeform: Shape 246">
                <a:extLst>
                  <a:ext uri="{FF2B5EF4-FFF2-40B4-BE49-F238E27FC236}">
                    <a16:creationId xmlns:a16="http://schemas.microsoft.com/office/drawing/2014/main" id="{CAE2839D-6244-CF47-3F2E-5E0D08301979}"/>
                  </a:ext>
                </a:extLst>
              </p:cNvPr>
              <p:cNvSpPr/>
              <p:nvPr/>
            </p:nvSpPr>
            <p:spPr>
              <a:xfrm>
                <a:off x="5677092" y="2618721"/>
                <a:ext cx="61337" cy="63113"/>
              </a:xfrm>
              <a:custGeom>
                <a:avLst/>
                <a:gdLst>
                  <a:gd name="connsiteX0" fmla="*/ 19239 w 61337"/>
                  <a:gd name="connsiteY0" fmla="*/ 61327 h 63113"/>
                  <a:gd name="connsiteX1" fmla="*/ 7047 w 61337"/>
                  <a:gd name="connsiteY1" fmla="*/ 52088 h 63113"/>
                  <a:gd name="connsiteX2" fmla="*/ 665 w 61337"/>
                  <a:gd name="connsiteY2" fmla="*/ 36943 h 63113"/>
                  <a:gd name="connsiteX3" fmla="*/ 1236 w 61337"/>
                  <a:gd name="connsiteY3" fmla="*/ 20846 h 63113"/>
                  <a:gd name="connsiteX4" fmla="*/ 9333 w 61337"/>
                  <a:gd name="connsiteY4" fmla="*/ 7892 h 63113"/>
                  <a:gd name="connsiteX5" fmla="*/ 25144 w 61337"/>
                  <a:gd name="connsiteY5" fmla="*/ 748 h 63113"/>
                  <a:gd name="connsiteX6" fmla="*/ 42861 w 61337"/>
                  <a:gd name="connsiteY6" fmla="*/ 1701 h 63113"/>
                  <a:gd name="connsiteX7" fmla="*/ 54672 w 61337"/>
                  <a:gd name="connsiteY7" fmla="*/ 10940 h 63113"/>
                  <a:gd name="connsiteX8" fmla="*/ 60673 w 61337"/>
                  <a:gd name="connsiteY8" fmla="*/ 25990 h 63113"/>
                  <a:gd name="connsiteX9" fmla="*/ 60101 w 61337"/>
                  <a:gd name="connsiteY9" fmla="*/ 42373 h 63113"/>
                  <a:gd name="connsiteX10" fmla="*/ 51909 w 61337"/>
                  <a:gd name="connsiteY10" fmla="*/ 55327 h 63113"/>
                  <a:gd name="connsiteX11" fmla="*/ 36098 w 61337"/>
                  <a:gd name="connsiteY11" fmla="*/ 62470 h 63113"/>
                  <a:gd name="connsiteX12" fmla="*/ 19334 w 61337"/>
                  <a:gd name="connsiteY12" fmla="*/ 61327 h 63113"/>
                  <a:gd name="connsiteX13" fmla="*/ 43337 w 61337"/>
                  <a:gd name="connsiteY13" fmla="*/ 43516 h 63113"/>
                  <a:gd name="connsiteX14" fmla="*/ 44480 w 61337"/>
                  <a:gd name="connsiteY14" fmla="*/ 29037 h 63113"/>
                  <a:gd name="connsiteX15" fmla="*/ 38574 w 61337"/>
                  <a:gd name="connsiteY15" fmla="*/ 15988 h 63113"/>
                  <a:gd name="connsiteX16" fmla="*/ 27621 w 61337"/>
                  <a:gd name="connsiteY16" fmla="*/ 13036 h 63113"/>
                  <a:gd name="connsiteX17" fmla="*/ 18096 w 61337"/>
                  <a:gd name="connsiteY17" fmla="*/ 19703 h 63113"/>
                  <a:gd name="connsiteX18" fmla="*/ 16953 w 61337"/>
                  <a:gd name="connsiteY18" fmla="*/ 33991 h 63113"/>
                  <a:gd name="connsiteX19" fmla="*/ 20477 w 61337"/>
                  <a:gd name="connsiteY19" fmla="*/ 43801 h 63113"/>
                  <a:gd name="connsiteX20" fmla="*/ 26287 w 61337"/>
                  <a:gd name="connsiteY20" fmla="*/ 49326 h 63113"/>
                  <a:gd name="connsiteX21" fmla="*/ 33717 w 61337"/>
                  <a:gd name="connsiteY21" fmla="*/ 50278 h 63113"/>
                  <a:gd name="connsiteX22" fmla="*/ 43337 w 61337"/>
                  <a:gd name="connsiteY22" fmla="*/ 43516 h 631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61337" h="63113">
                    <a:moveTo>
                      <a:pt x="19239" y="61327"/>
                    </a:moveTo>
                    <a:cubicBezTo>
                      <a:pt x="14286" y="59422"/>
                      <a:pt x="10190" y="56374"/>
                      <a:pt x="7047" y="52088"/>
                    </a:cubicBezTo>
                    <a:cubicBezTo>
                      <a:pt x="3903" y="47802"/>
                      <a:pt x="1808" y="42754"/>
                      <a:pt x="665" y="36943"/>
                    </a:cubicBezTo>
                    <a:cubicBezTo>
                      <a:pt x="-383" y="31228"/>
                      <a:pt x="-192" y="25894"/>
                      <a:pt x="1236" y="20846"/>
                    </a:cubicBezTo>
                    <a:cubicBezTo>
                      <a:pt x="2665" y="15798"/>
                      <a:pt x="5332" y="11512"/>
                      <a:pt x="9333" y="7892"/>
                    </a:cubicBezTo>
                    <a:cubicBezTo>
                      <a:pt x="13333" y="4273"/>
                      <a:pt x="18572" y="1987"/>
                      <a:pt x="25144" y="748"/>
                    </a:cubicBezTo>
                    <a:cubicBezTo>
                      <a:pt x="32002" y="-490"/>
                      <a:pt x="37908" y="-204"/>
                      <a:pt x="42861" y="1701"/>
                    </a:cubicBezTo>
                    <a:cubicBezTo>
                      <a:pt x="47814" y="3606"/>
                      <a:pt x="51719" y="6654"/>
                      <a:pt x="54672" y="10940"/>
                    </a:cubicBezTo>
                    <a:cubicBezTo>
                      <a:pt x="57624" y="15131"/>
                      <a:pt x="59625" y="20179"/>
                      <a:pt x="60673" y="25990"/>
                    </a:cubicBezTo>
                    <a:cubicBezTo>
                      <a:pt x="61720" y="31800"/>
                      <a:pt x="61530" y="37229"/>
                      <a:pt x="60101" y="42373"/>
                    </a:cubicBezTo>
                    <a:cubicBezTo>
                      <a:pt x="58672" y="47421"/>
                      <a:pt x="55910" y="51802"/>
                      <a:pt x="51909" y="55327"/>
                    </a:cubicBezTo>
                    <a:cubicBezTo>
                      <a:pt x="47909" y="58851"/>
                      <a:pt x="42575" y="61232"/>
                      <a:pt x="36098" y="62470"/>
                    </a:cubicBezTo>
                    <a:cubicBezTo>
                      <a:pt x="29907" y="63613"/>
                      <a:pt x="24287" y="63232"/>
                      <a:pt x="19334" y="61327"/>
                    </a:cubicBezTo>
                    <a:close/>
                    <a:moveTo>
                      <a:pt x="43337" y="43516"/>
                    </a:moveTo>
                    <a:cubicBezTo>
                      <a:pt x="45242" y="39801"/>
                      <a:pt x="45623" y="35038"/>
                      <a:pt x="44480" y="29037"/>
                    </a:cubicBezTo>
                    <a:cubicBezTo>
                      <a:pt x="43432" y="23132"/>
                      <a:pt x="41432" y="18750"/>
                      <a:pt x="38574" y="15988"/>
                    </a:cubicBezTo>
                    <a:cubicBezTo>
                      <a:pt x="35717" y="13226"/>
                      <a:pt x="32002" y="12274"/>
                      <a:pt x="27621" y="13036"/>
                    </a:cubicBezTo>
                    <a:cubicBezTo>
                      <a:pt x="23049" y="13893"/>
                      <a:pt x="19905" y="16083"/>
                      <a:pt x="18096" y="19703"/>
                    </a:cubicBezTo>
                    <a:cubicBezTo>
                      <a:pt x="16286" y="23323"/>
                      <a:pt x="15905" y="28085"/>
                      <a:pt x="16953" y="33991"/>
                    </a:cubicBezTo>
                    <a:cubicBezTo>
                      <a:pt x="17619" y="37896"/>
                      <a:pt x="18858" y="41134"/>
                      <a:pt x="20477" y="43801"/>
                    </a:cubicBezTo>
                    <a:cubicBezTo>
                      <a:pt x="22096" y="46373"/>
                      <a:pt x="24096" y="48278"/>
                      <a:pt x="26287" y="49326"/>
                    </a:cubicBezTo>
                    <a:cubicBezTo>
                      <a:pt x="28573" y="50469"/>
                      <a:pt x="31050" y="50754"/>
                      <a:pt x="33717" y="50278"/>
                    </a:cubicBezTo>
                    <a:cubicBezTo>
                      <a:pt x="38289" y="49421"/>
                      <a:pt x="41527" y="47230"/>
                      <a:pt x="43337" y="43516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14" name="Freeform: Shape 247">
                <a:extLst>
                  <a:ext uri="{FF2B5EF4-FFF2-40B4-BE49-F238E27FC236}">
                    <a16:creationId xmlns:a16="http://schemas.microsoft.com/office/drawing/2014/main" id="{7D7C6A18-ADB4-E079-2B81-70036EE4086B}"/>
                  </a:ext>
                </a:extLst>
              </p:cNvPr>
              <p:cNvSpPr/>
              <p:nvPr/>
            </p:nvSpPr>
            <p:spPr>
              <a:xfrm>
                <a:off x="5745320" y="2608285"/>
                <a:ext cx="52114" cy="63095"/>
              </a:xfrm>
              <a:custGeom>
                <a:avLst/>
                <a:gdLst>
                  <a:gd name="connsiteX0" fmla="*/ 15876 w 52114"/>
                  <a:gd name="connsiteY0" fmla="*/ 62524 h 63095"/>
                  <a:gd name="connsiteX1" fmla="*/ 3303 w 52114"/>
                  <a:gd name="connsiteY1" fmla="*/ 57762 h 63095"/>
                  <a:gd name="connsiteX2" fmla="*/ 8732 w 52114"/>
                  <a:gd name="connsiteY2" fmla="*/ 46046 h 63095"/>
                  <a:gd name="connsiteX3" fmla="*/ 18828 w 52114"/>
                  <a:gd name="connsiteY3" fmla="*/ 50332 h 63095"/>
                  <a:gd name="connsiteX4" fmla="*/ 28258 w 52114"/>
                  <a:gd name="connsiteY4" fmla="*/ 50809 h 63095"/>
                  <a:gd name="connsiteX5" fmla="*/ 35688 w 52114"/>
                  <a:gd name="connsiteY5" fmla="*/ 48427 h 63095"/>
                  <a:gd name="connsiteX6" fmla="*/ 37783 w 52114"/>
                  <a:gd name="connsiteY6" fmla="*/ 43570 h 63095"/>
                  <a:gd name="connsiteX7" fmla="*/ 35783 w 52114"/>
                  <a:gd name="connsiteY7" fmla="*/ 40045 h 63095"/>
                  <a:gd name="connsiteX8" fmla="*/ 31782 w 52114"/>
                  <a:gd name="connsiteY8" fmla="*/ 38521 h 63095"/>
                  <a:gd name="connsiteX9" fmla="*/ 25210 w 52114"/>
                  <a:gd name="connsiteY9" fmla="*/ 37759 h 63095"/>
                  <a:gd name="connsiteX10" fmla="*/ 22162 w 52114"/>
                  <a:gd name="connsiteY10" fmla="*/ 37474 h 63095"/>
                  <a:gd name="connsiteX11" fmla="*/ 11589 w 52114"/>
                  <a:gd name="connsiteY11" fmla="*/ 35569 h 63095"/>
                  <a:gd name="connsiteX12" fmla="*/ 4255 w 52114"/>
                  <a:gd name="connsiteY12" fmla="*/ 31092 h 63095"/>
                  <a:gd name="connsiteX13" fmla="*/ 255 w 52114"/>
                  <a:gd name="connsiteY13" fmla="*/ 22138 h 63095"/>
                  <a:gd name="connsiteX14" fmla="*/ 1493 w 52114"/>
                  <a:gd name="connsiteY14" fmla="*/ 12042 h 63095"/>
                  <a:gd name="connsiteX15" fmla="*/ 8541 w 52114"/>
                  <a:gd name="connsiteY15" fmla="*/ 4612 h 63095"/>
                  <a:gd name="connsiteX16" fmla="*/ 20829 w 52114"/>
                  <a:gd name="connsiteY16" fmla="*/ 517 h 63095"/>
                  <a:gd name="connsiteX17" fmla="*/ 34069 w 52114"/>
                  <a:gd name="connsiteY17" fmla="*/ 707 h 63095"/>
                  <a:gd name="connsiteX18" fmla="*/ 45022 w 52114"/>
                  <a:gd name="connsiteY18" fmla="*/ 5660 h 63095"/>
                  <a:gd name="connsiteX19" fmla="*/ 38450 w 52114"/>
                  <a:gd name="connsiteY19" fmla="*/ 16042 h 63095"/>
                  <a:gd name="connsiteX20" fmla="*/ 22734 w 52114"/>
                  <a:gd name="connsiteY20" fmla="*/ 12042 h 63095"/>
                  <a:gd name="connsiteX21" fmla="*/ 14352 w 52114"/>
                  <a:gd name="connsiteY21" fmla="*/ 18709 h 63095"/>
                  <a:gd name="connsiteX22" fmla="*/ 16066 w 52114"/>
                  <a:gd name="connsiteY22" fmla="*/ 21757 h 63095"/>
                  <a:gd name="connsiteX23" fmla="*/ 19495 w 52114"/>
                  <a:gd name="connsiteY23" fmla="*/ 23091 h 63095"/>
                  <a:gd name="connsiteX24" fmla="*/ 25305 w 52114"/>
                  <a:gd name="connsiteY24" fmla="*/ 23758 h 63095"/>
                  <a:gd name="connsiteX25" fmla="*/ 28258 w 52114"/>
                  <a:gd name="connsiteY25" fmla="*/ 23948 h 63095"/>
                  <a:gd name="connsiteX26" fmla="*/ 39688 w 52114"/>
                  <a:gd name="connsiteY26" fmla="*/ 25853 h 63095"/>
                  <a:gd name="connsiteX27" fmla="*/ 47594 w 52114"/>
                  <a:gd name="connsiteY27" fmla="*/ 30520 h 63095"/>
                  <a:gd name="connsiteX28" fmla="*/ 51880 w 52114"/>
                  <a:gd name="connsiteY28" fmla="*/ 40236 h 63095"/>
                  <a:gd name="connsiteX29" fmla="*/ 50452 w 52114"/>
                  <a:gd name="connsiteY29" fmla="*/ 50523 h 63095"/>
                  <a:gd name="connsiteX30" fmla="*/ 43022 w 52114"/>
                  <a:gd name="connsiteY30" fmla="*/ 58238 h 63095"/>
                  <a:gd name="connsiteX31" fmla="*/ 30068 w 52114"/>
                  <a:gd name="connsiteY31" fmla="*/ 62524 h 63095"/>
                  <a:gd name="connsiteX32" fmla="*/ 15971 w 52114"/>
                  <a:gd name="connsiteY32" fmla="*/ 62524 h 630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52114" h="63095">
                    <a:moveTo>
                      <a:pt x="15876" y="62524"/>
                    </a:moveTo>
                    <a:cubicBezTo>
                      <a:pt x="11685" y="61762"/>
                      <a:pt x="7494" y="60143"/>
                      <a:pt x="3303" y="57762"/>
                    </a:cubicBezTo>
                    <a:lnTo>
                      <a:pt x="8732" y="46046"/>
                    </a:lnTo>
                    <a:cubicBezTo>
                      <a:pt x="12447" y="48046"/>
                      <a:pt x="15780" y="49475"/>
                      <a:pt x="18828" y="50332"/>
                    </a:cubicBezTo>
                    <a:cubicBezTo>
                      <a:pt x="21877" y="51190"/>
                      <a:pt x="25020" y="51380"/>
                      <a:pt x="28258" y="50809"/>
                    </a:cubicBezTo>
                    <a:cubicBezTo>
                      <a:pt x="31497" y="50332"/>
                      <a:pt x="33973" y="49475"/>
                      <a:pt x="35688" y="48427"/>
                    </a:cubicBezTo>
                    <a:cubicBezTo>
                      <a:pt x="37402" y="47284"/>
                      <a:pt x="38069" y="45665"/>
                      <a:pt x="37783" y="43570"/>
                    </a:cubicBezTo>
                    <a:cubicBezTo>
                      <a:pt x="37593" y="42046"/>
                      <a:pt x="36926" y="40903"/>
                      <a:pt x="35783" y="40045"/>
                    </a:cubicBezTo>
                    <a:cubicBezTo>
                      <a:pt x="34640" y="39188"/>
                      <a:pt x="33402" y="38712"/>
                      <a:pt x="31782" y="38521"/>
                    </a:cubicBezTo>
                    <a:cubicBezTo>
                      <a:pt x="30163" y="38236"/>
                      <a:pt x="28068" y="38045"/>
                      <a:pt x="25210" y="37759"/>
                    </a:cubicBezTo>
                    <a:lnTo>
                      <a:pt x="22162" y="37474"/>
                    </a:lnTo>
                    <a:cubicBezTo>
                      <a:pt x="17971" y="37093"/>
                      <a:pt x="14447" y="36426"/>
                      <a:pt x="11589" y="35569"/>
                    </a:cubicBezTo>
                    <a:cubicBezTo>
                      <a:pt x="8732" y="34711"/>
                      <a:pt x="6255" y="33187"/>
                      <a:pt x="4255" y="31092"/>
                    </a:cubicBezTo>
                    <a:cubicBezTo>
                      <a:pt x="2255" y="28996"/>
                      <a:pt x="921" y="25948"/>
                      <a:pt x="255" y="22138"/>
                    </a:cubicBezTo>
                    <a:cubicBezTo>
                      <a:pt x="-317" y="18424"/>
                      <a:pt x="64" y="14995"/>
                      <a:pt x="1493" y="12042"/>
                    </a:cubicBezTo>
                    <a:cubicBezTo>
                      <a:pt x="2922" y="9089"/>
                      <a:pt x="5208" y="6613"/>
                      <a:pt x="8541" y="4612"/>
                    </a:cubicBezTo>
                    <a:cubicBezTo>
                      <a:pt x="11780" y="2612"/>
                      <a:pt x="15876" y="1279"/>
                      <a:pt x="20829" y="517"/>
                    </a:cubicBezTo>
                    <a:cubicBezTo>
                      <a:pt x="25496" y="-245"/>
                      <a:pt x="29973" y="-150"/>
                      <a:pt x="34069" y="707"/>
                    </a:cubicBezTo>
                    <a:cubicBezTo>
                      <a:pt x="38164" y="1564"/>
                      <a:pt x="41784" y="3184"/>
                      <a:pt x="45022" y="5660"/>
                    </a:cubicBezTo>
                    <a:lnTo>
                      <a:pt x="38450" y="16042"/>
                    </a:lnTo>
                    <a:cubicBezTo>
                      <a:pt x="33592" y="12518"/>
                      <a:pt x="28353" y="11185"/>
                      <a:pt x="22734" y="12042"/>
                    </a:cubicBezTo>
                    <a:cubicBezTo>
                      <a:pt x="16638" y="12994"/>
                      <a:pt x="13876" y="15185"/>
                      <a:pt x="14352" y="18709"/>
                    </a:cubicBezTo>
                    <a:cubicBezTo>
                      <a:pt x="14542" y="20043"/>
                      <a:pt x="15114" y="21091"/>
                      <a:pt x="16066" y="21757"/>
                    </a:cubicBezTo>
                    <a:cubicBezTo>
                      <a:pt x="17019" y="22424"/>
                      <a:pt x="18066" y="22900"/>
                      <a:pt x="19495" y="23091"/>
                    </a:cubicBezTo>
                    <a:cubicBezTo>
                      <a:pt x="20829" y="23377"/>
                      <a:pt x="22829" y="23567"/>
                      <a:pt x="25305" y="23758"/>
                    </a:cubicBezTo>
                    <a:lnTo>
                      <a:pt x="28258" y="23948"/>
                    </a:lnTo>
                    <a:cubicBezTo>
                      <a:pt x="32830" y="24424"/>
                      <a:pt x="36640" y="24996"/>
                      <a:pt x="39688" y="25853"/>
                    </a:cubicBezTo>
                    <a:cubicBezTo>
                      <a:pt x="42736" y="26710"/>
                      <a:pt x="45403" y="28234"/>
                      <a:pt x="47594" y="30520"/>
                    </a:cubicBezTo>
                    <a:cubicBezTo>
                      <a:pt x="49880" y="32806"/>
                      <a:pt x="51309" y="36045"/>
                      <a:pt x="51880" y="40236"/>
                    </a:cubicBezTo>
                    <a:cubicBezTo>
                      <a:pt x="52452" y="44046"/>
                      <a:pt x="51976" y="47475"/>
                      <a:pt x="50452" y="50523"/>
                    </a:cubicBezTo>
                    <a:cubicBezTo>
                      <a:pt x="48928" y="53571"/>
                      <a:pt x="46451" y="56143"/>
                      <a:pt x="43022" y="58238"/>
                    </a:cubicBezTo>
                    <a:cubicBezTo>
                      <a:pt x="39498" y="60334"/>
                      <a:pt x="35212" y="61667"/>
                      <a:pt x="30068" y="62524"/>
                    </a:cubicBezTo>
                    <a:cubicBezTo>
                      <a:pt x="24924" y="63286"/>
                      <a:pt x="20257" y="63286"/>
                      <a:pt x="15971" y="62524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15" name="Freeform: Shape 248">
                <a:extLst>
                  <a:ext uri="{FF2B5EF4-FFF2-40B4-BE49-F238E27FC236}">
                    <a16:creationId xmlns:a16="http://schemas.microsoft.com/office/drawing/2014/main" id="{1083BD2C-DC39-266A-DEE5-3A2C69E2A7CD}"/>
                  </a:ext>
                </a:extLst>
              </p:cNvPr>
              <p:cNvSpPr/>
              <p:nvPr/>
            </p:nvSpPr>
            <p:spPr>
              <a:xfrm>
                <a:off x="5796057" y="2597848"/>
                <a:ext cx="61626" cy="89695"/>
              </a:xfrm>
              <a:custGeom>
                <a:avLst/>
                <a:gdLst>
                  <a:gd name="connsiteX0" fmla="*/ 15145 w 61626"/>
                  <a:gd name="connsiteY0" fmla="*/ 89630 h 89695"/>
                  <a:gd name="connsiteX1" fmla="*/ 14764 w 61626"/>
                  <a:gd name="connsiteY1" fmla="*/ 77343 h 89695"/>
                  <a:gd name="connsiteX2" fmla="*/ 19050 w 61626"/>
                  <a:gd name="connsiteY2" fmla="*/ 77343 h 89695"/>
                  <a:gd name="connsiteX3" fmla="*/ 24193 w 61626"/>
                  <a:gd name="connsiteY3" fmla="*/ 75914 h 89695"/>
                  <a:gd name="connsiteX4" fmla="*/ 27718 w 61626"/>
                  <a:gd name="connsiteY4" fmla="*/ 72676 h 89695"/>
                  <a:gd name="connsiteX5" fmla="*/ 30385 w 61626"/>
                  <a:gd name="connsiteY5" fmla="*/ 66865 h 89695"/>
                  <a:gd name="connsiteX6" fmla="*/ 31051 w 61626"/>
                  <a:gd name="connsiteY6" fmla="*/ 64103 h 89695"/>
                  <a:gd name="connsiteX7" fmla="*/ 0 w 61626"/>
                  <a:gd name="connsiteY7" fmla="*/ 7715 h 89695"/>
                  <a:gd name="connsiteX8" fmla="*/ 16573 w 61626"/>
                  <a:gd name="connsiteY8" fmla="*/ 5715 h 89695"/>
                  <a:gd name="connsiteX9" fmla="*/ 29432 w 61626"/>
                  <a:gd name="connsiteY9" fmla="*/ 32290 h 89695"/>
                  <a:gd name="connsiteX10" fmla="*/ 33718 w 61626"/>
                  <a:gd name="connsiteY10" fmla="*/ 41624 h 89695"/>
                  <a:gd name="connsiteX11" fmla="*/ 37052 w 61626"/>
                  <a:gd name="connsiteY11" fmla="*/ 49149 h 89695"/>
                  <a:gd name="connsiteX12" fmla="*/ 38290 w 61626"/>
                  <a:gd name="connsiteY12" fmla="*/ 40100 h 89695"/>
                  <a:gd name="connsiteX13" fmla="*/ 39814 w 61626"/>
                  <a:gd name="connsiteY13" fmla="*/ 31147 h 89695"/>
                  <a:gd name="connsiteX14" fmla="*/ 45148 w 61626"/>
                  <a:gd name="connsiteY14" fmla="*/ 2000 h 89695"/>
                  <a:gd name="connsiteX15" fmla="*/ 61627 w 61626"/>
                  <a:gd name="connsiteY15" fmla="*/ 0 h 89695"/>
                  <a:gd name="connsiteX16" fmla="*/ 45720 w 61626"/>
                  <a:gd name="connsiteY16" fmla="*/ 65913 h 89695"/>
                  <a:gd name="connsiteX17" fmla="*/ 41148 w 61626"/>
                  <a:gd name="connsiteY17" fmla="*/ 78391 h 89695"/>
                  <a:gd name="connsiteX18" fmla="*/ 34766 w 61626"/>
                  <a:gd name="connsiteY18" fmla="*/ 85820 h 89695"/>
                  <a:gd name="connsiteX19" fmla="*/ 25146 w 61626"/>
                  <a:gd name="connsiteY19" fmla="*/ 89249 h 89695"/>
                  <a:gd name="connsiteX20" fmla="*/ 15240 w 61626"/>
                  <a:gd name="connsiteY20" fmla="*/ 89535 h 896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61626" h="89695">
                    <a:moveTo>
                      <a:pt x="15145" y="89630"/>
                    </a:moveTo>
                    <a:lnTo>
                      <a:pt x="14764" y="77343"/>
                    </a:lnTo>
                    <a:cubicBezTo>
                      <a:pt x="16573" y="77438"/>
                      <a:pt x="18002" y="77438"/>
                      <a:pt x="19050" y="77343"/>
                    </a:cubicBezTo>
                    <a:cubicBezTo>
                      <a:pt x="21050" y="77057"/>
                      <a:pt x="22765" y="76581"/>
                      <a:pt x="24193" y="75914"/>
                    </a:cubicBezTo>
                    <a:cubicBezTo>
                      <a:pt x="25527" y="75152"/>
                      <a:pt x="26765" y="74104"/>
                      <a:pt x="27718" y="72676"/>
                    </a:cubicBezTo>
                    <a:cubicBezTo>
                      <a:pt x="28670" y="71247"/>
                      <a:pt x="29527" y="69342"/>
                      <a:pt x="30385" y="66865"/>
                    </a:cubicBezTo>
                    <a:lnTo>
                      <a:pt x="31051" y="64103"/>
                    </a:lnTo>
                    <a:lnTo>
                      <a:pt x="0" y="7715"/>
                    </a:lnTo>
                    <a:lnTo>
                      <a:pt x="16573" y="5715"/>
                    </a:lnTo>
                    <a:lnTo>
                      <a:pt x="29432" y="32290"/>
                    </a:lnTo>
                    <a:cubicBezTo>
                      <a:pt x="30480" y="34480"/>
                      <a:pt x="31909" y="37624"/>
                      <a:pt x="33718" y="41624"/>
                    </a:cubicBezTo>
                    <a:cubicBezTo>
                      <a:pt x="35528" y="45625"/>
                      <a:pt x="36671" y="48196"/>
                      <a:pt x="37052" y="49149"/>
                    </a:cubicBezTo>
                    <a:cubicBezTo>
                      <a:pt x="37147" y="47815"/>
                      <a:pt x="37624" y="44767"/>
                      <a:pt x="38290" y="40100"/>
                    </a:cubicBezTo>
                    <a:cubicBezTo>
                      <a:pt x="38957" y="35433"/>
                      <a:pt x="39529" y="32480"/>
                      <a:pt x="39814" y="31147"/>
                    </a:cubicBezTo>
                    <a:lnTo>
                      <a:pt x="45148" y="2000"/>
                    </a:lnTo>
                    <a:lnTo>
                      <a:pt x="61627" y="0"/>
                    </a:lnTo>
                    <a:lnTo>
                      <a:pt x="45720" y="65913"/>
                    </a:lnTo>
                    <a:cubicBezTo>
                      <a:pt x="44291" y="71056"/>
                      <a:pt x="42767" y="75152"/>
                      <a:pt x="41148" y="78391"/>
                    </a:cubicBezTo>
                    <a:cubicBezTo>
                      <a:pt x="39433" y="81534"/>
                      <a:pt x="37338" y="84106"/>
                      <a:pt x="34766" y="85820"/>
                    </a:cubicBezTo>
                    <a:cubicBezTo>
                      <a:pt x="32195" y="87630"/>
                      <a:pt x="28956" y="88773"/>
                      <a:pt x="25146" y="89249"/>
                    </a:cubicBezTo>
                    <a:cubicBezTo>
                      <a:pt x="21241" y="89725"/>
                      <a:pt x="18002" y="89821"/>
                      <a:pt x="15240" y="89535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16" name="Freeform: Shape 249">
                <a:extLst>
                  <a:ext uri="{FF2B5EF4-FFF2-40B4-BE49-F238E27FC236}">
                    <a16:creationId xmlns:a16="http://schemas.microsoft.com/office/drawing/2014/main" id="{D9B44929-2D4C-44E8-9074-96F316675560}"/>
                  </a:ext>
                </a:extLst>
              </p:cNvPr>
              <p:cNvSpPr/>
              <p:nvPr/>
            </p:nvSpPr>
            <p:spPr>
              <a:xfrm>
                <a:off x="5865857" y="2593550"/>
                <a:ext cx="50509" cy="62743"/>
              </a:xfrm>
              <a:custGeom>
                <a:avLst/>
                <a:gdLst>
                  <a:gd name="connsiteX0" fmla="*/ 13544 w 50509"/>
                  <a:gd name="connsiteY0" fmla="*/ 61925 h 62743"/>
                  <a:gd name="connsiteX1" fmla="*/ 1257 w 50509"/>
                  <a:gd name="connsiteY1" fmla="*/ 56496 h 62743"/>
                  <a:gd name="connsiteX2" fmla="*/ 7257 w 50509"/>
                  <a:gd name="connsiteY2" fmla="*/ 45066 h 62743"/>
                  <a:gd name="connsiteX3" fmla="*/ 17068 w 50509"/>
                  <a:gd name="connsiteY3" fmla="*/ 49923 h 62743"/>
                  <a:gd name="connsiteX4" fmla="*/ 26402 w 50509"/>
                  <a:gd name="connsiteY4" fmla="*/ 50971 h 62743"/>
                  <a:gd name="connsiteX5" fmla="*/ 34023 w 50509"/>
                  <a:gd name="connsiteY5" fmla="*/ 48971 h 62743"/>
                  <a:gd name="connsiteX6" fmla="*/ 36308 w 50509"/>
                  <a:gd name="connsiteY6" fmla="*/ 44208 h 62743"/>
                  <a:gd name="connsiteX7" fmla="*/ 34499 w 50509"/>
                  <a:gd name="connsiteY7" fmla="*/ 40589 h 62743"/>
                  <a:gd name="connsiteX8" fmla="*/ 30593 w 50509"/>
                  <a:gd name="connsiteY8" fmla="*/ 38779 h 62743"/>
                  <a:gd name="connsiteX9" fmla="*/ 24116 w 50509"/>
                  <a:gd name="connsiteY9" fmla="*/ 37731 h 62743"/>
                  <a:gd name="connsiteX10" fmla="*/ 21068 w 50509"/>
                  <a:gd name="connsiteY10" fmla="*/ 37255 h 62743"/>
                  <a:gd name="connsiteX11" fmla="*/ 10686 w 50509"/>
                  <a:gd name="connsiteY11" fmla="*/ 34779 h 62743"/>
                  <a:gd name="connsiteX12" fmla="*/ 3542 w 50509"/>
                  <a:gd name="connsiteY12" fmla="*/ 29921 h 62743"/>
                  <a:gd name="connsiteX13" fmla="*/ 114 w 50509"/>
                  <a:gd name="connsiteY13" fmla="*/ 20682 h 62743"/>
                  <a:gd name="connsiteX14" fmla="*/ 1923 w 50509"/>
                  <a:gd name="connsiteY14" fmla="*/ 10680 h 62743"/>
                  <a:gd name="connsiteX15" fmla="*/ 9353 w 50509"/>
                  <a:gd name="connsiteY15" fmla="*/ 3632 h 62743"/>
                  <a:gd name="connsiteX16" fmla="*/ 21831 w 50509"/>
                  <a:gd name="connsiteY16" fmla="*/ 203 h 62743"/>
                  <a:gd name="connsiteX17" fmla="*/ 34975 w 50509"/>
                  <a:gd name="connsiteY17" fmla="*/ 1155 h 62743"/>
                  <a:gd name="connsiteX18" fmla="*/ 45643 w 50509"/>
                  <a:gd name="connsiteY18" fmla="*/ 6680 h 62743"/>
                  <a:gd name="connsiteX19" fmla="*/ 38499 w 50509"/>
                  <a:gd name="connsiteY19" fmla="*/ 16681 h 62743"/>
                  <a:gd name="connsiteX20" fmla="*/ 22974 w 50509"/>
                  <a:gd name="connsiteY20" fmla="*/ 11823 h 62743"/>
                  <a:gd name="connsiteX21" fmla="*/ 14210 w 50509"/>
                  <a:gd name="connsiteY21" fmla="*/ 18014 h 62743"/>
                  <a:gd name="connsiteX22" fmla="*/ 15734 w 50509"/>
                  <a:gd name="connsiteY22" fmla="*/ 21158 h 62743"/>
                  <a:gd name="connsiteX23" fmla="*/ 19068 w 50509"/>
                  <a:gd name="connsiteY23" fmla="*/ 22682 h 62743"/>
                  <a:gd name="connsiteX24" fmla="*/ 24783 w 50509"/>
                  <a:gd name="connsiteY24" fmla="*/ 23634 h 62743"/>
                  <a:gd name="connsiteX25" fmla="*/ 27641 w 50509"/>
                  <a:gd name="connsiteY25" fmla="*/ 24015 h 62743"/>
                  <a:gd name="connsiteX26" fmla="*/ 38975 w 50509"/>
                  <a:gd name="connsiteY26" fmla="*/ 26587 h 62743"/>
                  <a:gd name="connsiteX27" fmla="*/ 46596 w 50509"/>
                  <a:gd name="connsiteY27" fmla="*/ 31635 h 62743"/>
                  <a:gd name="connsiteX28" fmla="*/ 50406 w 50509"/>
                  <a:gd name="connsiteY28" fmla="*/ 41541 h 62743"/>
                  <a:gd name="connsiteX29" fmla="*/ 48405 w 50509"/>
                  <a:gd name="connsiteY29" fmla="*/ 51733 h 62743"/>
                  <a:gd name="connsiteX30" fmla="*/ 40499 w 50509"/>
                  <a:gd name="connsiteY30" fmla="*/ 58972 h 62743"/>
                  <a:gd name="connsiteX31" fmla="*/ 27355 w 50509"/>
                  <a:gd name="connsiteY31" fmla="*/ 62496 h 62743"/>
                  <a:gd name="connsiteX32" fmla="*/ 13258 w 50509"/>
                  <a:gd name="connsiteY32" fmla="*/ 61734 h 627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50509" h="62743">
                    <a:moveTo>
                      <a:pt x="13544" y="61925"/>
                    </a:moveTo>
                    <a:cubicBezTo>
                      <a:pt x="9353" y="60972"/>
                      <a:pt x="5257" y="59162"/>
                      <a:pt x="1257" y="56496"/>
                    </a:cubicBezTo>
                    <a:lnTo>
                      <a:pt x="7257" y="45066"/>
                    </a:lnTo>
                    <a:cubicBezTo>
                      <a:pt x="10877" y="47256"/>
                      <a:pt x="14115" y="48971"/>
                      <a:pt x="17068" y="49923"/>
                    </a:cubicBezTo>
                    <a:cubicBezTo>
                      <a:pt x="20021" y="50971"/>
                      <a:pt x="23164" y="51257"/>
                      <a:pt x="26402" y="50971"/>
                    </a:cubicBezTo>
                    <a:cubicBezTo>
                      <a:pt x="29736" y="50685"/>
                      <a:pt x="32213" y="50018"/>
                      <a:pt x="34023" y="48971"/>
                    </a:cubicBezTo>
                    <a:cubicBezTo>
                      <a:pt x="35737" y="47923"/>
                      <a:pt x="36594" y="46399"/>
                      <a:pt x="36308" y="44208"/>
                    </a:cubicBezTo>
                    <a:cubicBezTo>
                      <a:pt x="36118" y="42684"/>
                      <a:pt x="35547" y="41446"/>
                      <a:pt x="34499" y="40589"/>
                    </a:cubicBezTo>
                    <a:cubicBezTo>
                      <a:pt x="33451" y="39732"/>
                      <a:pt x="32117" y="39160"/>
                      <a:pt x="30593" y="38779"/>
                    </a:cubicBezTo>
                    <a:cubicBezTo>
                      <a:pt x="29070" y="38398"/>
                      <a:pt x="26879" y="38017"/>
                      <a:pt x="24116" y="37731"/>
                    </a:cubicBezTo>
                    <a:lnTo>
                      <a:pt x="21068" y="37255"/>
                    </a:lnTo>
                    <a:cubicBezTo>
                      <a:pt x="16973" y="36588"/>
                      <a:pt x="13449" y="35731"/>
                      <a:pt x="10686" y="34779"/>
                    </a:cubicBezTo>
                    <a:cubicBezTo>
                      <a:pt x="7924" y="33826"/>
                      <a:pt x="5543" y="32112"/>
                      <a:pt x="3542" y="29921"/>
                    </a:cubicBezTo>
                    <a:cubicBezTo>
                      <a:pt x="1542" y="27730"/>
                      <a:pt x="495" y="24587"/>
                      <a:pt x="114" y="20682"/>
                    </a:cubicBezTo>
                    <a:cubicBezTo>
                      <a:pt x="-267" y="16871"/>
                      <a:pt x="304" y="13538"/>
                      <a:pt x="1923" y="10680"/>
                    </a:cubicBezTo>
                    <a:cubicBezTo>
                      <a:pt x="3447" y="7823"/>
                      <a:pt x="5924" y="5442"/>
                      <a:pt x="9353" y="3632"/>
                    </a:cubicBezTo>
                    <a:cubicBezTo>
                      <a:pt x="12782" y="1822"/>
                      <a:pt x="16877" y="679"/>
                      <a:pt x="21831" y="203"/>
                    </a:cubicBezTo>
                    <a:cubicBezTo>
                      <a:pt x="26593" y="-274"/>
                      <a:pt x="30974" y="108"/>
                      <a:pt x="34975" y="1155"/>
                    </a:cubicBezTo>
                    <a:cubicBezTo>
                      <a:pt x="38975" y="2203"/>
                      <a:pt x="42595" y="4108"/>
                      <a:pt x="45643" y="6680"/>
                    </a:cubicBezTo>
                    <a:lnTo>
                      <a:pt x="38499" y="16681"/>
                    </a:lnTo>
                    <a:cubicBezTo>
                      <a:pt x="33832" y="12871"/>
                      <a:pt x="28689" y="11252"/>
                      <a:pt x="22974" y="11823"/>
                    </a:cubicBezTo>
                    <a:cubicBezTo>
                      <a:pt x="16782" y="12395"/>
                      <a:pt x="13925" y="14490"/>
                      <a:pt x="14210" y="18014"/>
                    </a:cubicBezTo>
                    <a:cubicBezTo>
                      <a:pt x="14306" y="19348"/>
                      <a:pt x="14877" y="20396"/>
                      <a:pt x="15734" y="21158"/>
                    </a:cubicBezTo>
                    <a:cubicBezTo>
                      <a:pt x="16592" y="21920"/>
                      <a:pt x="17735" y="22396"/>
                      <a:pt x="19068" y="22682"/>
                    </a:cubicBezTo>
                    <a:cubicBezTo>
                      <a:pt x="20402" y="22967"/>
                      <a:pt x="22307" y="23349"/>
                      <a:pt x="24783" y="23634"/>
                    </a:cubicBezTo>
                    <a:lnTo>
                      <a:pt x="27641" y="24015"/>
                    </a:lnTo>
                    <a:cubicBezTo>
                      <a:pt x="32213" y="24682"/>
                      <a:pt x="35927" y="25539"/>
                      <a:pt x="38975" y="26587"/>
                    </a:cubicBezTo>
                    <a:cubicBezTo>
                      <a:pt x="42024" y="27635"/>
                      <a:pt x="44500" y="29254"/>
                      <a:pt x="46596" y="31635"/>
                    </a:cubicBezTo>
                    <a:cubicBezTo>
                      <a:pt x="48691" y="34017"/>
                      <a:pt x="49929" y="37350"/>
                      <a:pt x="50406" y="41541"/>
                    </a:cubicBezTo>
                    <a:cubicBezTo>
                      <a:pt x="50787" y="45351"/>
                      <a:pt x="50120" y="48780"/>
                      <a:pt x="48405" y="51733"/>
                    </a:cubicBezTo>
                    <a:cubicBezTo>
                      <a:pt x="46691" y="54686"/>
                      <a:pt x="44119" y="57162"/>
                      <a:pt x="40499" y="58972"/>
                    </a:cubicBezTo>
                    <a:cubicBezTo>
                      <a:pt x="36880" y="60782"/>
                      <a:pt x="32499" y="62020"/>
                      <a:pt x="27355" y="62496"/>
                    </a:cubicBezTo>
                    <a:cubicBezTo>
                      <a:pt x="22212" y="62972"/>
                      <a:pt x="17449" y="62782"/>
                      <a:pt x="13258" y="61734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17" name="Freeform: Shape 250">
                <a:extLst>
                  <a:ext uri="{FF2B5EF4-FFF2-40B4-BE49-F238E27FC236}">
                    <a16:creationId xmlns:a16="http://schemas.microsoft.com/office/drawing/2014/main" id="{A4BE1734-29BC-5D6D-006E-D7CAAD0FFCD8}"/>
                  </a:ext>
                </a:extLst>
              </p:cNvPr>
              <p:cNvSpPr/>
              <p:nvPr/>
            </p:nvSpPr>
            <p:spPr>
              <a:xfrm>
                <a:off x="5918358" y="2575845"/>
                <a:ext cx="40004" cy="76081"/>
              </a:xfrm>
              <a:custGeom>
                <a:avLst/>
                <a:gdLst>
                  <a:gd name="connsiteX0" fmla="*/ 15716 w 40004"/>
                  <a:gd name="connsiteY0" fmla="*/ 72581 h 76081"/>
                  <a:gd name="connsiteX1" fmla="*/ 10858 w 40004"/>
                  <a:gd name="connsiteY1" fmla="*/ 60674 h 76081"/>
                  <a:gd name="connsiteX2" fmla="*/ 8477 w 40004"/>
                  <a:gd name="connsiteY2" fmla="*/ 27432 h 76081"/>
                  <a:gd name="connsiteX3" fmla="*/ 857 w 40004"/>
                  <a:gd name="connsiteY3" fmla="*/ 28004 h 76081"/>
                  <a:gd name="connsiteX4" fmla="*/ 0 w 40004"/>
                  <a:gd name="connsiteY4" fmla="*/ 16383 h 76081"/>
                  <a:gd name="connsiteX5" fmla="*/ 8382 w 40004"/>
                  <a:gd name="connsiteY5" fmla="*/ 15812 h 76081"/>
                  <a:gd name="connsiteX6" fmla="*/ 8191 w 40004"/>
                  <a:gd name="connsiteY6" fmla="*/ 2191 h 76081"/>
                  <a:gd name="connsiteX7" fmla="*/ 22003 w 40004"/>
                  <a:gd name="connsiteY7" fmla="*/ 0 h 76081"/>
                  <a:gd name="connsiteX8" fmla="*/ 23050 w 40004"/>
                  <a:gd name="connsiteY8" fmla="*/ 14764 h 76081"/>
                  <a:gd name="connsiteX9" fmla="*/ 35052 w 40004"/>
                  <a:gd name="connsiteY9" fmla="*/ 13907 h 76081"/>
                  <a:gd name="connsiteX10" fmla="*/ 35909 w 40004"/>
                  <a:gd name="connsiteY10" fmla="*/ 25527 h 76081"/>
                  <a:gd name="connsiteX11" fmla="*/ 23908 w 40004"/>
                  <a:gd name="connsiteY11" fmla="*/ 26384 h 76081"/>
                  <a:gd name="connsiteX12" fmla="*/ 26003 w 40004"/>
                  <a:gd name="connsiteY12" fmla="*/ 55436 h 76081"/>
                  <a:gd name="connsiteX13" fmla="*/ 27813 w 40004"/>
                  <a:gd name="connsiteY13" fmla="*/ 61055 h 76081"/>
                  <a:gd name="connsiteX14" fmla="*/ 32385 w 40004"/>
                  <a:gd name="connsiteY14" fmla="*/ 62579 h 76081"/>
                  <a:gd name="connsiteX15" fmla="*/ 38005 w 40004"/>
                  <a:gd name="connsiteY15" fmla="*/ 61532 h 76081"/>
                  <a:gd name="connsiteX16" fmla="*/ 40005 w 40004"/>
                  <a:gd name="connsiteY16" fmla="*/ 73343 h 76081"/>
                  <a:gd name="connsiteX17" fmla="*/ 27432 w 40004"/>
                  <a:gd name="connsiteY17" fmla="*/ 76010 h 76081"/>
                  <a:gd name="connsiteX18" fmla="*/ 15621 w 40004"/>
                  <a:gd name="connsiteY18" fmla="*/ 72771 h 760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40004" h="76081">
                    <a:moveTo>
                      <a:pt x="15716" y="72581"/>
                    </a:moveTo>
                    <a:cubicBezTo>
                      <a:pt x="12859" y="70009"/>
                      <a:pt x="11239" y="66104"/>
                      <a:pt x="10858" y="60674"/>
                    </a:cubicBezTo>
                    <a:lnTo>
                      <a:pt x="8477" y="27432"/>
                    </a:lnTo>
                    <a:lnTo>
                      <a:pt x="857" y="28004"/>
                    </a:lnTo>
                    <a:lnTo>
                      <a:pt x="0" y="16383"/>
                    </a:lnTo>
                    <a:lnTo>
                      <a:pt x="8382" y="15812"/>
                    </a:lnTo>
                    <a:lnTo>
                      <a:pt x="8191" y="2191"/>
                    </a:lnTo>
                    <a:lnTo>
                      <a:pt x="22003" y="0"/>
                    </a:lnTo>
                    <a:lnTo>
                      <a:pt x="23050" y="14764"/>
                    </a:lnTo>
                    <a:lnTo>
                      <a:pt x="35052" y="13907"/>
                    </a:lnTo>
                    <a:lnTo>
                      <a:pt x="35909" y="25527"/>
                    </a:lnTo>
                    <a:lnTo>
                      <a:pt x="23908" y="26384"/>
                    </a:lnTo>
                    <a:lnTo>
                      <a:pt x="26003" y="55436"/>
                    </a:lnTo>
                    <a:cubicBezTo>
                      <a:pt x="26194" y="58007"/>
                      <a:pt x="26765" y="59912"/>
                      <a:pt x="27813" y="61055"/>
                    </a:cubicBezTo>
                    <a:cubicBezTo>
                      <a:pt x="28861" y="62198"/>
                      <a:pt x="30385" y="62675"/>
                      <a:pt x="32385" y="62579"/>
                    </a:cubicBezTo>
                    <a:cubicBezTo>
                      <a:pt x="34004" y="62484"/>
                      <a:pt x="35909" y="62103"/>
                      <a:pt x="38005" y="61532"/>
                    </a:cubicBezTo>
                    <a:lnTo>
                      <a:pt x="40005" y="73343"/>
                    </a:lnTo>
                    <a:cubicBezTo>
                      <a:pt x="35814" y="74867"/>
                      <a:pt x="31623" y="75724"/>
                      <a:pt x="27432" y="76010"/>
                    </a:cubicBezTo>
                    <a:cubicBezTo>
                      <a:pt x="22384" y="76391"/>
                      <a:pt x="18479" y="75248"/>
                      <a:pt x="15621" y="72771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18" name="Freeform: Shape 251">
                <a:extLst>
                  <a:ext uri="{FF2B5EF4-FFF2-40B4-BE49-F238E27FC236}">
                    <a16:creationId xmlns:a16="http://schemas.microsoft.com/office/drawing/2014/main" id="{EC381891-9E27-196A-8772-01823C580E6A}"/>
                  </a:ext>
                </a:extLst>
              </p:cNvPr>
              <p:cNvSpPr/>
              <p:nvPr/>
            </p:nvSpPr>
            <p:spPr>
              <a:xfrm>
                <a:off x="5962192" y="2586467"/>
                <a:ext cx="55173" cy="62496"/>
              </a:xfrm>
              <a:custGeom>
                <a:avLst/>
                <a:gdLst>
                  <a:gd name="connsiteX0" fmla="*/ 8935 w 55173"/>
                  <a:gd name="connsiteY0" fmla="*/ 55767 h 62496"/>
                  <a:gd name="connsiteX1" fmla="*/ 77 w 55173"/>
                  <a:gd name="connsiteY1" fmla="*/ 32621 h 62496"/>
                  <a:gd name="connsiteX2" fmla="*/ 3029 w 55173"/>
                  <a:gd name="connsiteY2" fmla="*/ 15000 h 62496"/>
                  <a:gd name="connsiteX3" fmla="*/ 12745 w 55173"/>
                  <a:gd name="connsiteY3" fmla="*/ 4141 h 62496"/>
                  <a:gd name="connsiteX4" fmla="*/ 26937 w 55173"/>
                  <a:gd name="connsiteY4" fmla="*/ 46 h 62496"/>
                  <a:gd name="connsiteX5" fmla="*/ 42368 w 55173"/>
                  <a:gd name="connsiteY5" fmla="*/ 3284 h 62496"/>
                  <a:gd name="connsiteX6" fmla="*/ 51607 w 55173"/>
                  <a:gd name="connsiteY6" fmla="*/ 13381 h 62496"/>
                  <a:gd name="connsiteX7" fmla="*/ 55131 w 55173"/>
                  <a:gd name="connsiteY7" fmla="*/ 27859 h 62496"/>
                  <a:gd name="connsiteX8" fmla="*/ 55131 w 55173"/>
                  <a:gd name="connsiteY8" fmla="*/ 34145 h 62496"/>
                  <a:gd name="connsiteX9" fmla="*/ 16745 w 55173"/>
                  <a:gd name="connsiteY9" fmla="*/ 36050 h 62496"/>
                  <a:gd name="connsiteX10" fmla="*/ 20651 w 55173"/>
                  <a:gd name="connsiteY10" fmla="*/ 47004 h 62496"/>
                  <a:gd name="connsiteX11" fmla="*/ 31224 w 55173"/>
                  <a:gd name="connsiteY11" fmla="*/ 50624 h 62496"/>
                  <a:gd name="connsiteX12" fmla="*/ 36938 w 55173"/>
                  <a:gd name="connsiteY12" fmla="*/ 49671 h 62496"/>
                  <a:gd name="connsiteX13" fmla="*/ 41891 w 55173"/>
                  <a:gd name="connsiteY13" fmla="*/ 47385 h 62496"/>
                  <a:gd name="connsiteX14" fmla="*/ 47702 w 55173"/>
                  <a:gd name="connsiteY14" fmla="*/ 43194 h 62496"/>
                  <a:gd name="connsiteX15" fmla="*/ 54560 w 55173"/>
                  <a:gd name="connsiteY15" fmla="*/ 53005 h 62496"/>
                  <a:gd name="connsiteX16" fmla="*/ 44177 w 55173"/>
                  <a:gd name="connsiteY16" fmla="*/ 59672 h 62496"/>
                  <a:gd name="connsiteX17" fmla="*/ 31033 w 55173"/>
                  <a:gd name="connsiteY17" fmla="*/ 62435 h 62496"/>
                  <a:gd name="connsiteX18" fmla="*/ 9030 w 55173"/>
                  <a:gd name="connsiteY18" fmla="*/ 55672 h 62496"/>
                  <a:gd name="connsiteX19" fmla="*/ 39701 w 55173"/>
                  <a:gd name="connsiteY19" fmla="*/ 24144 h 62496"/>
                  <a:gd name="connsiteX20" fmla="*/ 36081 w 55173"/>
                  <a:gd name="connsiteY20" fmla="*/ 14238 h 62496"/>
                  <a:gd name="connsiteX21" fmla="*/ 27413 w 55173"/>
                  <a:gd name="connsiteY21" fmla="*/ 11381 h 62496"/>
                  <a:gd name="connsiteX22" fmla="*/ 19222 w 55173"/>
                  <a:gd name="connsiteY22" fmla="*/ 15095 h 62496"/>
                  <a:gd name="connsiteX23" fmla="*/ 16365 w 55173"/>
                  <a:gd name="connsiteY23" fmla="*/ 25287 h 62496"/>
                  <a:gd name="connsiteX24" fmla="*/ 39796 w 55173"/>
                  <a:gd name="connsiteY24" fmla="*/ 24144 h 624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55173" h="62496">
                    <a:moveTo>
                      <a:pt x="8935" y="55767"/>
                    </a:moveTo>
                    <a:cubicBezTo>
                      <a:pt x="3506" y="50814"/>
                      <a:pt x="553" y="43099"/>
                      <a:pt x="77" y="32621"/>
                    </a:cubicBezTo>
                    <a:cubicBezTo>
                      <a:pt x="-304" y="25668"/>
                      <a:pt x="743" y="19762"/>
                      <a:pt x="3029" y="15000"/>
                    </a:cubicBezTo>
                    <a:cubicBezTo>
                      <a:pt x="5316" y="10237"/>
                      <a:pt x="8554" y="6618"/>
                      <a:pt x="12745" y="4141"/>
                    </a:cubicBezTo>
                    <a:cubicBezTo>
                      <a:pt x="16936" y="1665"/>
                      <a:pt x="21699" y="332"/>
                      <a:pt x="26937" y="46"/>
                    </a:cubicBezTo>
                    <a:cubicBezTo>
                      <a:pt x="33033" y="-240"/>
                      <a:pt x="38177" y="808"/>
                      <a:pt x="42368" y="3284"/>
                    </a:cubicBezTo>
                    <a:cubicBezTo>
                      <a:pt x="46463" y="5761"/>
                      <a:pt x="49607" y="9095"/>
                      <a:pt x="51607" y="13381"/>
                    </a:cubicBezTo>
                    <a:cubicBezTo>
                      <a:pt x="53607" y="17667"/>
                      <a:pt x="54845" y="22525"/>
                      <a:pt x="55131" y="27859"/>
                    </a:cubicBezTo>
                    <a:cubicBezTo>
                      <a:pt x="55226" y="29954"/>
                      <a:pt x="55131" y="32050"/>
                      <a:pt x="55131" y="34145"/>
                    </a:cubicBezTo>
                    <a:lnTo>
                      <a:pt x="16745" y="36050"/>
                    </a:lnTo>
                    <a:cubicBezTo>
                      <a:pt x="16936" y="40718"/>
                      <a:pt x="18269" y="44432"/>
                      <a:pt x="20651" y="47004"/>
                    </a:cubicBezTo>
                    <a:cubicBezTo>
                      <a:pt x="23032" y="49576"/>
                      <a:pt x="26556" y="50814"/>
                      <a:pt x="31224" y="50624"/>
                    </a:cubicBezTo>
                    <a:cubicBezTo>
                      <a:pt x="33319" y="50528"/>
                      <a:pt x="35224" y="50147"/>
                      <a:pt x="36938" y="49671"/>
                    </a:cubicBezTo>
                    <a:cubicBezTo>
                      <a:pt x="38653" y="49195"/>
                      <a:pt x="40272" y="48337"/>
                      <a:pt x="41891" y="47385"/>
                    </a:cubicBezTo>
                    <a:cubicBezTo>
                      <a:pt x="43511" y="46433"/>
                      <a:pt x="45416" y="45004"/>
                      <a:pt x="47702" y="43194"/>
                    </a:cubicBezTo>
                    <a:lnTo>
                      <a:pt x="54560" y="53005"/>
                    </a:lnTo>
                    <a:cubicBezTo>
                      <a:pt x="51131" y="55862"/>
                      <a:pt x="47702" y="58053"/>
                      <a:pt x="44177" y="59672"/>
                    </a:cubicBezTo>
                    <a:cubicBezTo>
                      <a:pt x="40653" y="61291"/>
                      <a:pt x="36272" y="62244"/>
                      <a:pt x="31033" y="62435"/>
                    </a:cubicBezTo>
                    <a:cubicBezTo>
                      <a:pt x="21794" y="62911"/>
                      <a:pt x="14459" y="60625"/>
                      <a:pt x="9030" y="55672"/>
                    </a:cubicBezTo>
                    <a:close/>
                    <a:moveTo>
                      <a:pt x="39701" y="24144"/>
                    </a:moveTo>
                    <a:cubicBezTo>
                      <a:pt x="39320" y="19572"/>
                      <a:pt x="38082" y="16333"/>
                      <a:pt x="36081" y="14238"/>
                    </a:cubicBezTo>
                    <a:cubicBezTo>
                      <a:pt x="33986" y="12143"/>
                      <a:pt x="31128" y="11285"/>
                      <a:pt x="27413" y="11381"/>
                    </a:cubicBezTo>
                    <a:cubicBezTo>
                      <a:pt x="23889" y="11571"/>
                      <a:pt x="21127" y="12809"/>
                      <a:pt x="19222" y="15095"/>
                    </a:cubicBezTo>
                    <a:cubicBezTo>
                      <a:pt x="17222" y="17381"/>
                      <a:pt x="16269" y="20810"/>
                      <a:pt x="16365" y="25287"/>
                    </a:cubicBezTo>
                    <a:lnTo>
                      <a:pt x="39796" y="24144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19" name="Freeform: Shape 252">
                <a:extLst>
                  <a:ext uri="{FF2B5EF4-FFF2-40B4-BE49-F238E27FC236}">
                    <a16:creationId xmlns:a16="http://schemas.microsoft.com/office/drawing/2014/main" id="{62106E5C-D639-EFD6-9665-B11F92A79489}"/>
                  </a:ext>
                </a:extLst>
              </p:cNvPr>
              <p:cNvSpPr/>
              <p:nvPr/>
            </p:nvSpPr>
            <p:spPr>
              <a:xfrm>
                <a:off x="6028753" y="2583557"/>
                <a:ext cx="88201" cy="62677"/>
              </a:xfrm>
              <a:custGeom>
                <a:avLst/>
                <a:gdLst>
                  <a:gd name="connsiteX0" fmla="*/ 667 w 88201"/>
                  <a:gd name="connsiteY0" fmla="*/ 15815 h 62677"/>
                  <a:gd name="connsiteX1" fmla="*/ 381 w 88201"/>
                  <a:gd name="connsiteY1" fmla="*/ 7909 h 62677"/>
                  <a:gd name="connsiteX2" fmla="*/ 0 w 88201"/>
                  <a:gd name="connsiteY2" fmla="*/ 2385 h 62677"/>
                  <a:gd name="connsiteX3" fmla="*/ 14954 w 88201"/>
                  <a:gd name="connsiteY3" fmla="*/ 2099 h 62677"/>
                  <a:gd name="connsiteX4" fmla="*/ 15526 w 88201"/>
                  <a:gd name="connsiteY4" fmla="*/ 7052 h 62677"/>
                  <a:gd name="connsiteX5" fmla="*/ 15907 w 88201"/>
                  <a:gd name="connsiteY5" fmla="*/ 12957 h 62677"/>
                  <a:gd name="connsiteX6" fmla="*/ 16097 w 88201"/>
                  <a:gd name="connsiteY6" fmla="*/ 12957 h 62677"/>
                  <a:gd name="connsiteX7" fmla="*/ 23146 w 88201"/>
                  <a:gd name="connsiteY7" fmla="*/ 3718 h 62677"/>
                  <a:gd name="connsiteX8" fmla="*/ 33433 w 88201"/>
                  <a:gd name="connsiteY8" fmla="*/ 575 h 62677"/>
                  <a:gd name="connsiteX9" fmla="*/ 44577 w 88201"/>
                  <a:gd name="connsiteY9" fmla="*/ 3527 h 62677"/>
                  <a:gd name="connsiteX10" fmla="*/ 50482 w 88201"/>
                  <a:gd name="connsiteY10" fmla="*/ 12481 h 62677"/>
                  <a:gd name="connsiteX11" fmla="*/ 50863 w 88201"/>
                  <a:gd name="connsiteY11" fmla="*/ 12481 h 62677"/>
                  <a:gd name="connsiteX12" fmla="*/ 58198 w 88201"/>
                  <a:gd name="connsiteY12" fmla="*/ 2956 h 62677"/>
                  <a:gd name="connsiteX13" fmla="*/ 69056 w 88201"/>
                  <a:gd name="connsiteY13" fmla="*/ 3 h 62677"/>
                  <a:gd name="connsiteX14" fmla="*/ 82868 w 88201"/>
                  <a:gd name="connsiteY14" fmla="*/ 6099 h 62677"/>
                  <a:gd name="connsiteX15" fmla="*/ 87535 w 88201"/>
                  <a:gd name="connsiteY15" fmla="*/ 22958 h 62677"/>
                  <a:gd name="connsiteX16" fmla="*/ 88202 w 88201"/>
                  <a:gd name="connsiteY16" fmla="*/ 61249 h 62677"/>
                  <a:gd name="connsiteX17" fmla="*/ 72676 w 88201"/>
                  <a:gd name="connsiteY17" fmla="*/ 61535 h 62677"/>
                  <a:gd name="connsiteX18" fmla="*/ 72104 w 88201"/>
                  <a:gd name="connsiteY18" fmla="*/ 27721 h 62677"/>
                  <a:gd name="connsiteX19" fmla="*/ 70009 w 88201"/>
                  <a:gd name="connsiteY19" fmla="*/ 17243 h 62677"/>
                  <a:gd name="connsiteX20" fmla="*/ 63246 w 88201"/>
                  <a:gd name="connsiteY20" fmla="*/ 13624 h 62677"/>
                  <a:gd name="connsiteX21" fmla="*/ 57626 w 88201"/>
                  <a:gd name="connsiteY21" fmla="*/ 15624 h 62677"/>
                  <a:gd name="connsiteX22" fmla="*/ 53721 w 88201"/>
                  <a:gd name="connsiteY22" fmla="*/ 20958 h 62677"/>
                  <a:gd name="connsiteX23" fmla="*/ 52292 w 88201"/>
                  <a:gd name="connsiteY23" fmla="*/ 28673 h 62677"/>
                  <a:gd name="connsiteX24" fmla="*/ 52864 w 88201"/>
                  <a:gd name="connsiteY24" fmla="*/ 61820 h 62677"/>
                  <a:gd name="connsiteX25" fmla="*/ 37338 w 88201"/>
                  <a:gd name="connsiteY25" fmla="*/ 62106 h 62677"/>
                  <a:gd name="connsiteX26" fmla="*/ 36766 w 88201"/>
                  <a:gd name="connsiteY26" fmla="*/ 28293 h 62677"/>
                  <a:gd name="connsiteX27" fmla="*/ 34671 w 88201"/>
                  <a:gd name="connsiteY27" fmla="*/ 17815 h 62677"/>
                  <a:gd name="connsiteX28" fmla="*/ 27908 w 88201"/>
                  <a:gd name="connsiteY28" fmla="*/ 14195 h 62677"/>
                  <a:gd name="connsiteX29" fmla="*/ 22193 w 88201"/>
                  <a:gd name="connsiteY29" fmla="*/ 16291 h 62677"/>
                  <a:gd name="connsiteX30" fmla="*/ 18288 w 88201"/>
                  <a:gd name="connsiteY30" fmla="*/ 21911 h 62677"/>
                  <a:gd name="connsiteX31" fmla="*/ 16954 w 88201"/>
                  <a:gd name="connsiteY31" fmla="*/ 30007 h 62677"/>
                  <a:gd name="connsiteX32" fmla="*/ 17526 w 88201"/>
                  <a:gd name="connsiteY32" fmla="*/ 62392 h 62677"/>
                  <a:gd name="connsiteX33" fmla="*/ 1810 w 88201"/>
                  <a:gd name="connsiteY33" fmla="*/ 62678 h 62677"/>
                  <a:gd name="connsiteX34" fmla="*/ 1048 w 88201"/>
                  <a:gd name="connsiteY34" fmla="*/ 15815 h 626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88201" h="62677">
                    <a:moveTo>
                      <a:pt x="667" y="15815"/>
                    </a:moveTo>
                    <a:cubicBezTo>
                      <a:pt x="667" y="13243"/>
                      <a:pt x="571" y="10576"/>
                      <a:pt x="381" y="7909"/>
                    </a:cubicBezTo>
                    <a:cubicBezTo>
                      <a:pt x="286" y="5242"/>
                      <a:pt x="95" y="3337"/>
                      <a:pt x="0" y="2385"/>
                    </a:cubicBezTo>
                    <a:lnTo>
                      <a:pt x="14954" y="2099"/>
                    </a:lnTo>
                    <a:cubicBezTo>
                      <a:pt x="15145" y="2956"/>
                      <a:pt x="15335" y="4575"/>
                      <a:pt x="15526" y="7052"/>
                    </a:cubicBezTo>
                    <a:cubicBezTo>
                      <a:pt x="15716" y="9528"/>
                      <a:pt x="15812" y="11528"/>
                      <a:pt x="15907" y="12957"/>
                    </a:cubicBezTo>
                    <a:lnTo>
                      <a:pt x="16097" y="12957"/>
                    </a:lnTo>
                    <a:cubicBezTo>
                      <a:pt x="17907" y="8766"/>
                      <a:pt x="20288" y="5718"/>
                      <a:pt x="23146" y="3718"/>
                    </a:cubicBezTo>
                    <a:cubicBezTo>
                      <a:pt x="26003" y="1718"/>
                      <a:pt x="29432" y="670"/>
                      <a:pt x="33433" y="575"/>
                    </a:cubicBezTo>
                    <a:cubicBezTo>
                      <a:pt x="38005" y="575"/>
                      <a:pt x="41720" y="1432"/>
                      <a:pt x="44577" y="3527"/>
                    </a:cubicBezTo>
                    <a:cubicBezTo>
                      <a:pt x="47435" y="5528"/>
                      <a:pt x="49435" y="8480"/>
                      <a:pt x="50482" y="12481"/>
                    </a:cubicBezTo>
                    <a:lnTo>
                      <a:pt x="50863" y="12481"/>
                    </a:lnTo>
                    <a:cubicBezTo>
                      <a:pt x="52864" y="8004"/>
                      <a:pt x="55245" y="4861"/>
                      <a:pt x="58198" y="2956"/>
                    </a:cubicBezTo>
                    <a:cubicBezTo>
                      <a:pt x="61055" y="1051"/>
                      <a:pt x="64675" y="98"/>
                      <a:pt x="69056" y="3"/>
                    </a:cubicBezTo>
                    <a:cubicBezTo>
                      <a:pt x="75343" y="-92"/>
                      <a:pt x="79915" y="1908"/>
                      <a:pt x="82868" y="6099"/>
                    </a:cubicBezTo>
                    <a:cubicBezTo>
                      <a:pt x="85820" y="10290"/>
                      <a:pt x="87344" y="15910"/>
                      <a:pt x="87535" y="22958"/>
                    </a:cubicBezTo>
                    <a:lnTo>
                      <a:pt x="88202" y="61249"/>
                    </a:lnTo>
                    <a:lnTo>
                      <a:pt x="72676" y="61535"/>
                    </a:lnTo>
                    <a:lnTo>
                      <a:pt x="72104" y="27721"/>
                    </a:lnTo>
                    <a:cubicBezTo>
                      <a:pt x="72104" y="23149"/>
                      <a:pt x="71342" y="19720"/>
                      <a:pt x="70009" y="17243"/>
                    </a:cubicBezTo>
                    <a:cubicBezTo>
                      <a:pt x="68675" y="14767"/>
                      <a:pt x="66389" y="13624"/>
                      <a:pt x="63246" y="13624"/>
                    </a:cubicBezTo>
                    <a:cubicBezTo>
                      <a:pt x="61150" y="13624"/>
                      <a:pt x="59246" y="14291"/>
                      <a:pt x="57626" y="15624"/>
                    </a:cubicBezTo>
                    <a:cubicBezTo>
                      <a:pt x="56007" y="16862"/>
                      <a:pt x="54673" y="18672"/>
                      <a:pt x="53721" y="20958"/>
                    </a:cubicBezTo>
                    <a:cubicBezTo>
                      <a:pt x="52769" y="23244"/>
                      <a:pt x="52292" y="25816"/>
                      <a:pt x="52292" y="28673"/>
                    </a:cubicBezTo>
                    <a:lnTo>
                      <a:pt x="52864" y="61820"/>
                    </a:lnTo>
                    <a:lnTo>
                      <a:pt x="37338" y="62106"/>
                    </a:lnTo>
                    <a:lnTo>
                      <a:pt x="36766" y="28293"/>
                    </a:lnTo>
                    <a:cubicBezTo>
                      <a:pt x="36766" y="23720"/>
                      <a:pt x="36004" y="20291"/>
                      <a:pt x="34671" y="17815"/>
                    </a:cubicBezTo>
                    <a:cubicBezTo>
                      <a:pt x="33338" y="15339"/>
                      <a:pt x="31052" y="14195"/>
                      <a:pt x="27908" y="14195"/>
                    </a:cubicBezTo>
                    <a:cubicBezTo>
                      <a:pt x="25813" y="14195"/>
                      <a:pt x="23908" y="14957"/>
                      <a:pt x="22193" y="16291"/>
                    </a:cubicBezTo>
                    <a:cubicBezTo>
                      <a:pt x="20479" y="17624"/>
                      <a:pt x="19240" y="19529"/>
                      <a:pt x="18288" y="21911"/>
                    </a:cubicBezTo>
                    <a:cubicBezTo>
                      <a:pt x="17336" y="24292"/>
                      <a:pt x="16954" y="27054"/>
                      <a:pt x="16954" y="30007"/>
                    </a:cubicBezTo>
                    <a:lnTo>
                      <a:pt x="17526" y="62392"/>
                    </a:lnTo>
                    <a:lnTo>
                      <a:pt x="1810" y="62678"/>
                    </a:lnTo>
                    <a:lnTo>
                      <a:pt x="1048" y="15815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20" name="Freeform: Shape 253">
                <a:extLst>
                  <a:ext uri="{FF2B5EF4-FFF2-40B4-BE49-F238E27FC236}">
                    <a16:creationId xmlns:a16="http://schemas.microsoft.com/office/drawing/2014/main" id="{34976B49-2D03-8F60-0BF9-5CCAD8EB28E0}"/>
                  </a:ext>
                </a:extLst>
              </p:cNvPr>
              <p:cNvSpPr/>
              <p:nvPr/>
            </p:nvSpPr>
            <p:spPr>
              <a:xfrm>
                <a:off x="6157531" y="2585430"/>
                <a:ext cx="50987" cy="62555"/>
              </a:xfrm>
              <a:custGeom>
                <a:avLst/>
                <a:gdLst>
                  <a:gd name="connsiteX0" fmla="*/ 11430 w 50987"/>
                  <a:gd name="connsiteY0" fmla="*/ 60138 h 62555"/>
                  <a:gd name="connsiteX1" fmla="*/ 0 w 50987"/>
                  <a:gd name="connsiteY1" fmla="*/ 53090 h 62555"/>
                  <a:gd name="connsiteX2" fmla="*/ 7525 w 50987"/>
                  <a:gd name="connsiteY2" fmla="*/ 42612 h 62555"/>
                  <a:gd name="connsiteX3" fmla="*/ 16574 w 50987"/>
                  <a:gd name="connsiteY3" fmla="*/ 48804 h 62555"/>
                  <a:gd name="connsiteX4" fmla="*/ 25718 w 50987"/>
                  <a:gd name="connsiteY4" fmla="*/ 51090 h 62555"/>
                  <a:gd name="connsiteX5" fmla="*/ 33528 w 50987"/>
                  <a:gd name="connsiteY5" fmla="*/ 50137 h 62555"/>
                  <a:gd name="connsiteX6" fmla="*/ 36481 w 50987"/>
                  <a:gd name="connsiteY6" fmla="*/ 45756 h 62555"/>
                  <a:gd name="connsiteX7" fmla="*/ 35147 w 50987"/>
                  <a:gd name="connsiteY7" fmla="*/ 41946 h 62555"/>
                  <a:gd name="connsiteX8" fmla="*/ 31528 w 50987"/>
                  <a:gd name="connsiteY8" fmla="*/ 39660 h 62555"/>
                  <a:gd name="connsiteX9" fmla="*/ 25241 w 50987"/>
                  <a:gd name="connsiteY9" fmla="*/ 37659 h 62555"/>
                  <a:gd name="connsiteX10" fmla="*/ 22288 w 50987"/>
                  <a:gd name="connsiteY10" fmla="*/ 36802 h 62555"/>
                  <a:gd name="connsiteX11" fmla="*/ 12287 w 50987"/>
                  <a:gd name="connsiteY11" fmla="*/ 32897 h 62555"/>
                  <a:gd name="connsiteX12" fmla="*/ 5905 w 50987"/>
                  <a:gd name="connsiteY12" fmla="*/ 27087 h 62555"/>
                  <a:gd name="connsiteX13" fmla="*/ 3715 w 50987"/>
                  <a:gd name="connsiteY13" fmla="*/ 17467 h 62555"/>
                  <a:gd name="connsiteX14" fmla="*/ 6858 w 50987"/>
                  <a:gd name="connsiteY14" fmla="*/ 7751 h 62555"/>
                  <a:gd name="connsiteX15" fmla="*/ 15145 w 50987"/>
                  <a:gd name="connsiteY15" fmla="*/ 1750 h 62555"/>
                  <a:gd name="connsiteX16" fmla="*/ 28004 w 50987"/>
                  <a:gd name="connsiteY16" fmla="*/ 36 h 62555"/>
                  <a:gd name="connsiteX17" fmla="*/ 40958 w 50987"/>
                  <a:gd name="connsiteY17" fmla="*/ 2703 h 62555"/>
                  <a:gd name="connsiteX18" fmla="*/ 50768 w 50987"/>
                  <a:gd name="connsiteY18" fmla="*/ 9656 h 62555"/>
                  <a:gd name="connsiteX19" fmla="*/ 42386 w 50987"/>
                  <a:gd name="connsiteY19" fmla="*/ 18609 h 62555"/>
                  <a:gd name="connsiteX20" fmla="*/ 27718 w 50987"/>
                  <a:gd name="connsiteY20" fmla="*/ 11751 h 62555"/>
                  <a:gd name="connsiteX21" fmla="*/ 18288 w 50987"/>
                  <a:gd name="connsiteY21" fmla="*/ 16704 h 62555"/>
                  <a:gd name="connsiteX22" fmla="*/ 19336 w 50987"/>
                  <a:gd name="connsiteY22" fmla="*/ 20038 h 62555"/>
                  <a:gd name="connsiteX23" fmla="*/ 22384 w 50987"/>
                  <a:gd name="connsiteY23" fmla="*/ 22038 h 62555"/>
                  <a:gd name="connsiteX24" fmla="*/ 27908 w 50987"/>
                  <a:gd name="connsiteY24" fmla="*/ 23753 h 62555"/>
                  <a:gd name="connsiteX25" fmla="*/ 30766 w 50987"/>
                  <a:gd name="connsiteY25" fmla="*/ 24515 h 62555"/>
                  <a:gd name="connsiteX26" fmla="*/ 41624 w 50987"/>
                  <a:gd name="connsiteY26" fmla="*/ 28515 h 62555"/>
                  <a:gd name="connsiteX27" fmla="*/ 48578 w 50987"/>
                  <a:gd name="connsiteY27" fmla="*/ 34612 h 62555"/>
                  <a:gd name="connsiteX28" fmla="*/ 50959 w 50987"/>
                  <a:gd name="connsiteY28" fmla="*/ 44898 h 62555"/>
                  <a:gd name="connsiteX29" fmla="*/ 47625 w 50987"/>
                  <a:gd name="connsiteY29" fmla="*/ 54709 h 62555"/>
                  <a:gd name="connsiteX30" fmla="*/ 38862 w 50987"/>
                  <a:gd name="connsiteY30" fmla="*/ 60805 h 62555"/>
                  <a:gd name="connsiteX31" fmla="*/ 25337 w 50987"/>
                  <a:gd name="connsiteY31" fmla="*/ 62520 h 62555"/>
                  <a:gd name="connsiteX32" fmla="*/ 11525 w 50987"/>
                  <a:gd name="connsiteY32" fmla="*/ 59948 h 625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50987" h="62555">
                    <a:moveTo>
                      <a:pt x="11430" y="60138"/>
                    </a:moveTo>
                    <a:cubicBezTo>
                      <a:pt x="7429" y="58614"/>
                      <a:pt x="3620" y="56233"/>
                      <a:pt x="0" y="53090"/>
                    </a:cubicBezTo>
                    <a:lnTo>
                      <a:pt x="7525" y="42612"/>
                    </a:lnTo>
                    <a:cubicBezTo>
                      <a:pt x="10763" y="45279"/>
                      <a:pt x="13811" y="47375"/>
                      <a:pt x="16574" y="48804"/>
                    </a:cubicBezTo>
                    <a:cubicBezTo>
                      <a:pt x="19336" y="50233"/>
                      <a:pt x="22384" y="50994"/>
                      <a:pt x="25718" y="51090"/>
                    </a:cubicBezTo>
                    <a:cubicBezTo>
                      <a:pt x="29051" y="51185"/>
                      <a:pt x="31623" y="50899"/>
                      <a:pt x="33528" y="50137"/>
                    </a:cubicBezTo>
                    <a:cubicBezTo>
                      <a:pt x="35433" y="49375"/>
                      <a:pt x="36386" y="47946"/>
                      <a:pt x="36481" y="45756"/>
                    </a:cubicBezTo>
                    <a:cubicBezTo>
                      <a:pt x="36481" y="44232"/>
                      <a:pt x="36100" y="42898"/>
                      <a:pt x="35147" y="41946"/>
                    </a:cubicBezTo>
                    <a:cubicBezTo>
                      <a:pt x="34195" y="40993"/>
                      <a:pt x="33052" y="40231"/>
                      <a:pt x="31528" y="39660"/>
                    </a:cubicBezTo>
                    <a:cubicBezTo>
                      <a:pt x="30004" y="39088"/>
                      <a:pt x="27908" y="38421"/>
                      <a:pt x="25241" y="37659"/>
                    </a:cubicBezTo>
                    <a:lnTo>
                      <a:pt x="22288" y="36802"/>
                    </a:lnTo>
                    <a:cubicBezTo>
                      <a:pt x="18288" y="35564"/>
                      <a:pt x="14954" y="34326"/>
                      <a:pt x="12287" y="32897"/>
                    </a:cubicBezTo>
                    <a:cubicBezTo>
                      <a:pt x="9620" y="31468"/>
                      <a:pt x="7525" y="29563"/>
                      <a:pt x="5905" y="27087"/>
                    </a:cubicBezTo>
                    <a:cubicBezTo>
                      <a:pt x="4286" y="24610"/>
                      <a:pt x="3524" y="21372"/>
                      <a:pt x="3715" y="17467"/>
                    </a:cubicBezTo>
                    <a:cubicBezTo>
                      <a:pt x="3905" y="13656"/>
                      <a:pt x="4858" y="10418"/>
                      <a:pt x="6858" y="7751"/>
                    </a:cubicBezTo>
                    <a:cubicBezTo>
                      <a:pt x="8763" y="5084"/>
                      <a:pt x="11525" y="3084"/>
                      <a:pt x="15145" y="1750"/>
                    </a:cubicBezTo>
                    <a:cubicBezTo>
                      <a:pt x="18764" y="417"/>
                      <a:pt x="23051" y="-155"/>
                      <a:pt x="28004" y="36"/>
                    </a:cubicBezTo>
                    <a:cubicBezTo>
                      <a:pt x="32766" y="226"/>
                      <a:pt x="37052" y="1083"/>
                      <a:pt x="40958" y="2703"/>
                    </a:cubicBezTo>
                    <a:cubicBezTo>
                      <a:pt x="44863" y="4322"/>
                      <a:pt x="48101" y="6608"/>
                      <a:pt x="50768" y="9656"/>
                    </a:cubicBezTo>
                    <a:lnTo>
                      <a:pt x="42386" y="18609"/>
                    </a:lnTo>
                    <a:cubicBezTo>
                      <a:pt x="38291" y="14228"/>
                      <a:pt x="33338" y="11942"/>
                      <a:pt x="27718" y="11751"/>
                    </a:cubicBezTo>
                    <a:cubicBezTo>
                      <a:pt x="21527" y="11466"/>
                      <a:pt x="18383" y="13180"/>
                      <a:pt x="18288" y="16704"/>
                    </a:cubicBezTo>
                    <a:cubicBezTo>
                      <a:pt x="18288" y="18038"/>
                      <a:pt x="18574" y="19181"/>
                      <a:pt x="19336" y="20038"/>
                    </a:cubicBezTo>
                    <a:cubicBezTo>
                      <a:pt x="20098" y="20896"/>
                      <a:pt x="21146" y="21562"/>
                      <a:pt x="22384" y="22038"/>
                    </a:cubicBezTo>
                    <a:cubicBezTo>
                      <a:pt x="23622" y="22515"/>
                      <a:pt x="25527" y="23086"/>
                      <a:pt x="27908" y="23753"/>
                    </a:cubicBezTo>
                    <a:lnTo>
                      <a:pt x="30766" y="24515"/>
                    </a:lnTo>
                    <a:cubicBezTo>
                      <a:pt x="35147" y="25848"/>
                      <a:pt x="38767" y="27182"/>
                      <a:pt x="41624" y="28515"/>
                    </a:cubicBezTo>
                    <a:cubicBezTo>
                      <a:pt x="44482" y="29944"/>
                      <a:pt x="46768" y="31944"/>
                      <a:pt x="48578" y="34612"/>
                    </a:cubicBezTo>
                    <a:cubicBezTo>
                      <a:pt x="50387" y="37279"/>
                      <a:pt x="51149" y="40708"/>
                      <a:pt x="50959" y="44898"/>
                    </a:cubicBezTo>
                    <a:cubicBezTo>
                      <a:pt x="50768" y="48708"/>
                      <a:pt x="49721" y="52042"/>
                      <a:pt x="47625" y="54709"/>
                    </a:cubicBezTo>
                    <a:cubicBezTo>
                      <a:pt x="45529" y="57376"/>
                      <a:pt x="42672" y="59472"/>
                      <a:pt x="38862" y="60805"/>
                    </a:cubicBezTo>
                    <a:cubicBezTo>
                      <a:pt x="35052" y="62139"/>
                      <a:pt x="30575" y="62710"/>
                      <a:pt x="25337" y="62520"/>
                    </a:cubicBezTo>
                    <a:cubicBezTo>
                      <a:pt x="20098" y="62329"/>
                      <a:pt x="15526" y="61472"/>
                      <a:pt x="11525" y="59948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21" name="Freeform: Shape 254">
                <a:extLst>
                  <a:ext uri="{FF2B5EF4-FFF2-40B4-BE49-F238E27FC236}">
                    <a16:creationId xmlns:a16="http://schemas.microsoft.com/office/drawing/2014/main" id="{4C695E9B-AB09-8B66-CE0D-8C87882E38BF}"/>
                  </a:ext>
                </a:extLst>
              </p:cNvPr>
              <p:cNvSpPr/>
              <p:nvPr/>
            </p:nvSpPr>
            <p:spPr>
              <a:xfrm>
                <a:off x="6217253" y="2588973"/>
                <a:ext cx="60872" cy="62714"/>
              </a:xfrm>
              <a:custGeom>
                <a:avLst/>
                <a:gdLst>
                  <a:gd name="connsiteX0" fmla="*/ 12001 w 60872"/>
                  <a:gd name="connsiteY0" fmla="*/ 57357 h 62714"/>
                  <a:gd name="connsiteX1" fmla="*/ 2476 w 60872"/>
                  <a:gd name="connsiteY1" fmla="*/ 45356 h 62714"/>
                  <a:gd name="connsiteX2" fmla="*/ 95 w 60872"/>
                  <a:gd name="connsiteY2" fmla="*/ 29163 h 62714"/>
                  <a:gd name="connsiteX3" fmla="*/ 4571 w 60872"/>
                  <a:gd name="connsiteY3" fmla="*/ 13733 h 62714"/>
                  <a:gd name="connsiteX4" fmla="*/ 15621 w 60872"/>
                  <a:gd name="connsiteY4" fmla="*/ 3160 h 62714"/>
                  <a:gd name="connsiteX5" fmla="*/ 32670 w 60872"/>
                  <a:gd name="connsiteY5" fmla="*/ 112 h 62714"/>
                  <a:gd name="connsiteX6" fmla="*/ 49530 w 60872"/>
                  <a:gd name="connsiteY6" fmla="*/ 5446 h 62714"/>
                  <a:gd name="connsiteX7" fmla="*/ 58674 w 60872"/>
                  <a:gd name="connsiteY7" fmla="*/ 17257 h 62714"/>
                  <a:gd name="connsiteX8" fmla="*/ 60769 w 60872"/>
                  <a:gd name="connsiteY8" fmla="*/ 33354 h 62714"/>
                  <a:gd name="connsiteX9" fmla="*/ 56197 w 60872"/>
                  <a:gd name="connsiteY9" fmla="*/ 49070 h 62714"/>
                  <a:gd name="connsiteX10" fmla="*/ 45053 w 60872"/>
                  <a:gd name="connsiteY10" fmla="*/ 59643 h 62714"/>
                  <a:gd name="connsiteX11" fmla="*/ 28003 w 60872"/>
                  <a:gd name="connsiteY11" fmla="*/ 62596 h 62714"/>
                  <a:gd name="connsiteX12" fmla="*/ 12001 w 60872"/>
                  <a:gd name="connsiteY12" fmla="*/ 57357 h 62714"/>
                  <a:gd name="connsiteX13" fmla="*/ 39719 w 60872"/>
                  <a:gd name="connsiteY13" fmla="*/ 46022 h 62714"/>
                  <a:gd name="connsiteX14" fmla="*/ 44386 w 60872"/>
                  <a:gd name="connsiteY14" fmla="*/ 32211 h 62714"/>
                  <a:gd name="connsiteX15" fmla="*/ 41814 w 60872"/>
                  <a:gd name="connsiteY15" fmla="*/ 18114 h 62714"/>
                  <a:gd name="connsiteX16" fmla="*/ 32004 w 60872"/>
                  <a:gd name="connsiteY16" fmla="*/ 12590 h 62714"/>
                  <a:gd name="connsiteX17" fmla="*/ 21050 w 60872"/>
                  <a:gd name="connsiteY17" fmla="*/ 16781 h 62714"/>
                  <a:gd name="connsiteX18" fmla="*/ 16383 w 60872"/>
                  <a:gd name="connsiteY18" fmla="*/ 30401 h 62714"/>
                  <a:gd name="connsiteX19" fmla="*/ 17335 w 60872"/>
                  <a:gd name="connsiteY19" fmla="*/ 40688 h 62714"/>
                  <a:gd name="connsiteX20" fmla="*/ 21621 w 60872"/>
                  <a:gd name="connsiteY20" fmla="*/ 47546 h 62714"/>
                  <a:gd name="connsiteX21" fmla="*/ 28575 w 60872"/>
                  <a:gd name="connsiteY21" fmla="*/ 50213 h 62714"/>
                  <a:gd name="connsiteX22" fmla="*/ 39624 w 60872"/>
                  <a:gd name="connsiteY22" fmla="*/ 46022 h 62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60872" h="62714">
                    <a:moveTo>
                      <a:pt x="12001" y="57357"/>
                    </a:moveTo>
                    <a:cubicBezTo>
                      <a:pt x="7620" y="54309"/>
                      <a:pt x="4476" y="50309"/>
                      <a:pt x="2476" y="45356"/>
                    </a:cubicBezTo>
                    <a:cubicBezTo>
                      <a:pt x="476" y="40403"/>
                      <a:pt x="-286" y="35069"/>
                      <a:pt x="95" y="29163"/>
                    </a:cubicBezTo>
                    <a:cubicBezTo>
                      <a:pt x="476" y="23448"/>
                      <a:pt x="2000" y="18209"/>
                      <a:pt x="4571" y="13733"/>
                    </a:cubicBezTo>
                    <a:cubicBezTo>
                      <a:pt x="7143" y="9161"/>
                      <a:pt x="10858" y="5636"/>
                      <a:pt x="15621" y="3160"/>
                    </a:cubicBezTo>
                    <a:cubicBezTo>
                      <a:pt x="20383" y="683"/>
                      <a:pt x="26098" y="-364"/>
                      <a:pt x="32670" y="112"/>
                    </a:cubicBezTo>
                    <a:cubicBezTo>
                      <a:pt x="39624" y="588"/>
                      <a:pt x="45243" y="2398"/>
                      <a:pt x="49530" y="5446"/>
                    </a:cubicBezTo>
                    <a:cubicBezTo>
                      <a:pt x="53816" y="8494"/>
                      <a:pt x="56864" y="12494"/>
                      <a:pt x="58674" y="17257"/>
                    </a:cubicBezTo>
                    <a:cubicBezTo>
                      <a:pt x="60483" y="22019"/>
                      <a:pt x="61150" y="27449"/>
                      <a:pt x="60769" y="33354"/>
                    </a:cubicBezTo>
                    <a:cubicBezTo>
                      <a:pt x="60388" y="39260"/>
                      <a:pt x="58864" y="44498"/>
                      <a:pt x="56197" y="49070"/>
                    </a:cubicBezTo>
                    <a:cubicBezTo>
                      <a:pt x="53530" y="53642"/>
                      <a:pt x="49815" y="57167"/>
                      <a:pt x="45053" y="59643"/>
                    </a:cubicBezTo>
                    <a:cubicBezTo>
                      <a:pt x="40290" y="62120"/>
                      <a:pt x="34575" y="63072"/>
                      <a:pt x="28003" y="62596"/>
                    </a:cubicBezTo>
                    <a:cubicBezTo>
                      <a:pt x="21717" y="62120"/>
                      <a:pt x="16383" y="60405"/>
                      <a:pt x="12001" y="57357"/>
                    </a:cubicBezTo>
                    <a:close/>
                    <a:moveTo>
                      <a:pt x="39719" y="46022"/>
                    </a:moveTo>
                    <a:cubicBezTo>
                      <a:pt x="42481" y="42879"/>
                      <a:pt x="44005" y="38307"/>
                      <a:pt x="44386" y="32211"/>
                    </a:cubicBezTo>
                    <a:cubicBezTo>
                      <a:pt x="44767" y="26210"/>
                      <a:pt x="43910" y="21543"/>
                      <a:pt x="41814" y="18114"/>
                    </a:cubicBezTo>
                    <a:cubicBezTo>
                      <a:pt x="39719" y="14685"/>
                      <a:pt x="36385" y="12875"/>
                      <a:pt x="32004" y="12590"/>
                    </a:cubicBezTo>
                    <a:cubicBezTo>
                      <a:pt x="27431" y="12304"/>
                      <a:pt x="23717" y="13637"/>
                      <a:pt x="21050" y="16781"/>
                    </a:cubicBezTo>
                    <a:cubicBezTo>
                      <a:pt x="18383" y="19829"/>
                      <a:pt x="16859" y="24401"/>
                      <a:pt x="16383" y="30401"/>
                    </a:cubicBezTo>
                    <a:cubicBezTo>
                      <a:pt x="16097" y="34402"/>
                      <a:pt x="16383" y="37831"/>
                      <a:pt x="17335" y="40688"/>
                    </a:cubicBezTo>
                    <a:cubicBezTo>
                      <a:pt x="18288" y="43546"/>
                      <a:pt x="19716" y="45832"/>
                      <a:pt x="21621" y="47546"/>
                    </a:cubicBezTo>
                    <a:cubicBezTo>
                      <a:pt x="23526" y="49166"/>
                      <a:pt x="25812" y="50118"/>
                      <a:pt x="28575" y="50213"/>
                    </a:cubicBezTo>
                    <a:cubicBezTo>
                      <a:pt x="33242" y="50499"/>
                      <a:pt x="36861" y="49166"/>
                      <a:pt x="39624" y="46022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22" name="Freeform: Shape 255">
                <a:extLst>
                  <a:ext uri="{FF2B5EF4-FFF2-40B4-BE49-F238E27FC236}">
                    <a16:creationId xmlns:a16="http://schemas.microsoft.com/office/drawing/2014/main" id="{D8473609-4264-A30C-0997-AE839A3A86A1}"/>
                  </a:ext>
                </a:extLst>
              </p:cNvPr>
              <p:cNvSpPr/>
              <p:nvPr/>
            </p:nvSpPr>
            <p:spPr>
              <a:xfrm>
                <a:off x="6288609" y="2571178"/>
                <a:ext cx="23608" cy="85082"/>
              </a:xfrm>
              <a:custGeom>
                <a:avLst/>
                <a:gdLst>
                  <a:gd name="connsiteX0" fmla="*/ 3034 w 23608"/>
                  <a:gd name="connsiteY0" fmla="*/ 79534 h 85082"/>
                  <a:gd name="connsiteX1" fmla="*/ 81 w 23608"/>
                  <a:gd name="connsiteY1" fmla="*/ 68008 h 85082"/>
                  <a:gd name="connsiteX2" fmla="*/ 6368 w 23608"/>
                  <a:gd name="connsiteY2" fmla="*/ 0 h 85082"/>
                  <a:gd name="connsiteX3" fmla="*/ 21989 w 23608"/>
                  <a:gd name="connsiteY3" fmla="*/ 1429 h 85082"/>
                  <a:gd name="connsiteX4" fmla="*/ 16083 w 23608"/>
                  <a:gd name="connsiteY4" fmla="*/ 65532 h 85082"/>
                  <a:gd name="connsiteX5" fmla="*/ 16083 w 23608"/>
                  <a:gd name="connsiteY5" fmla="*/ 69628 h 85082"/>
                  <a:gd name="connsiteX6" fmla="*/ 17417 w 23608"/>
                  <a:gd name="connsiteY6" fmla="*/ 71818 h 85082"/>
                  <a:gd name="connsiteX7" fmla="*/ 20750 w 23608"/>
                  <a:gd name="connsiteY7" fmla="*/ 72771 h 85082"/>
                  <a:gd name="connsiteX8" fmla="*/ 23608 w 23608"/>
                  <a:gd name="connsiteY8" fmla="*/ 72771 h 85082"/>
                  <a:gd name="connsiteX9" fmla="*/ 23037 w 23608"/>
                  <a:gd name="connsiteY9" fmla="*/ 84868 h 85082"/>
                  <a:gd name="connsiteX10" fmla="*/ 14655 w 23608"/>
                  <a:gd name="connsiteY10" fmla="*/ 84868 h 85082"/>
                  <a:gd name="connsiteX11" fmla="*/ 2939 w 23608"/>
                  <a:gd name="connsiteY11" fmla="*/ 79534 h 850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3608" h="85082">
                    <a:moveTo>
                      <a:pt x="3034" y="79534"/>
                    </a:moveTo>
                    <a:cubicBezTo>
                      <a:pt x="653" y="76486"/>
                      <a:pt x="-300" y="72676"/>
                      <a:pt x="81" y="68008"/>
                    </a:cubicBezTo>
                    <a:lnTo>
                      <a:pt x="6368" y="0"/>
                    </a:lnTo>
                    <a:lnTo>
                      <a:pt x="21989" y="1429"/>
                    </a:lnTo>
                    <a:lnTo>
                      <a:pt x="16083" y="65532"/>
                    </a:lnTo>
                    <a:cubicBezTo>
                      <a:pt x="15893" y="67246"/>
                      <a:pt x="15893" y="68580"/>
                      <a:pt x="16083" y="69628"/>
                    </a:cubicBezTo>
                    <a:cubicBezTo>
                      <a:pt x="16274" y="70580"/>
                      <a:pt x="16750" y="71342"/>
                      <a:pt x="17417" y="71818"/>
                    </a:cubicBezTo>
                    <a:cubicBezTo>
                      <a:pt x="18179" y="72295"/>
                      <a:pt x="19226" y="72676"/>
                      <a:pt x="20750" y="72771"/>
                    </a:cubicBezTo>
                    <a:cubicBezTo>
                      <a:pt x="21608" y="72771"/>
                      <a:pt x="22560" y="72771"/>
                      <a:pt x="23608" y="72771"/>
                    </a:cubicBezTo>
                    <a:lnTo>
                      <a:pt x="23037" y="84868"/>
                    </a:lnTo>
                    <a:cubicBezTo>
                      <a:pt x="20274" y="85154"/>
                      <a:pt x="17512" y="85154"/>
                      <a:pt x="14655" y="84868"/>
                    </a:cubicBezTo>
                    <a:cubicBezTo>
                      <a:pt x="9225" y="84392"/>
                      <a:pt x="5320" y="82582"/>
                      <a:pt x="2939" y="79534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23" name="Freeform: Shape 256">
                <a:extLst>
                  <a:ext uri="{FF2B5EF4-FFF2-40B4-BE49-F238E27FC236}">
                    <a16:creationId xmlns:a16="http://schemas.microsoft.com/office/drawing/2014/main" id="{4FB67998-EBC4-0DB6-C35B-E54E9DB6DB6B}"/>
                  </a:ext>
                </a:extLst>
              </p:cNvPr>
              <p:cNvSpPr/>
              <p:nvPr/>
            </p:nvSpPr>
            <p:spPr>
              <a:xfrm>
                <a:off x="6322293" y="2596800"/>
                <a:ext cx="59170" cy="66389"/>
              </a:xfrm>
              <a:custGeom>
                <a:avLst/>
                <a:gdLst>
                  <a:gd name="connsiteX0" fmla="*/ 3068 w 59170"/>
                  <a:gd name="connsiteY0" fmla="*/ 55340 h 66389"/>
                  <a:gd name="connsiteX1" fmla="*/ 306 w 59170"/>
                  <a:gd name="connsiteY1" fmla="*/ 38005 h 66389"/>
                  <a:gd name="connsiteX2" fmla="*/ 4783 w 59170"/>
                  <a:gd name="connsiteY2" fmla="*/ 0 h 66389"/>
                  <a:gd name="connsiteX3" fmla="*/ 20403 w 59170"/>
                  <a:gd name="connsiteY3" fmla="*/ 1810 h 66389"/>
                  <a:gd name="connsiteX4" fmla="*/ 16498 w 59170"/>
                  <a:gd name="connsiteY4" fmla="*/ 35433 h 66389"/>
                  <a:gd name="connsiteX5" fmla="*/ 17546 w 59170"/>
                  <a:gd name="connsiteY5" fmla="*/ 46101 h 66389"/>
                  <a:gd name="connsiteX6" fmla="*/ 24976 w 59170"/>
                  <a:gd name="connsiteY6" fmla="*/ 50673 h 66389"/>
                  <a:gd name="connsiteX7" fmla="*/ 31929 w 59170"/>
                  <a:gd name="connsiteY7" fmla="*/ 49530 h 66389"/>
                  <a:gd name="connsiteX8" fmla="*/ 37263 w 59170"/>
                  <a:gd name="connsiteY8" fmla="*/ 44577 h 66389"/>
                  <a:gd name="connsiteX9" fmla="*/ 39930 w 59170"/>
                  <a:gd name="connsiteY9" fmla="*/ 36671 h 66389"/>
                  <a:gd name="connsiteX10" fmla="*/ 43644 w 59170"/>
                  <a:gd name="connsiteY10" fmla="*/ 4572 h 66389"/>
                  <a:gd name="connsiteX11" fmla="*/ 59170 w 59170"/>
                  <a:gd name="connsiteY11" fmla="*/ 6382 h 66389"/>
                  <a:gd name="connsiteX12" fmla="*/ 53741 w 59170"/>
                  <a:gd name="connsiteY12" fmla="*/ 52864 h 66389"/>
                  <a:gd name="connsiteX13" fmla="*/ 52979 w 59170"/>
                  <a:gd name="connsiteY13" fmla="*/ 60769 h 66389"/>
                  <a:gd name="connsiteX14" fmla="*/ 52598 w 59170"/>
                  <a:gd name="connsiteY14" fmla="*/ 66389 h 66389"/>
                  <a:gd name="connsiteX15" fmla="*/ 37739 w 59170"/>
                  <a:gd name="connsiteY15" fmla="*/ 64675 h 66389"/>
                  <a:gd name="connsiteX16" fmla="*/ 37929 w 59170"/>
                  <a:gd name="connsiteY16" fmla="*/ 59626 h 66389"/>
                  <a:gd name="connsiteX17" fmla="*/ 38310 w 59170"/>
                  <a:gd name="connsiteY17" fmla="*/ 53816 h 66389"/>
                  <a:gd name="connsiteX18" fmla="*/ 38025 w 59170"/>
                  <a:gd name="connsiteY18" fmla="*/ 53816 h 66389"/>
                  <a:gd name="connsiteX19" fmla="*/ 29167 w 59170"/>
                  <a:gd name="connsiteY19" fmla="*/ 61913 h 66389"/>
                  <a:gd name="connsiteX20" fmla="*/ 17355 w 59170"/>
                  <a:gd name="connsiteY20" fmla="*/ 63436 h 66389"/>
                  <a:gd name="connsiteX21" fmla="*/ 3068 w 59170"/>
                  <a:gd name="connsiteY21" fmla="*/ 55435 h 663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59170" h="66389">
                    <a:moveTo>
                      <a:pt x="3068" y="55340"/>
                    </a:moveTo>
                    <a:cubicBezTo>
                      <a:pt x="401" y="50768"/>
                      <a:pt x="-551" y="45053"/>
                      <a:pt x="306" y="38005"/>
                    </a:cubicBezTo>
                    <a:lnTo>
                      <a:pt x="4783" y="0"/>
                    </a:lnTo>
                    <a:lnTo>
                      <a:pt x="20403" y="1810"/>
                    </a:lnTo>
                    <a:lnTo>
                      <a:pt x="16498" y="35433"/>
                    </a:lnTo>
                    <a:cubicBezTo>
                      <a:pt x="16022" y="39910"/>
                      <a:pt x="16308" y="43434"/>
                      <a:pt x="17546" y="46101"/>
                    </a:cubicBezTo>
                    <a:cubicBezTo>
                      <a:pt x="18784" y="48768"/>
                      <a:pt x="21261" y="50292"/>
                      <a:pt x="24976" y="50673"/>
                    </a:cubicBezTo>
                    <a:cubicBezTo>
                      <a:pt x="27452" y="50959"/>
                      <a:pt x="29738" y="50578"/>
                      <a:pt x="31929" y="49530"/>
                    </a:cubicBezTo>
                    <a:cubicBezTo>
                      <a:pt x="34119" y="48482"/>
                      <a:pt x="35834" y="46768"/>
                      <a:pt x="37263" y="44577"/>
                    </a:cubicBezTo>
                    <a:cubicBezTo>
                      <a:pt x="38692" y="42386"/>
                      <a:pt x="39549" y="39719"/>
                      <a:pt x="39930" y="36671"/>
                    </a:cubicBezTo>
                    <a:lnTo>
                      <a:pt x="43644" y="4572"/>
                    </a:lnTo>
                    <a:lnTo>
                      <a:pt x="59170" y="6382"/>
                    </a:lnTo>
                    <a:lnTo>
                      <a:pt x="53741" y="52864"/>
                    </a:lnTo>
                    <a:cubicBezTo>
                      <a:pt x="53455" y="55340"/>
                      <a:pt x="53169" y="58007"/>
                      <a:pt x="52979" y="60769"/>
                    </a:cubicBezTo>
                    <a:cubicBezTo>
                      <a:pt x="52788" y="63532"/>
                      <a:pt x="52598" y="65342"/>
                      <a:pt x="52598" y="66389"/>
                    </a:cubicBezTo>
                    <a:lnTo>
                      <a:pt x="37739" y="64675"/>
                    </a:lnTo>
                    <a:cubicBezTo>
                      <a:pt x="37739" y="63817"/>
                      <a:pt x="37739" y="62103"/>
                      <a:pt x="37929" y="59626"/>
                    </a:cubicBezTo>
                    <a:cubicBezTo>
                      <a:pt x="38025" y="57150"/>
                      <a:pt x="38215" y="55245"/>
                      <a:pt x="38310" y="53816"/>
                    </a:cubicBezTo>
                    <a:lnTo>
                      <a:pt x="38025" y="53816"/>
                    </a:lnTo>
                    <a:cubicBezTo>
                      <a:pt x="35548" y="57626"/>
                      <a:pt x="32500" y="60388"/>
                      <a:pt x="29167" y="61913"/>
                    </a:cubicBezTo>
                    <a:cubicBezTo>
                      <a:pt x="25737" y="63436"/>
                      <a:pt x="21832" y="64008"/>
                      <a:pt x="17355" y="63436"/>
                    </a:cubicBezTo>
                    <a:cubicBezTo>
                      <a:pt x="10497" y="62675"/>
                      <a:pt x="5735" y="60007"/>
                      <a:pt x="3068" y="55435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24" name="Freeform: Shape 257">
                <a:extLst>
                  <a:ext uri="{FF2B5EF4-FFF2-40B4-BE49-F238E27FC236}">
                    <a16:creationId xmlns:a16="http://schemas.microsoft.com/office/drawing/2014/main" id="{A7DB138B-0B4B-7337-6B23-7C8581F30F27}"/>
                  </a:ext>
                </a:extLst>
              </p:cNvPr>
              <p:cNvSpPr/>
              <p:nvPr/>
            </p:nvSpPr>
            <p:spPr>
              <a:xfrm>
                <a:off x="6390322" y="2592419"/>
                <a:ext cx="36480" cy="76628"/>
              </a:xfrm>
              <a:custGeom>
                <a:avLst/>
                <a:gdLst>
                  <a:gd name="connsiteX0" fmla="*/ 4953 w 36480"/>
                  <a:gd name="connsiteY0" fmla="*/ 70485 h 76628"/>
                  <a:gd name="connsiteX1" fmla="*/ 2762 w 36480"/>
                  <a:gd name="connsiteY1" fmla="*/ 57817 h 76628"/>
                  <a:gd name="connsiteX2" fmla="*/ 7525 w 36480"/>
                  <a:gd name="connsiteY2" fmla="*/ 24765 h 76628"/>
                  <a:gd name="connsiteX3" fmla="*/ 0 w 36480"/>
                  <a:gd name="connsiteY3" fmla="*/ 23717 h 76628"/>
                  <a:gd name="connsiteX4" fmla="*/ 1619 w 36480"/>
                  <a:gd name="connsiteY4" fmla="*/ 12192 h 76628"/>
                  <a:gd name="connsiteX5" fmla="*/ 10001 w 36480"/>
                  <a:gd name="connsiteY5" fmla="*/ 13335 h 76628"/>
                  <a:gd name="connsiteX6" fmla="*/ 12668 w 36480"/>
                  <a:gd name="connsiteY6" fmla="*/ 0 h 76628"/>
                  <a:gd name="connsiteX7" fmla="*/ 26670 w 36480"/>
                  <a:gd name="connsiteY7" fmla="*/ 857 h 76628"/>
                  <a:gd name="connsiteX8" fmla="*/ 24574 w 36480"/>
                  <a:gd name="connsiteY8" fmla="*/ 15526 h 76628"/>
                  <a:gd name="connsiteX9" fmla="*/ 36481 w 36480"/>
                  <a:gd name="connsiteY9" fmla="*/ 17240 h 76628"/>
                  <a:gd name="connsiteX10" fmla="*/ 34862 w 36480"/>
                  <a:gd name="connsiteY10" fmla="*/ 28766 h 76628"/>
                  <a:gd name="connsiteX11" fmla="*/ 22955 w 36480"/>
                  <a:gd name="connsiteY11" fmla="*/ 27051 h 76628"/>
                  <a:gd name="connsiteX12" fmla="*/ 18860 w 36480"/>
                  <a:gd name="connsiteY12" fmla="*/ 55912 h 76628"/>
                  <a:gd name="connsiteX13" fmla="*/ 19431 w 36480"/>
                  <a:gd name="connsiteY13" fmla="*/ 61817 h 76628"/>
                  <a:gd name="connsiteX14" fmla="*/ 23622 w 36480"/>
                  <a:gd name="connsiteY14" fmla="*/ 64199 h 76628"/>
                  <a:gd name="connsiteX15" fmla="*/ 29337 w 36480"/>
                  <a:gd name="connsiteY15" fmla="*/ 64294 h 76628"/>
                  <a:gd name="connsiteX16" fmla="*/ 28861 w 36480"/>
                  <a:gd name="connsiteY16" fmla="*/ 76200 h 76628"/>
                  <a:gd name="connsiteX17" fmla="*/ 16002 w 36480"/>
                  <a:gd name="connsiteY17" fmla="*/ 76200 h 76628"/>
                  <a:gd name="connsiteX18" fmla="*/ 5144 w 36480"/>
                  <a:gd name="connsiteY18" fmla="*/ 70485 h 766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6480" h="76628">
                    <a:moveTo>
                      <a:pt x="4953" y="70485"/>
                    </a:moveTo>
                    <a:cubicBezTo>
                      <a:pt x="2667" y="67437"/>
                      <a:pt x="2000" y="63151"/>
                      <a:pt x="2762" y="57817"/>
                    </a:cubicBezTo>
                    <a:lnTo>
                      <a:pt x="7525" y="24765"/>
                    </a:lnTo>
                    <a:lnTo>
                      <a:pt x="0" y="23717"/>
                    </a:lnTo>
                    <a:lnTo>
                      <a:pt x="1619" y="12192"/>
                    </a:lnTo>
                    <a:lnTo>
                      <a:pt x="10001" y="13335"/>
                    </a:lnTo>
                    <a:lnTo>
                      <a:pt x="12668" y="0"/>
                    </a:lnTo>
                    <a:lnTo>
                      <a:pt x="26670" y="857"/>
                    </a:lnTo>
                    <a:lnTo>
                      <a:pt x="24574" y="15526"/>
                    </a:lnTo>
                    <a:lnTo>
                      <a:pt x="36481" y="17240"/>
                    </a:lnTo>
                    <a:lnTo>
                      <a:pt x="34862" y="28766"/>
                    </a:lnTo>
                    <a:lnTo>
                      <a:pt x="22955" y="27051"/>
                    </a:lnTo>
                    <a:lnTo>
                      <a:pt x="18860" y="55912"/>
                    </a:lnTo>
                    <a:cubicBezTo>
                      <a:pt x="18479" y="58483"/>
                      <a:pt x="18669" y="60484"/>
                      <a:pt x="19431" y="61817"/>
                    </a:cubicBezTo>
                    <a:cubicBezTo>
                      <a:pt x="20193" y="63151"/>
                      <a:pt x="21526" y="63913"/>
                      <a:pt x="23622" y="64199"/>
                    </a:cubicBezTo>
                    <a:cubicBezTo>
                      <a:pt x="25241" y="64389"/>
                      <a:pt x="27146" y="64484"/>
                      <a:pt x="29337" y="64294"/>
                    </a:cubicBezTo>
                    <a:lnTo>
                      <a:pt x="28861" y="76200"/>
                    </a:lnTo>
                    <a:cubicBezTo>
                      <a:pt x="24479" y="76771"/>
                      <a:pt x="20193" y="76771"/>
                      <a:pt x="16002" y="76200"/>
                    </a:cubicBezTo>
                    <a:cubicBezTo>
                      <a:pt x="11049" y="75533"/>
                      <a:pt x="7429" y="73628"/>
                      <a:pt x="5144" y="70485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25" name="Freeform: Shape 258">
                <a:extLst>
                  <a:ext uri="{FF2B5EF4-FFF2-40B4-BE49-F238E27FC236}">
                    <a16:creationId xmlns:a16="http://schemas.microsoft.com/office/drawing/2014/main" id="{3AED5484-58ED-B38D-4D41-71B93309D820}"/>
                  </a:ext>
                </a:extLst>
              </p:cNvPr>
              <p:cNvSpPr/>
              <p:nvPr/>
            </p:nvSpPr>
            <p:spPr>
              <a:xfrm>
                <a:off x="6427660" y="2587040"/>
                <a:ext cx="28714" cy="86246"/>
              </a:xfrm>
              <a:custGeom>
                <a:avLst/>
                <a:gdLst>
                  <a:gd name="connsiteX0" fmla="*/ 9525 w 28714"/>
                  <a:gd name="connsiteY0" fmla="*/ 24238 h 86246"/>
                  <a:gd name="connsiteX1" fmla="*/ 25051 w 28714"/>
                  <a:gd name="connsiteY1" fmla="*/ 26715 h 86246"/>
                  <a:gd name="connsiteX2" fmla="*/ 15526 w 28714"/>
                  <a:gd name="connsiteY2" fmla="*/ 86246 h 86246"/>
                  <a:gd name="connsiteX3" fmla="*/ 0 w 28714"/>
                  <a:gd name="connsiteY3" fmla="*/ 83769 h 86246"/>
                  <a:gd name="connsiteX4" fmla="*/ 9525 w 28714"/>
                  <a:gd name="connsiteY4" fmla="*/ 24238 h 86246"/>
                  <a:gd name="connsiteX5" fmla="*/ 12573 w 28714"/>
                  <a:gd name="connsiteY5" fmla="*/ 14142 h 86246"/>
                  <a:gd name="connsiteX6" fmla="*/ 11239 w 28714"/>
                  <a:gd name="connsiteY6" fmla="*/ 7474 h 86246"/>
                  <a:gd name="connsiteX7" fmla="*/ 14573 w 28714"/>
                  <a:gd name="connsiteY7" fmla="*/ 1473 h 86246"/>
                  <a:gd name="connsiteX8" fmla="*/ 21336 w 28714"/>
                  <a:gd name="connsiteY8" fmla="*/ 140 h 86246"/>
                  <a:gd name="connsiteX9" fmla="*/ 27241 w 28714"/>
                  <a:gd name="connsiteY9" fmla="*/ 3474 h 86246"/>
                  <a:gd name="connsiteX10" fmla="*/ 28575 w 28714"/>
                  <a:gd name="connsiteY10" fmla="*/ 10236 h 86246"/>
                  <a:gd name="connsiteX11" fmla="*/ 25241 w 28714"/>
                  <a:gd name="connsiteY11" fmla="*/ 16142 h 86246"/>
                  <a:gd name="connsiteX12" fmla="*/ 18669 w 28714"/>
                  <a:gd name="connsiteY12" fmla="*/ 17571 h 86246"/>
                  <a:gd name="connsiteX13" fmla="*/ 12668 w 28714"/>
                  <a:gd name="connsiteY13" fmla="*/ 14237 h 862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14" h="86246">
                    <a:moveTo>
                      <a:pt x="9525" y="24238"/>
                    </a:moveTo>
                    <a:lnTo>
                      <a:pt x="25051" y="26715"/>
                    </a:lnTo>
                    <a:lnTo>
                      <a:pt x="15526" y="86246"/>
                    </a:lnTo>
                    <a:lnTo>
                      <a:pt x="0" y="83769"/>
                    </a:lnTo>
                    <a:lnTo>
                      <a:pt x="9525" y="24238"/>
                    </a:lnTo>
                    <a:close/>
                    <a:moveTo>
                      <a:pt x="12573" y="14142"/>
                    </a:moveTo>
                    <a:cubicBezTo>
                      <a:pt x="11239" y="12332"/>
                      <a:pt x="10859" y="10141"/>
                      <a:pt x="11239" y="7474"/>
                    </a:cubicBezTo>
                    <a:cubicBezTo>
                      <a:pt x="11620" y="4807"/>
                      <a:pt x="12763" y="2807"/>
                      <a:pt x="14573" y="1473"/>
                    </a:cubicBezTo>
                    <a:cubicBezTo>
                      <a:pt x="16383" y="140"/>
                      <a:pt x="18574" y="-241"/>
                      <a:pt x="21336" y="140"/>
                    </a:cubicBezTo>
                    <a:cubicBezTo>
                      <a:pt x="23908" y="521"/>
                      <a:pt x="25908" y="1664"/>
                      <a:pt x="27241" y="3474"/>
                    </a:cubicBezTo>
                    <a:cubicBezTo>
                      <a:pt x="28575" y="5284"/>
                      <a:pt x="28956" y="7569"/>
                      <a:pt x="28575" y="10236"/>
                    </a:cubicBezTo>
                    <a:cubicBezTo>
                      <a:pt x="28194" y="12808"/>
                      <a:pt x="27051" y="14809"/>
                      <a:pt x="25241" y="16142"/>
                    </a:cubicBezTo>
                    <a:cubicBezTo>
                      <a:pt x="23432" y="17476"/>
                      <a:pt x="21241" y="17952"/>
                      <a:pt x="18669" y="17571"/>
                    </a:cubicBezTo>
                    <a:cubicBezTo>
                      <a:pt x="15907" y="17094"/>
                      <a:pt x="13907" y="16047"/>
                      <a:pt x="12668" y="14237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26" name="Freeform: Shape 259">
                <a:extLst>
                  <a:ext uri="{FF2B5EF4-FFF2-40B4-BE49-F238E27FC236}">
                    <a16:creationId xmlns:a16="http://schemas.microsoft.com/office/drawing/2014/main" id="{B64D1B53-E880-F161-C2A9-E2CCC62D533C}"/>
                  </a:ext>
                </a:extLst>
              </p:cNvPr>
              <p:cNvSpPr/>
              <p:nvPr/>
            </p:nvSpPr>
            <p:spPr>
              <a:xfrm>
                <a:off x="6460047" y="2619421"/>
                <a:ext cx="61297" cy="62962"/>
              </a:xfrm>
              <a:custGeom>
                <a:avLst/>
                <a:gdLst>
                  <a:gd name="connsiteX0" fmla="*/ 9333 w 61297"/>
                  <a:gd name="connsiteY0" fmla="*/ 55199 h 62962"/>
                  <a:gd name="connsiteX1" fmla="*/ 1236 w 61297"/>
                  <a:gd name="connsiteY1" fmla="*/ 42245 h 62962"/>
                  <a:gd name="connsiteX2" fmla="*/ 665 w 61297"/>
                  <a:gd name="connsiteY2" fmla="*/ 25862 h 62962"/>
                  <a:gd name="connsiteX3" fmla="*/ 6856 w 61297"/>
                  <a:gd name="connsiteY3" fmla="*/ 11003 h 62962"/>
                  <a:gd name="connsiteX4" fmla="*/ 19048 w 61297"/>
                  <a:gd name="connsiteY4" fmla="*/ 1763 h 62962"/>
                  <a:gd name="connsiteX5" fmla="*/ 36289 w 61297"/>
                  <a:gd name="connsiteY5" fmla="*/ 716 h 62962"/>
                  <a:gd name="connsiteX6" fmla="*/ 52481 w 61297"/>
                  <a:gd name="connsiteY6" fmla="*/ 7955 h 62962"/>
                  <a:gd name="connsiteX7" fmla="*/ 60291 w 61297"/>
                  <a:gd name="connsiteY7" fmla="*/ 20718 h 62962"/>
                  <a:gd name="connsiteX8" fmla="*/ 60577 w 61297"/>
                  <a:gd name="connsiteY8" fmla="*/ 36911 h 62962"/>
                  <a:gd name="connsiteX9" fmla="*/ 54291 w 61297"/>
                  <a:gd name="connsiteY9" fmla="*/ 51960 h 62962"/>
                  <a:gd name="connsiteX10" fmla="*/ 42004 w 61297"/>
                  <a:gd name="connsiteY10" fmla="*/ 61199 h 62962"/>
                  <a:gd name="connsiteX11" fmla="*/ 24763 w 61297"/>
                  <a:gd name="connsiteY11" fmla="*/ 62247 h 62962"/>
                  <a:gd name="connsiteX12" fmla="*/ 9428 w 61297"/>
                  <a:gd name="connsiteY12" fmla="*/ 55199 h 62962"/>
                  <a:gd name="connsiteX13" fmla="*/ 38193 w 61297"/>
                  <a:gd name="connsiteY13" fmla="*/ 47102 h 62962"/>
                  <a:gd name="connsiteX14" fmla="*/ 44385 w 61297"/>
                  <a:gd name="connsiteY14" fmla="*/ 33958 h 62962"/>
                  <a:gd name="connsiteX15" fmla="*/ 43433 w 61297"/>
                  <a:gd name="connsiteY15" fmla="*/ 19670 h 62962"/>
                  <a:gd name="connsiteX16" fmla="*/ 34288 w 61297"/>
                  <a:gd name="connsiteY16" fmla="*/ 13003 h 62962"/>
                  <a:gd name="connsiteX17" fmla="*/ 22954 w 61297"/>
                  <a:gd name="connsiteY17" fmla="*/ 15860 h 62962"/>
                  <a:gd name="connsiteX18" fmla="*/ 16857 w 61297"/>
                  <a:gd name="connsiteY18" fmla="*/ 28814 h 62962"/>
                  <a:gd name="connsiteX19" fmla="*/ 16667 w 61297"/>
                  <a:gd name="connsiteY19" fmla="*/ 39197 h 62962"/>
                  <a:gd name="connsiteX20" fmla="*/ 20191 w 61297"/>
                  <a:gd name="connsiteY20" fmla="*/ 46436 h 62962"/>
                  <a:gd name="connsiteX21" fmla="*/ 26764 w 61297"/>
                  <a:gd name="connsiteY21" fmla="*/ 49960 h 62962"/>
                  <a:gd name="connsiteX22" fmla="*/ 38193 w 61297"/>
                  <a:gd name="connsiteY22" fmla="*/ 47102 h 629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61297" h="62962">
                    <a:moveTo>
                      <a:pt x="9333" y="55199"/>
                    </a:moveTo>
                    <a:cubicBezTo>
                      <a:pt x="5332" y="51674"/>
                      <a:pt x="2665" y="47388"/>
                      <a:pt x="1236" y="42245"/>
                    </a:cubicBezTo>
                    <a:cubicBezTo>
                      <a:pt x="-192" y="37101"/>
                      <a:pt x="-383" y="31672"/>
                      <a:pt x="665" y="25862"/>
                    </a:cubicBezTo>
                    <a:cubicBezTo>
                      <a:pt x="1713" y="20147"/>
                      <a:pt x="3808" y="15194"/>
                      <a:pt x="6856" y="11003"/>
                    </a:cubicBezTo>
                    <a:cubicBezTo>
                      <a:pt x="9904" y="6812"/>
                      <a:pt x="14000" y="3668"/>
                      <a:pt x="19048" y="1763"/>
                    </a:cubicBezTo>
                    <a:cubicBezTo>
                      <a:pt x="24096" y="-142"/>
                      <a:pt x="29811" y="-523"/>
                      <a:pt x="36289" y="716"/>
                    </a:cubicBezTo>
                    <a:cubicBezTo>
                      <a:pt x="43146" y="1954"/>
                      <a:pt x="48480" y="4335"/>
                      <a:pt x="52481" y="7955"/>
                    </a:cubicBezTo>
                    <a:cubicBezTo>
                      <a:pt x="56482" y="11574"/>
                      <a:pt x="59053" y="15765"/>
                      <a:pt x="60291" y="20718"/>
                    </a:cubicBezTo>
                    <a:cubicBezTo>
                      <a:pt x="61530" y="25671"/>
                      <a:pt x="61625" y="31100"/>
                      <a:pt x="60577" y="36911"/>
                    </a:cubicBezTo>
                    <a:cubicBezTo>
                      <a:pt x="59529" y="42721"/>
                      <a:pt x="57434" y="47769"/>
                      <a:pt x="54291" y="51960"/>
                    </a:cubicBezTo>
                    <a:cubicBezTo>
                      <a:pt x="51148" y="56246"/>
                      <a:pt x="47051" y="59294"/>
                      <a:pt x="42004" y="61199"/>
                    </a:cubicBezTo>
                    <a:cubicBezTo>
                      <a:pt x="36955" y="63104"/>
                      <a:pt x="31240" y="63485"/>
                      <a:pt x="24763" y="62247"/>
                    </a:cubicBezTo>
                    <a:cubicBezTo>
                      <a:pt x="18572" y="61104"/>
                      <a:pt x="13429" y="58723"/>
                      <a:pt x="9428" y="55199"/>
                    </a:cubicBezTo>
                    <a:close/>
                    <a:moveTo>
                      <a:pt x="38193" y="47102"/>
                    </a:moveTo>
                    <a:cubicBezTo>
                      <a:pt x="41241" y="44340"/>
                      <a:pt x="43337" y="39959"/>
                      <a:pt x="44385" y="33958"/>
                    </a:cubicBezTo>
                    <a:cubicBezTo>
                      <a:pt x="45432" y="28052"/>
                      <a:pt x="45147" y="23290"/>
                      <a:pt x="43433" y="19670"/>
                    </a:cubicBezTo>
                    <a:cubicBezTo>
                      <a:pt x="41717" y="16051"/>
                      <a:pt x="38670" y="13860"/>
                      <a:pt x="34288" y="13003"/>
                    </a:cubicBezTo>
                    <a:cubicBezTo>
                      <a:pt x="29716" y="12146"/>
                      <a:pt x="26002" y="13098"/>
                      <a:pt x="22954" y="15860"/>
                    </a:cubicBezTo>
                    <a:cubicBezTo>
                      <a:pt x="19905" y="18623"/>
                      <a:pt x="17905" y="22909"/>
                      <a:pt x="16857" y="28814"/>
                    </a:cubicBezTo>
                    <a:cubicBezTo>
                      <a:pt x="16095" y="32720"/>
                      <a:pt x="16095" y="36149"/>
                      <a:pt x="16667" y="39197"/>
                    </a:cubicBezTo>
                    <a:cubicBezTo>
                      <a:pt x="17239" y="42245"/>
                      <a:pt x="18476" y="44626"/>
                      <a:pt x="20191" y="46436"/>
                    </a:cubicBezTo>
                    <a:cubicBezTo>
                      <a:pt x="21906" y="48245"/>
                      <a:pt x="24096" y="49388"/>
                      <a:pt x="26764" y="49960"/>
                    </a:cubicBezTo>
                    <a:cubicBezTo>
                      <a:pt x="31336" y="50817"/>
                      <a:pt x="35145" y="49865"/>
                      <a:pt x="38193" y="47102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27" name="Freeform: Shape 260">
                <a:extLst>
                  <a:ext uri="{FF2B5EF4-FFF2-40B4-BE49-F238E27FC236}">
                    <a16:creationId xmlns:a16="http://schemas.microsoft.com/office/drawing/2014/main" id="{F0F453AE-7B4C-3EC4-CAD6-4CC83AFD9BA0}"/>
                  </a:ext>
                </a:extLst>
              </p:cNvPr>
              <p:cNvSpPr/>
              <p:nvPr/>
            </p:nvSpPr>
            <p:spPr>
              <a:xfrm>
                <a:off x="6526625" y="2629471"/>
                <a:ext cx="62451" cy="70675"/>
              </a:xfrm>
              <a:custGeom>
                <a:avLst/>
                <a:gdLst>
                  <a:gd name="connsiteX0" fmla="*/ 10001 w 62451"/>
                  <a:gd name="connsiteY0" fmla="*/ 13240 h 70675"/>
                  <a:gd name="connsiteX1" fmla="*/ 11525 w 62451"/>
                  <a:gd name="connsiteY1" fmla="*/ 5429 h 70675"/>
                  <a:gd name="connsiteX2" fmla="*/ 12382 w 62451"/>
                  <a:gd name="connsiteY2" fmla="*/ 0 h 70675"/>
                  <a:gd name="connsiteX3" fmla="*/ 26955 w 62451"/>
                  <a:gd name="connsiteY3" fmla="*/ 3143 h 70675"/>
                  <a:gd name="connsiteX4" fmla="*/ 26384 w 62451"/>
                  <a:gd name="connsiteY4" fmla="*/ 8096 h 70675"/>
                  <a:gd name="connsiteX5" fmla="*/ 25336 w 62451"/>
                  <a:gd name="connsiteY5" fmla="*/ 13907 h 70675"/>
                  <a:gd name="connsiteX6" fmla="*/ 25527 w 62451"/>
                  <a:gd name="connsiteY6" fmla="*/ 13907 h 70675"/>
                  <a:gd name="connsiteX7" fmla="*/ 35242 w 62451"/>
                  <a:gd name="connsiteY7" fmla="*/ 6667 h 70675"/>
                  <a:gd name="connsiteX8" fmla="*/ 47054 w 62451"/>
                  <a:gd name="connsiteY8" fmla="*/ 6191 h 70675"/>
                  <a:gd name="connsiteX9" fmla="*/ 60484 w 62451"/>
                  <a:gd name="connsiteY9" fmla="*/ 15621 h 70675"/>
                  <a:gd name="connsiteX10" fmla="*/ 61531 w 62451"/>
                  <a:gd name="connsiteY10" fmla="*/ 33242 h 70675"/>
                  <a:gd name="connsiteX11" fmla="*/ 53340 w 62451"/>
                  <a:gd name="connsiteY11" fmla="*/ 70675 h 70675"/>
                  <a:gd name="connsiteX12" fmla="*/ 38100 w 62451"/>
                  <a:gd name="connsiteY12" fmla="*/ 67342 h 70675"/>
                  <a:gd name="connsiteX13" fmla="*/ 45339 w 62451"/>
                  <a:gd name="connsiteY13" fmla="*/ 34290 h 70675"/>
                  <a:gd name="connsiteX14" fmla="*/ 45339 w 62451"/>
                  <a:gd name="connsiteY14" fmla="*/ 23527 h 70675"/>
                  <a:gd name="connsiteX15" fmla="*/ 38481 w 62451"/>
                  <a:gd name="connsiteY15" fmla="*/ 18193 h 70675"/>
                  <a:gd name="connsiteX16" fmla="*/ 31432 w 62451"/>
                  <a:gd name="connsiteY16" fmla="*/ 18669 h 70675"/>
                  <a:gd name="connsiteX17" fmla="*/ 25622 w 62451"/>
                  <a:gd name="connsiteY17" fmla="*/ 23146 h 70675"/>
                  <a:gd name="connsiteX18" fmla="*/ 22193 w 62451"/>
                  <a:gd name="connsiteY18" fmla="*/ 30766 h 70675"/>
                  <a:gd name="connsiteX19" fmla="*/ 15335 w 62451"/>
                  <a:gd name="connsiteY19" fmla="*/ 62389 h 70675"/>
                  <a:gd name="connsiteX20" fmla="*/ 0 w 62451"/>
                  <a:gd name="connsiteY20" fmla="*/ 59055 h 70675"/>
                  <a:gd name="connsiteX21" fmla="*/ 10001 w 62451"/>
                  <a:gd name="connsiteY21" fmla="*/ 13240 h 70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62451" h="70675">
                    <a:moveTo>
                      <a:pt x="10001" y="13240"/>
                    </a:moveTo>
                    <a:cubicBezTo>
                      <a:pt x="10573" y="10763"/>
                      <a:pt x="11049" y="8096"/>
                      <a:pt x="11525" y="5429"/>
                    </a:cubicBezTo>
                    <a:cubicBezTo>
                      <a:pt x="12001" y="2762"/>
                      <a:pt x="12287" y="953"/>
                      <a:pt x="12382" y="0"/>
                    </a:cubicBezTo>
                    <a:lnTo>
                      <a:pt x="26955" y="3143"/>
                    </a:lnTo>
                    <a:cubicBezTo>
                      <a:pt x="26955" y="4000"/>
                      <a:pt x="26765" y="5620"/>
                      <a:pt x="26384" y="8096"/>
                    </a:cubicBezTo>
                    <a:cubicBezTo>
                      <a:pt x="26003" y="10573"/>
                      <a:pt x="25717" y="12478"/>
                      <a:pt x="25336" y="13907"/>
                    </a:cubicBezTo>
                    <a:lnTo>
                      <a:pt x="25527" y="13907"/>
                    </a:lnTo>
                    <a:cubicBezTo>
                      <a:pt x="28480" y="10382"/>
                      <a:pt x="31718" y="8001"/>
                      <a:pt x="35242" y="6667"/>
                    </a:cubicBezTo>
                    <a:cubicBezTo>
                      <a:pt x="38767" y="5429"/>
                      <a:pt x="42767" y="5239"/>
                      <a:pt x="47054" y="6191"/>
                    </a:cubicBezTo>
                    <a:cubicBezTo>
                      <a:pt x="53816" y="7620"/>
                      <a:pt x="58198" y="10763"/>
                      <a:pt x="60484" y="15621"/>
                    </a:cubicBezTo>
                    <a:cubicBezTo>
                      <a:pt x="62674" y="20383"/>
                      <a:pt x="63055" y="26289"/>
                      <a:pt x="61531" y="33242"/>
                    </a:cubicBezTo>
                    <a:lnTo>
                      <a:pt x="53340" y="70675"/>
                    </a:lnTo>
                    <a:lnTo>
                      <a:pt x="38100" y="67342"/>
                    </a:lnTo>
                    <a:lnTo>
                      <a:pt x="45339" y="34290"/>
                    </a:lnTo>
                    <a:cubicBezTo>
                      <a:pt x="46291" y="29813"/>
                      <a:pt x="46291" y="26289"/>
                      <a:pt x="45339" y="23527"/>
                    </a:cubicBezTo>
                    <a:cubicBezTo>
                      <a:pt x="44386" y="20765"/>
                      <a:pt x="42100" y="18955"/>
                      <a:pt x="38481" y="18193"/>
                    </a:cubicBezTo>
                    <a:cubicBezTo>
                      <a:pt x="36004" y="17621"/>
                      <a:pt x="33623" y="17812"/>
                      <a:pt x="31432" y="18669"/>
                    </a:cubicBezTo>
                    <a:cubicBezTo>
                      <a:pt x="29146" y="19526"/>
                      <a:pt x="27241" y="21050"/>
                      <a:pt x="25622" y="23146"/>
                    </a:cubicBezTo>
                    <a:cubicBezTo>
                      <a:pt x="24003" y="25241"/>
                      <a:pt x="22860" y="27813"/>
                      <a:pt x="22193" y="30766"/>
                    </a:cubicBezTo>
                    <a:lnTo>
                      <a:pt x="15335" y="62389"/>
                    </a:lnTo>
                    <a:lnTo>
                      <a:pt x="0" y="59055"/>
                    </a:lnTo>
                    <a:lnTo>
                      <a:pt x="10001" y="13240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28" name="Freeform: Shape 261">
                <a:extLst>
                  <a:ext uri="{FF2B5EF4-FFF2-40B4-BE49-F238E27FC236}">
                    <a16:creationId xmlns:a16="http://schemas.microsoft.com/office/drawing/2014/main" id="{FD67416B-D11D-3D41-3F72-C62EFB08A64B}"/>
                  </a:ext>
                </a:extLst>
              </p:cNvPr>
              <p:cNvSpPr/>
              <p:nvPr/>
            </p:nvSpPr>
            <p:spPr>
              <a:xfrm>
                <a:off x="6590919" y="2647667"/>
                <a:ext cx="58673" cy="63216"/>
              </a:xfrm>
              <a:custGeom>
                <a:avLst/>
                <a:gdLst>
                  <a:gd name="connsiteX0" fmla="*/ 9715 w 58673"/>
                  <a:gd name="connsiteY0" fmla="*/ 56575 h 63216"/>
                  <a:gd name="connsiteX1" fmla="*/ 0 w 58673"/>
                  <a:gd name="connsiteY1" fmla="*/ 47336 h 63216"/>
                  <a:gd name="connsiteX2" fmla="*/ 9525 w 58673"/>
                  <a:gd name="connsiteY2" fmla="*/ 38573 h 63216"/>
                  <a:gd name="connsiteX3" fmla="*/ 17145 w 58673"/>
                  <a:gd name="connsiteY3" fmla="*/ 46479 h 63216"/>
                  <a:gd name="connsiteX4" fmla="*/ 25622 w 58673"/>
                  <a:gd name="connsiteY4" fmla="*/ 50574 h 63216"/>
                  <a:gd name="connsiteX5" fmla="*/ 33432 w 58673"/>
                  <a:gd name="connsiteY5" fmla="*/ 51241 h 63216"/>
                  <a:gd name="connsiteX6" fmla="*/ 37242 w 58673"/>
                  <a:gd name="connsiteY6" fmla="*/ 47526 h 63216"/>
                  <a:gd name="connsiteX7" fmla="*/ 36766 w 58673"/>
                  <a:gd name="connsiteY7" fmla="*/ 43526 h 63216"/>
                  <a:gd name="connsiteX8" fmla="*/ 33718 w 58673"/>
                  <a:gd name="connsiteY8" fmla="*/ 40573 h 63216"/>
                  <a:gd name="connsiteX9" fmla="*/ 27908 w 58673"/>
                  <a:gd name="connsiteY9" fmla="*/ 37335 h 63216"/>
                  <a:gd name="connsiteX10" fmla="*/ 25241 w 58673"/>
                  <a:gd name="connsiteY10" fmla="*/ 35906 h 63216"/>
                  <a:gd name="connsiteX11" fmla="*/ 16287 w 58673"/>
                  <a:gd name="connsiteY11" fmla="*/ 30096 h 63216"/>
                  <a:gd name="connsiteX12" fmla="*/ 11239 w 58673"/>
                  <a:gd name="connsiteY12" fmla="*/ 23142 h 63216"/>
                  <a:gd name="connsiteX13" fmla="*/ 11049 w 58673"/>
                  <a:gd name="connsiteY13" fmla="*/ 13332 h 63216"/>
                  <a:gd name="connsiteX14" fmla="*/ 16097 w 58673"/>
                  <a:gd name="connsiteY14" fmla="*/ 4473 h 63216"/>
                  <a:gd name="connsiteX15" fmla="*/ 25432 w 58673"/>
                  <a:gd name="connsiteY15" fmla="*/ 282 h 63216"/>
                  <a:gd name="connsiteX16" fmla="*/ 38385 w 58673"/>
                  <a:gd name="connsiteY16" fmla="*/ 1235 h 63216"/>
                  <a:gd name="connsiteX17" fmla="*/ 50482 w 58673"/>
                  <a:gd name="connsiteY17" fmla="*/ 6473 h 63216"/>
                  <a:gd name="connsiteX18" fmla="*/ 58674 w 58673"/>
                  <a:gd name="connsiteY18" fmla="*/ 15237 h 63216"/>
                  <a:gd name="connsiteX19" fmla="*/ 48673 w 58673"/>
                  <a:gd name="connsiteY19" fmla="*/ 22285 h 63216"/>
                  <a:gd name="connsiteX20" fmla="*/ 35719 w 58673"/>
                  <a:gd name="connsiteY20" fmla="*/ 12569 h 63216"/>
                  <a:gd name="connsiteX21" fmla="*/ 25432 w 58673"/>
                  <a:gd name="connsiteY21" fmla="*/ 15522 h 63216"/>
                  <a:gd name="connsiteX22" fmla="*/ 25812 w 58673"/>
                  <a:gd name="connsiteY22" fmla="*/ 18951 h 63216"/>
                  <a:gd name="connsiteX23" fmla="*/ 28384 w 58673"/>
                  <a:gd name="connsiteY23" fmla="*/ 21523 h 63216"/>
                  <a:gd name="connsiteX24" fmla="*/ 33528 w 58673"/>
                  <a:gd name="connsiteY24" fmla="*/ 24381 h 63216"/>
                  <a:gd name="connsiteX25" fmla="*/ 36100 w 58673"/>
                  <a:gd name="connsiteY25" fmla="*/ 25714 h 63216"/>
                  <a:gd name="connsiteX26" fmla="*/ 45911 w 58673"/>
                  <a:gd name="connsiteY26" fmla="*/ 31905 h 63216"/>
                  <a:gd name="connsiteX27" fmla="*/ 51435 w 58673"/>
                  <a:gd name="connsiteY27" fmla="*/ 39240 h 63216"/>
                  <a:gd name="connsiteX28" fmla="*/ 51721 w 58673"/>
                  <a:gd name="connsiteY28" fmla="*/ 49812 h 63216"/>
                  <a:gd name="connsiteX29" fmla="*/ 46482 w 58673"/>
                  <a:gd name="connsiteY29" fmla="*/ 58766 h 63216"/>
                  <a:gd name="connsiteX30" fmla="*/ 36671 w 58673"/>
                  <a:gd name="connsiteY30" fmla="*/ 62957 h 63216"/>
                  <a:gd name="connsiteX31" fmla="*/ 23146 w 58673"/>
                  <a:gd name="connsiteY31" fmla="*/ 61909 h 63216"/>
                  <a:gd name="connsiteX32" fmla="*/ 10096 w 58673"/>
                  <a:gd name="connsiteY32" fmla="*/ 56575 h 632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58673" h="63216">
                    <a:moveTo>
                      <a:pt x="9715" y="56575"/>
                    </a:moveTo>
                    <a:cubicBezTo>
                      <a:pt x="6096" y="54289"/>
                      <a:pt x="2857" y="51146"/>
                      <a:pt x="0" y="47336"/>
                    </a:cubicBezTo>
                    <a:lnTo>
                      <a:pt x="9525" y="38573"/>
                    </a:lnTo>
                    <a:cubicBezTo>
                      <a:pt x="12192" y="41907"/>
                      <a:pt x="14668" y="44478"/>
                      <a:pt x="17145" y="46479"/>
                    </a:cubicBezTo>
                    <a:cubicBezTo>
                      <a:pt x="19621" y="48384"/>
                      <a:pt x="22479" y="49812"/>
                      <a:pt x="25622" y="50574"/>
                    </a:cubicBezTo>
                    <a:cubicBezTo>
                      <a:pt x="28860" y="51336"/>
                      <a:pt x="31432" y="51622"/>
                      <a:pt x="33432" y="51241"/>
                    </a:cubicBezTo>
                    <a:cubicBezTo>
                      <a:pt x="35433" y="50860"/>
                      <a:pt x="36671" y="49622"/>
                      <a:pt x="37242" y="47526"/>
                    </a:cubicBezTo>
                    <a:cubicBezTo>
                      <a:pt x="37623" y="46002"/>
                      <a:pt x="37433" y="44669"/>
                      <a:pt x="36766" y="43526"/>
                    </a:cubicBezTo>
                    <a:cubicBezTo>
                      <a:pt x="36100" y="42383"/>
                      <a:pt x="35052" y="41430"/>
                      <a:pt x="33718" y="40573"/>
                    </a:cubicBezTo>
                    <a:cubicBezTo>
                      <a:pt x="32385" y="39716"/>
                      <a:pt x="30480" y="38668"/>
                      <a:pt x="27908" y="37335"/>
                    </a:cubicBezTo>
                    <a:lnTo>
                      <a:pt x="25241" y="35906"/>
                    </a:lnTo>
                    <a:cubicBezTo>
                      <a:pt x="21526" y="33906"/>
                      <a:pt x="18573" y="32001"/>
                      <a:pt x="16287" y="30096"/>
                    </a:cubicBezTo>
                    <a:cubicBezTo>
                      <a:pt x="14001" y="28190"/>
                      <a:pt x="12287" y="25905"/>
                      <a:pt x="11239" y="23142"/>
                    </a:cubicBezTo>
                    <a:cubicBezTo>
                      <a:pt x="10192" y="20380"/>
                      <a:pt x="10096" y="17142"/>
                      <a:pt x="11049" y="13332"/>
                    </a:cubicBezTo>
                    <a:cubicBezTo>
                      <a:pt x="12001" y="9617"/>
                      <a:pt x="13621" y="6664"/>
                      <a:pt x="16097" y="4473"/>
                    </a:cubicBezTo>
                    <a:cubicBezTo>
                      <a:pt x="18479" y="2283"/>
                      <a:pt x="21621" y="854"/>
                      <a:pt x="25432" y="282"/>
                    </a:cubicBezTo>
                    <a:cubicBezTo>
                      <a:pt x="29242" y="-289"/>
                      <a:pt x="33528" y="-3"/>
                      <a:pt x="38385" y="1235"/>
                    </a:cubicBezTo>
                    <a:cubicBezTo>
                      <a:pt x="43053" y="2378"/>
                      <a:pt x="47054" y="4188"/>
                      <a:pt x="50482" y="6473"/>
                    </a:cubicBezTo>
                    <a:cubicBezTo>
                      <a:pt x="53911" y="8855"/>
                      <a:pt x="56673" y="11712"/>
                      <a:pt x="58674" y="15237"/>
                    </a:cubicBezTo>
                    <a:lnTo>
                      <a:pt x="48673" y="22285"/>
                    </a:lnTo>
                    <a:cubicBezTo>
                      <a:pt x="45529" y="17142"/>
                      <a:pt x="41243" y="13903"/>
                      <a:pt x="35719" y="12569"/>
                    </a:cubicBezTo>
                    <a:cubicBezTo>
                      <a:pt x="29718" y="11046"/>
                      <a:pt x="26289" y="12093"/>
                      <a:pt x="25432" y="15522"/>
                    </a:cubicBezTo>
                    <a:cubicBezTo>
                      <a:pt x="25051" y="16856"/>
                      <a:pt x="25241" y="17999"/>
                      <a:pt x="25812" y="18951"/>
                    </a:cubicBezTo>
                    <a:cubicBezTo>
                      <a:pt x="26384" y="19904"/>
                      <a:pt x="27241" y="20761"/>
                      <a:pt x="28384" y="21523"/>
                    </a:cubicBezTo>
                    <a:cubicBezTo>
                      <a:pt x="29527" y="22285"/>
                      <a:pt x="31242" y="23238"/>
                      <a:pt x="33528" y="24381"/>
                    </a:cubicBezTo>
                    <a:lnTo>
                      <a:pt x="36100" y="25714"/>
                    </a:lnTo>
                    <a:cubicBezTo>
                      <a:pt x="40195" y="27905"/>
                      <a:pt x="43434" y="29905"/>
                      <a:pt x="45911" y="31905"/>
                    </a:cubicBezTo>
                    <a:cubicBezTo>
                      <a:pt x="48387" y="33810"/>
                      <a:pt x="50292" y="36287"/>
                      <a:pt x="51435" y="39240"/>
                    </a:cubicBezTo>
                    <a:cubicBezTo>
                      <a:pt x="52673" y="42192"/>
                      <a:pt x="52768" y="45717"/>
                      <a:pt x="51721" y="49812"/>
                    </a:cubicBezTo>
                    <a:cubicBezTo>
                      <a:pt x="50768" y="53527"/>
                      <a:pt x="49053" y="56480"/>
                      <a:pt x="46482" y="58766"/>
                    </a:cubicBezTo>
                    <a:cubicBezTo>
                      <a:pt x="43910" y="61052"/>
                      <a:pt x="40671" y="62385"/>
                      <a:pt x="36671" y="62957"/>
                    </a:cubicBezTo>
                    <a:cubicBezTo>
                      <a:pt x="32671" y="63528"/>
                      <a:pt x="28194" y="63147"/>
                      <a:pt x="23146" y="61909"/>
                    </a:cubicBezTo>
                    <a:cubicBezTo>
                      <a:pt x="18097" y="60671"/>
                      <a:pt x="13716" y="58861"/>
                      <a:pt x="10096" y="56575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34" name="Graphic 2">
              <a:extLst>
                <a:ext uri="{FF2B5EF4-FFF2-40B4-BE49-F238E27FC236}">
                  <a16:creationId xmlns:a16="http://schemas.microsoft.com/office/drawing/2014/main" id="{21E262F8-E543-E75E-CD46-5CDFDA0C3A2F}"/>
                </a:ext>
              </a:extLst>
            </p:cNvPr>
            <p:cNvGrpSpPr/>
            <p:nvPr/>
          </p:nvGrpSpPr>
          <p:grpSpPr>
            <a:xfrm>
              <a:off x="6515632" y="3403200"/>
              <a:ext cx="2109653" cy="636130"/>
              <a:chOff x="5292947" y="3897945"/>
              <a:chExt cx="1587101" cy="463551"/>
            </a:xfrm>
            <a:solidFill>
              <a:srgbClr val="231F20"/>
            </a:solidFill>
          </p:grpSpPr>
          <p:sp>
            <p:nvSpPr>
              <p:cNvPr id="381" name="Freeform: Shape 214">
                <a:extLst>
                  <a:ext uri="{FF2B5EF4-FFF2-40B4-BE49-F238E27FC236}">
                    <a16:creationId xmlns:a16="http://schemas.microsoft.com/office/drawing/2014/main" id="{A4C5725B-247D-6F40-9410-3FCA5EE730D6}"/>
                  </a:ext>
                </a:extLst>
              </p:cNvPr>
              <p:cNvSpPr/>
              <p:nvPr/>
            </p:nvSpPr>
            <p:spPr>
              <a:xfrm>
                <a:off x="5292947" y="4301775"/>
                <a:ext cx="73151" cy="59721"/>
              </a:xfrm>
              <a:custGeom>
                <a:avLst/>
                <a:gdLst>
                  <a:gd name="connsiteX0" fmla="*/ 0 w 73151"/>
                  <a:gd name="connsiteY0" fmla="*/ 13240 h 59721"/>
                  <a:gd name="connsiteX1" fmla="*/ 9715 w 73151"/>
                  <a:gd name="connsiteY1" fmla="*/ 0 h 59721"/>
                  <a:gd name="connsiteX2" fmla="*/ 73152 w 73151"/>
                  <a:gd name="connsiteY2" fmla="*/ 46482 h 59721"/>
                  <a:gd name="connsiteX3" fmla="*/ 63437 w 73151"/>
                  <a:gd name="connsiteY3" fmla="*/ 59722 h 59721"/>
                  <a:gd name="connsiteX4" fmla="*/ 0 w 73151"/>
                  <a:gd name="connsiteY4" fmla="*/ 13240 h 597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3151" h="59721">
                    <a:moveTo>
                      <a:pt x="0" y="13240"/>
                    </a:moveTo>
                    <a:lnTo>
                      <a:pt x="9715" y="0"/>
                    </a:lnTo>
                    <a:lnTo>
                      <a:pt x="73152" y="46482"/>
                    </a:lnTo>
                    <a:lnTo>
                      <a:pt x="63437" y="59722"/>
                    </a:lnTo>
                    <a:lnTo>
                      <a:pt x="0" y="13240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82" name="Freeform: Shape 215">
                <a:extLst>
                  <a:ext uri="{FF2B5EF4-FFF2-40B4-BE49-F238E27FC236}">
                    <a16:creationId xmlns:a16="http://schemas.microsoft.com/office/drawing/2014/main" id="{E957712A-F7B4-F450-D8F2-FB6860B670A1}"/>
                  </a:ext>
                </a:extLst>
              </p:cNvPr>
              <p:cNvSpPr/>
              <p:nvPr/>
            </p:nvSpPr>
            <p:spPr>
              <a:xfrm>
                <a:off x="5327808" y="4262511"/>
                <a:ext cx="81724" cy="73554"/>
              </a:xfrm>
              <a:custGeom>
                <a:avLst/>
                <a:gdLst>
                  <a:gd name="connsiteX0" fmla="*/ 10668 w 81724"/>
                  <a:gd name="connsiteY0" fmla="*/ 44027 h 73554"/>
                  <a:gd name="connsiteX1" fmla="*/ 4477 w 81724"/>
                  <a:gd name="connsiteY1" fmla="*/ 39074 h 73554"/>
                  <a:gd name="connsiteX2" fmla="*/ 0 w 81724"/>
                  <a:gd name="connsiteY2" fmla="*/ 35835 h 73554"/>
                  <a:gd name="connsiteX3" fmla="*/ 9525 w 81724"/>
                  <a:gd name="connsiteY3" fmla="*/ 24310 h 73554"/>
                  <a:gd name="connsiteX4" fmla="*/ 13621 w 81724"/>
                  <a:gd name="connsiteY4" fmla="*/ 27072 h 73554"/>
                  <a:gd name="connsiteX5" fmla="*/ 18383 w 81724"/>
                  <a:gd name="connsiteY5" fmla="*/ 30597 h 73554"/>
                  <a:gd name="connsiteX6" fmla="*/ 18383 w 81724"/>
                  <a:gd name="connsiteY6" fmla="*/ 30406 h 73554"/>
                  <a:gd name="connsiteX7" fmla="*/ 16478 w 81724"/>
                  <a:gd name="connsiteY7" fmla="*/ 18405 h 73554"/>
                  <a:gd name="connsiteX8" fmla="*/ 21431 w 81724"/>
                  <a:gd name="connsiteY8" fmla="*/ 7641 h 73554"/>
                  <a:gd name="connsiteX9" fmla="*/ 35909 w 81724"/>
                  <a:gd name="connsiteY9" fmla="*/ 21 h 73554"/>
                  <a:gd name="connsiteX10" fmla="*/ 52102 w 81724"/>
                  <a:gd name="connsiteY10" fmla="*/ 7070 h 73554"/>
                  <a:gd name="connsiteX11" fmla="*/ 81724 w 81724"/>
                  <a:gd name="connsiteY11" fmla="*/ 31358 h 73554"/>
                  <a:gd name="connsiteX12" fmla="*/ 71819 w 81724"/>
                  <a:gd name="connsiteY12" fmla="*/ 43455 h 73554"/>
                  <a:gd name="connsiteX13" fmla="*/ 45625 w 81724"/>
                  <a:gd name="connsiteY13" fmla="*/ 22024 h 73554"/>
                  <a:gd name="connsiteX14" fmla="*/ 36004 w 81724"/>
                  <a:gd name="connsiteY14" fmla="*/ 17071 h 73554"/>
                  <a:gd name="connsiteX15" fmla="*/ 28099 w 81724"/>
                  <a:gd name="connsiteY15" fmla="*/ 20786 h 73554"/>
                  <a:gd name="connsiteX16" fmla="*/ 25337 w 81724"/>
                  <a:gd name="connsiteY16" fmla="*/ 27263 h 73554"/>
                  <a:gd name="connsiteX17" fmla="*/ 26670 w 81724"/>
                  <a:gd name="connsiteY17" fmla="*/ 34502 h 73554"/>
                  <a:gd name="connsiteX18" fmla="*/ 31909 w 81724"/>
                  <a:gd name="connsiteY18" fmla="*/ 40979 h 73554"/>
                  <a:gd name="connsiteX19" fmla="*/ 56959 w 81724"/>
                  <a:gd name="connsiteY19" fmla="*/ 61458 h 73554"/>
                  <a:gd name="connsiteX20" fmla="*/ 47054 w 81724"/>
                  <a:gd name="connsiteY20" fmla="*/ 73554 h 73554"/>
                  <a:gd name="connsiteX21" fmla="*/ 10763 w 81724"/>
                  <a:gd name="connsiteY21" fmla="*/ 43836 h 73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81724" h="73554">
                    <a:moveTo>
                      <a:pt x="10668" y="44027"/>
                    </a:moveTo>
                    <a:cubicBezTo>
                      <a:pt x="8668" y="42408"/>
                      <a:pt x="6572" y="40788"/>
                      <a:pt x="4477" y="39074"/>
                    </a:cubicBezTo>
                    <a:cubicBezTo>
                      <a:pt x="2286" y="37455"/>
                      <a:pt x="857" y="36312"/>
                      <a:pt x="0" y="35835"/>
                    </a:cubicBezTo>
                    <a:lnTo>
                      <a:pt x="9525" y="24310"/>
                    </a:lnTo>
                    <a:cubicBezTo>
                      <a:pt x="10287" y="24691"/>
                      <a:pt x="11621" y="25644"/>
                      <a:pt x="13621" y="27072"/>
                    </a:cubicBezTo>
                    <a:cubicBezTo>
                      <a:pt x="15621" y="28501"/>
                      <a:pt x="17240" y="29739"/>
                      <a:pt x="18383" y="30597"/>
                    </a:cubicBezTo>
                    <a:lnTo>
                      <a:pt x="18383" y="30406"/>
                    </a:lnTo>
                    <a:cubicBezTo>
                      <a:pt x="16669" y="26120"/>
                      <a:pt x="16002" y="22119"/>
                      <a:pt x="16478" y="18405"/>
                    </a:cubicBezTo>
                    <a:cubicBezTo>
                      <a:pt x="16954" y="14690"/>
                      <a:pt x="18669" y="11070"/>
                      <a:pt x="21431" y="7641"/>
                    </a:cubicBezTo>
                    <a:cubicBezTo>
                      <a:pt x="25813" y="2307"/>
                      <a:pt x="30575" y="-264"/>
                      <a:pt x="35909" y="21"/>
                    </a:cubicBezTo>
                    <a:cubicBezTo>
                      <a:pt x="41243" y="307"/>
                      <a:pt x="46577" y="2593"/>
                      <a:pt x="52102" y="7070"/>
                    </a:cubicBezTo>
                    <a:lnTo>
                      <a:pt x="81724" y="31358"/>
                    </a:lnTo>
                    <a:lnTo>
                      <a:pt x="71819" y="43455"/>
                    </a:lnTo>
                    <a:lnTo>
                      <a:pt x="45625" y="22024"/>
                    </a:lnTo>
                    <a:cubicBezTo>
                      <a:pt x="42100" y="19166"/>
                      <a:pt x="38862" y="17547"/>
                      <a:pt x="36004" y="17071"/>
                    </a:cubicBezTo>
                    <a:cubicBezTo>
                      <a:pt x="33147" y="16595"/>
                      <a:pt x="30480" y="17928"/>
                      <a:pt x="28099" y="20786"/>
                    </a:cubicBezTo>
                    <a:cubicBezTo>
                      <a:pt x="26479" y="22786"/>
                      <a:pt x="25527" y="24882"/>
                      <a:pt x="25337" y="27263"/>
                    </a:cubicBezTo>
                    <a:cubicBezTo>
                      <a:pt x="25051" y="29644"/>
                      <a:pt x="25527" y="32025"/>
                      <a:pt x="26670" y="34502"/>
                    </a:cubicBezTo>
                    <a:cubicBezTo>
                      <a:pt x="27813" y="36883"/>
                      <a:pt x="29528" y="39074"/>
                      <a:pt x="31909" y="40979"/>
                    </a:cubicBezTo>
                    <a:lnTo>
                      <a:pt x="56959" y="61458"/>
                    </a:lnTo>
                    <a:lnTo>
                      <a:pt x="47054" y="73554"/>
                    </a:lnTo>
                    <a:lnTo>
                      <a:pt x="10763" y="43836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83" name="Freeform: Shape 216">
                <a:extLst>
                  <a:ext uri="{FF2B5EF4-FFF2-40B4-BE49-F238E27FC236}">
                    <a16:creationId xmlns:a16="http://schemas.microsoft.com/office/drawing/2014/main" id="{EC78552E-A7E6-18D9-F345-E6924A18979B}"/>
                  </a:ext>
                </a:extLst>
              </p:cNvPr>
              <p:cNvSpPr/>
              <p:nvPr/>
            </p:nvSpPr>
            <p:spPr>
              <a:xfrm>
                <a:off x="5382096" y="4187094"/>
                <a:ext cx="74109" cy="89573"/>
              </a:xfrm>
              <a:custGeom>
                <a:avLst/>
                <a:gdLst>
                  <a:gd name="connsiteX0" fmla="*/ 39439 w 74109"/>
                  <a:gd name="connsiteY0" fmla="*/ 89249 h 89573"/>
                  <a:gd name="connsiteX1" fmla="*/ 25818 w 74109"/>
                  <a:gd name="connsiteY1" fmla="*/ 87439 h 89573"/>
                  <a:gd name="connsiteX2" fmla="*/ 12197 w 74109"/>
                  <a:gd name="connsiteY2" fmla="*/ 78200 h 89573"/>
                  <a:gd name="connsiteX3" fmla="*/ 2386 w 74109"/>
                  <a:gd name="connsiteY3" fmla="*/ 64961 h 89573"/>
                  <a:gd name="connsiteX4" fmla="*/ 196 w 74109"/>
                  <a:gd name="connsiteY4" fmla="*/ 51149 h 89573"/>
                  <a:gd name="connsiteX5" fmla="*/ 6768 w 74109"/>
                  <a:gd name="connsiteY5" fmla="*/ 38481 h 89573"/>
                  <a:gd name="connsiteX6" fmla="*/ 15340 w 74109"/>
                  <a:gd name="connsiteY6" fmla="*/ 32861 h 89573"/>
                  <a:gd name="connsiteX7" fmla="*/ 25437 w 74109"/>
                  <a:gd name="connsiteY7" fmla="*/ 32671 h 89573"/>
                  <a:gd name="connsiteX8" fmla="*/ 25437 w 74109"/>
                  <a:gd name="connsiteY8" fmla="*/ 32671 h 89573"/>
                  <a:gd name="connsiteX9" fmla="*/ 23532 w 74109"/>
                  <a:gd name="connsiteY9" fmla="*/ 30861 h 89573"/>
                  <a:gd name="connsiteX10" fmla="*/ 18960 w 74109"/>
                  <a:gd name="connsiteY10" fmla="*/ 26575 h 89573"/>
                  <a:gd name="connsiteX11" fmla="*/ 2958 w 74109"/>
                  <a:gd name="connsiteY11" fmla="*/ 11335 h 89573"/>
                  <a:gd name="connsiteX12" fmla="*/ 13721 w 74109"/>
                  <a:gd name="connsiteY12" fmla="*/ 0 h 89573"/>
                  <a:gd name="connsiteX13" fmla="*/ 64204 w 74109"/>
                  <a:gd name="connsiteY13" fmla="*/ 48101 h 89573"/>
                  <a:gd name="connsiteX14" fmla="*/ 69538 w 74109"/>
                  <a:gd name="connsiteY14" fmla="*/ 52959 h 89573"/>
                  <a:gd name="connsiteX15" fmla="*/ 72681 w 74109"/>
                  <a:gd name="connsiteY15" fmla="*/ 55626 h 89573"/>
                  <a:gd name="connsiteX16" fmla="*/ 74109 w 74109"/>
                  <a:gd name="connsiteY16" fmla="*/ 56769 h 89573"/>
                  <a:gd name="connsiteX17" fmla="*/ 63632 w 74109"/>
                  <a:gd name="connsiteY17" fmla="*/ 67723 h 89573"/>
                  <a:gd name="connsiteX18" fmla="*/ 60584 w 74109"/>
                  <a:gd name="connsiteY18" fmla="*/ 65532 h 89573"/>
                  <a:gd name="connsiteX19" fmla="*/ 56774 w 74109"/>
                  <a:gd name="connsiteY19" fmla="*/ 62294 h 89573"/>
                  <a:gd name="connsiteX20" fmla="*/ 56583 w 74109"/>
                  <a:gd name="connsiteY20" fmla="*/ 62484 h 89573"/>
                  <a:gd name="connsiteX21" fmla="*/ 56964 w 74109"/>
                  <a:gd name="connsiteY21" fmla="*/ 72866 h 89573"/>
                  <a:gd name="connsiteX22" fmla="*/ 51249 w 74109"/>
                  <a:gd name="connsiteY22" fmla="*/ 82391 h 89573"/>
                  <a:gd name="connsiteX23" fmla="*/ 39343 w 74109"/>
                  <a:gd name="connsiteY23" fmla="*/ 89154 h 89573"/>
                  <a:gd name="connsiteX24" fmla="*/ 48868 w 74109"/>
                  <a:gd name="connsiteY24" fmla="*/ 64389 h 89573"/>
                  <a:gd name="connsiteX25" fmla="*/ 47916 w 74109"/>
                  <a:gd name="connsiteY25" fmla="*/ 56483 h 89573"/>
                  <a:gd name="connsiteX26" fmla="*/ 41153 w 74109"/>
                  <a:gd name="connsiteY26" fmla="*/ 47339 h 89573"/>
                  <a:gd name="connsiteX27" fmla="*/ 28104 w 74109"/>
                  <a:gd name="connsiteY27" fmla="*/ 40291 h 89573"/>
                  <a:gd name="connsiteX28" fmla="*/ 18388 w 74109"/>
                  <a:gd name="connsiteY28" fmla="*/ 44196 h 89573"/>
                  <a:gd name="connsiteX29" fmla="*/ 15531 w 74109"/>
                  <a:gd name="connsiteY29" fmla="*/ 54007 h 89573"/>
                  <a:gd name="connsiteX30" fmla="*/ 23532 w 74109"/>
                  <a:gd name="connsiteY30" fmla="*/ 66294 h 89573"/>
                  <a:gd name="connsiteX31" fmla="*/ 36009 w 74109"/>
                  <a:gd name="connsiteY31" fmla="*/ 73533 h 89573"/>
                  <a:gd name="connsiteX32" fmla="*/ 45820 w 74109"/>
                  <a:gd name="connsiteY32" fmla="*/ 70295 h 89573"/>
                  <a:gd name="connsiteX33" fmla="*/ 48964 w 74109"/>
                  <a:gd name="connsiteY33" fmla="*/ 64294 h 895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74109" h="89573">
                    <a:moveTo>
                      <a:pt x="39439" y="89249"/>
                    </a:moveTo>
                    <a:cubicBezTo>
                      <a:pt x="35057" y="90011"/>
                      <a:pt x="30485" y="89440"/>
                      <a:pt x="25818" y="87439"/>
                    </a:cubicBezTo>
                    <a:cubicBezTo>
                      <a:pt x="21150" y="85439"/>
                      <a:pt x="16579" y="82391"/>
                      <a:pt x="12197" y="78200"/>
                    </a:cubicBezTo>
                    <a:cubicBezTo>
                      <a:pt x="7720" y="74009"/>
                      <a:pt x="4482" y="69533"/>
                      <a:pt x="2386" y="64961"/>
                    </a:cubicBezTo>
                    <a:cubicBezTo>
                      <a:pt x="291" y="60293"/>
                      <a:pt x="-376" y="55721"/>
                      <a:pt x="196" y="51149"/>
                    </a:cubicBezTo>
                    <a:cubicBezTo>
                      <a:pt x="862" y="46577"/>
                      <a:pt x="3053" y="42386"/>
                      <a:pt x="6768" y="38481"/>
                    </a:cubicBezTo>
                    <a:cubicBezTo>
                      <a:pt x="9244" y="35909"/>
                      <a:pt x="12102" y="34004"/>
                      <a:pt x="15340" y="32861"/>
                    </a:cubicBezTo>
                    <a:cubicBezTo>
                      <a:pt x="18579" y="31718"/>
                      <a:pt x="21913" y="31623"/>
                      <a:pt x="25437" y="32671"/>
                    </a:cubicBezTo>
                    <a:lnTo>
                      <a:pt x="25437" y="32671"/>
                    </a:lnTo>
                    <a:cubicBezTo>
                      <a:pt x="24770" y="31909"/>
                      <a:pt x="24103" y="31337"/>
                      <a:pt x="23532" y="30861"/>
                    </a:cubicBezTo>
                    <a:lnTo>
                      <a:pt x="18960" y="26575"/>
                    </a:lnTo>
                    <a:lnTo>
                      <a:pt x="2958" y="11335"/>
                    </a:lnTo>
                    <a:lnTo>
                      <a:pt x="13721" y="0"/>
                    </a:lnTo>
                    <a:lnTo>
                      <a:pt x="64204" y="48101"/>
                    </a:lnTo>
                    <a:cubicBezTo>
                      <a:pt x="66108" y="49911"/>
                      <a:pt x="67823" y="51530"/>
                      <a:pt x="69538" y="52959"/>
                    </a:cubicBezTo>
                    <a:cubicBezTo>
                      <a:pt x="71252" y="54483"/>
                      <a:pt x="72300" y="55340"/>
                      <a:pt x="72681" y="55626"/>
                    </a:cubicBezTo>
                    <a:cubicBezTo>
                      <a:pt x="73443" y="56197"/>
                      <a:pt x="73919" y="56674"/>
                      <a:pt x="74109" y="56769"/>
                    </a:cubicBezTo>
                    <a:lnTo>
                      <a:pt x="63632" y="67723"/>
                    </a:lnTo>
                    <a:cubicBezTo>
                      <a:pt x="63156" y="67532"/>
                      <a:pt x="62108" y="66770"/>
                      <a:pt x="60584" y="65532"/>
                    </a:cubicBezTo>
                    <a:cubicBezTo>
                      <a:pt x="59060" y="64294"/>
                      <a:pt x="57822" y="63246"/>
                      <a:pt x="56774" y="62294"/>
                    </a:cubicBezTo>
                    <a:lnTo>
                      <a:pt x="56583" y="62484"/>
                    </a:lnTo>
                    <a:cubicBezTo>
                      <a:pt x="57822" y="66008"/>
                      <a:pt x="57917" y="69533"/>
                      <a:pt x="56964" y="72866"/>
                    </a:cubicBezTo>
                    <a:cubicBezTo>
                      <a:pt x="56012" y="76200"/>
                      <a:pt x="54012" y="79438"/>
                      <a:pt x="51249" y="82391"/>
                    </a:cubicBezTo>
                    <a:cubicBezTo>
                      <a:pt x="47725" y="86106"/>
                      <a:pt x="43725" y="88297"/>
                      <a:pt x="39343" y="89154"/>
                    </a:cubicBezTo>
                    <a:close/>
                    <a:moveTo>
                      <a:pt x="48868" y="64389"/>
                    </a:moveTo>
                    <a:cubicBezTo>
                      <a:pt x="49345" y="62008"/>
                      <a:pt x="49059" y="59436"/>
                      <a:pt x="47916" y="56483"/>
                    </a:cubicBezTo>
                    <a:cubicBezTo>
                      <a:pt x="46773" y="53530"/>
                      <a:pt x="44487" y="50483"/>
                      <a:pt x="41153" y="47339"/>
                    </a:cubicBezTo>
                    <a:cubicBezTo>
                      <a:pt x="36295" y="42767"/>
                      <a:pt x="31914" y="40386"/>
                      <a:pt x="28104" y="40291"/>
                    </a:cubicBezTo>
                    <a:cubicBezTo>
                      <a:pt x="24198" y="40196"/>
                      <a:pt x="21055" y="41529"/>
                      <a:pt x="18388" y="44196"/>
                    </a:cubicBezTo>
                    <a:cubicBezTo>
                      <a:pt x="15816" y="46958"/>
                      <a:pt x="14769" y="50197"/>
                      <a:pt x="15531" y="54007"/>
                    </a:cubicBezTo>
                    <a:cubicBezTo>
                      <a:pt x="16197" y="57817"/>
                      <a:pt x="18864" y="61913"/>
                      <a:pt x="23532" y="66294"/>
                    </a:cubicBezTo>
                    <a:cubicBezTo>
                      <a:pt x="27913" y="70485"/>
                      <a:pt x="32104" y="72962"/>
                      <a:pt x="36009" y="73533"/>
                    </a:cubicBezTo>
                    <a:cubicBezTo>
                      <a:pt x="39915" y="74200"/>
                      <a:pt x="43153" y="73057"/>
                      <a:pt x="45820" y="70295"/>
                    </a:cubicBezTo>
                    <a:cubicBezTo>
                      <a:pt x="47439" y="68675"/>
                      <a:pt x="48487" y="66675"/>
                      <a:pt x="48964" y="64294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84" name="Freeform: Shape 217">
                <a:extLst>
                  <a:ext uri="{FF2B5EF4-FFF2-40B4-BE49-F238E27FC236}">
                    <a16:creationId xmlns:a16="http://schemas.microsoft.com/office/drawing/2014/main" id="{AA3DD4D3-DE84-83AE-7223-6DBFD2B66F47}"/>
                  </a:ext>
                </a:extLst>
              </p:cNvPr>
              <p:cNvSpPr/>
              <p:nvPr/>
            </p:nvSpPr>
            <p:spPr>
              <a:xfrm>
                <a:off x="5425249" y="4153281"/>
                <a:ext cx="81534" cy="74765"/>
              </a:xfrm>
              <a:custGeom>
                <a:avLst/>
                <a:gdLst>
                  <a:gd name="connsiteX0" fmla="*/ 40577 w 81534"/>
                  <a:gd name="connsiteY0" fmla="*/ 74485 h 74765"/>
                  <a:gd name="connsiteX1" fmla="*/ 25718 w 81534"/>
                  <a:gd name="connsiteY1" fmla="*/ 65151 h 74765"/>
                  <a:gd name="connsiteX2" fmla="*/ 0 w 81534"/>
                  <a:gd name="connsiteY2" fmla="*/ 36766 h 74765"/>
                  <a:gd name="connsiteX3" fmla="*/ 11621 w 81534"/>
                  <a:gd name="connsiteY3" fmla="*/ 26289 h 74765"/>
                  <a:gd name="connsiteX4" fmla="*/ 34290 w 81534"/>
                  <a:gd name="connsiteY4" fmla="*/ 51340 h 74765"/>
                  <a:gd name="connsiteX5" fmla="*/ 43053 w 81534"/>
                  <a:gd name="connsiteY5" fmla="*/ 57531 h 74765"/>
                  <a:gd name="connsiteX6" fmla="*/ 51340 w 81534"/>
                  <a:gd name="connsiteY6" fmla="*/ 55054 h 74765"/>
                  <a:gd name="connsiteX7" fmla="*/ 55054 w 81534"/>
                  <a:gd name="connsiteY7" fmla="*/ 49054 h 74765"/>
                  <a:gd name="connsiteX8" fmla="*/ 54864 w 81534"/>
                  <a:gd name="connsiteY8" fmla="*/ 41720 h 74765"/>
                  <a:gd name="connsiteX9" fmla="*/ 50673 w 81534"/>
                  <a:gd name="connsiteY9" fmla="*/ 34480 h 74765"/>
                  <a:gd name="connsiteX10" fmla="*/ 29051 w 81534"/>
                  <a:gd name="connsiteY10" fmla="*/ 10478 h 74765"/>
                  <a:gd name="connsiteX11" fmla="*/ 40672 w 81534"/>
                  <a:gd name="connsiteY11" fmla="*/ 0 h 74765"/>
                  <a:gd name="connsiteX12" fmla="*/ 72104 w 81534"/>
                  <a:gd name="connsiteY12" fmla="*/ 34766 h 74765"/>
                  <a:gd name="connsiteX13" fmla="*/ 77534 w 81534"/>
                  <a:gd name="connsiteY13" fmla="*/ 40576 h 74765"/>
                  <a:gd name="connsiteX14" fmla="*/ 81534 w 81534"/>
                  <a:gd name="connsiteY14" fmla="*/ 44577 h 74765"/>
                  <a:gd name="connsiteX15" fmla="*/ 70390 w 81534"/>
                  <a:gd name="connsiteY15" fmla="*/ 54578 h 74765"/>
                  <a:gd name="connsiteX16" fmla="*/ 66675 w 81534"/>
                  <a:gd name="connsiteY16" fmla="*/ 51149 h 74765"/>
                  <a:gd name="connsiteX17" fmla="*/ 62579 w 81534"/>
                  <a:gd name="connsiteY17" fmla="*/ 46958 h 74765"/>
                  <a:gd name="connsiteX18" fmla="*/ 62389 w 81534"/>
                  <a:gd name="connsiteY18" fmla="*/ 47149 h 74765"/>
                  <a:gd name="connsiteX19" fmla="*/ 62675 w 81534"/>
                  <a:gd name="connsiteY19" fmla="*/ 59150 h 74765"/>
                  <a:gd name="connsiteX20" fmla="*/ 56102 w 81534"/>
                  <a:gd name="connsiteY20" fmla="*/ 69056 h 74765"/>
                  <a:gd name="connsiteX21" fmla="*/ 40672 w 81534"/>
                  <a:gd name="connsiteY21" fmla="*/ 74485 h 74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81534" h="74765">
                    <a:moveTo>
                      <a:pt x="40577" y="74485"/>
                    </a:moveTo>
                    <a:cubicBezTo>
                      <a:pt x="35433" y="73533"/>
                      <a:pt x="30480" y="70390"/>
                      <a:pt x="25718" y="65151"/>
                    </a:cubicBezTo>
                    <a:lnTo>
                      <a:pt x="0" y="36766"/>
                    </a:lnTo>
                    <a:lnTo>
                      <a:pt x="11621" y="26289"/>
                    </a:lnTo>
                    <a:lnTo>
                      <a:pt x="34290" y="51340"/>
                    </a:lnTo>
                    <a:cubicBezTo>
                      <a:pt x="37338" y="54673"/>
                      <a:pt x="40196" y="56769"/>
                      <a:pt x="43053" y="57531"/>
                    </a:cubicBezTo>
                    <a:cubicBezTo>
                      <a:pt x="45816" y="58388"/>
                      <a:pt x="48578" y="57531"/>
                      <a:pt x="51340" y="55054"/>
                    </a:cubicBezTo>
                    <a:cubicBezTo>
                      <a:pt x="53150" y="53340"/>
                      <a:pt x="54388" y="51340"/>
                      <a:pt x="55054" y="49054"/>
                    </a:cubicBezTo>
                    <a:cubicBezTo>
                      <a:pt x="55721" y="46768"/>
                      <a:pt x="55626" y="44291"/>
                      <a:pt x="54864" y="41720"/>
                    </a:cubicBezTo>
                    <a:cubicBezTo>
                      <a:pt x="54102" y="39148"/>
                      <a:pt x="52769" y="36766"/>
                      <a:pt x="50673" y="34480"/>
                    </a:cubicBezTo>
                    <a:lnTo>
                      <a:pt x="29051" y="10478"/>
                    </a:lnTo>
                    <a:lnTo>
                      <a:pt x="40672" y="0"/>
                    </a:lnTo>
                    <a:lnTo>
                      <a:pt x="72104" y="34766"/>
                    </a:lnTo>
                    <a:cubicBezTo>
                      <a:pt x="73819" y="36671"/>
                      <a:pt x="75629" y="38576"/>
                      <a:pt x="77534" y="40576"/>
                    </a:cubicBezTo>
                    <a:cubicBezTo>
                      <a:pt x="79439" y="42577"/>
                      <a:pt x="80772" y="43815"/>
                      <a:pt x="81534" y="44577"/>
                    </a:cubicBezTo>
                    <a:lnTo>
                      <a:pt x="70390" y="54578"/>
                    </a:lnTo>
                    <a:cubicBezTo>
                      <a:pt x="69723" y="54007"/>
                      <a:pt x="68485" y="52864"/>
                      <a:pt x="66675" y="51149"/>
                    </a:cubicBezTo>
                    <a:cubicBezTo>
                      <a:pt x="64866" y="49435"/>
                      <a:pt x="63532" y="48006"/>
                      <a:pt x="62579" y="46958"/>
                    </a:cubicBezTo>
                    <a:lnTo>
                      <a:pt x="62389" y="47149"/>
                    </a:lnTo>
                    <a:cubicBezTo>
                      <a:pt x="63627" y="51625"/>
                      <a:pt x="63722" y="55626"/>
                      <a:pt x="62675" y="59150"/>
                    </a:cubicBezTo>
                    <a:cubicBezTo>
                      <a:pt x="61627" y="62674"/>
                      <a:pt x="59341" y="66008"/>
                      <a:pt x="56102" y="69056"/>
                    </a:cubicBezTo>
                    <a:cubicBezTo>
                      <a:pt x="50959" y="73628"/>
                      <a:pt x="45816" y="75533"/>
                      <a:pt x="40672" y="74485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85" name="Freeform: Shape 218">
                <a:extLst>
                  <a:ext uri="{FF2B5EF4-FFF2-40B4-BE49-F238E27FC236}">
                    <a16:creationId xmlns:a16="http://schemas.microsoft.com/office/drawing/2014/main" id="{E082F843-EB80-24B4-E18B-E35D0E5761CE}"/>
                  </a:ext>
                </a:extLst>
              </p:cNvPr>
              <p:cNvSpPr/>
              <p:nvPr/>
            </p:nvSpPr>
            <p:spPr>
              <a:xfrm>
                <a:off x="5484917" y="4119633"/>
                <a:ext cx="61539" cy="66318"/>
              </a:xfrm>
              <a:custGeom>
                <a:avLst/>
                <a:gdLst>
                  <a:gd name="connsiteX0" fmla="*/ 37487 w 61539"/>
                  <a:gd name="connsiteY0" fmla="*/ 64223 h 66318"/>
                  <a:gd name="connsiteX1" fmla="*/ 24248 w 61539"/>
                  <a:gd name="connsiteY1" fmla="*/ 66319 h 66318"/>
                  <a:gd name="connsiteX2" fmla="*/ 23200 w 61539"/>
                  <a:gd name="connsiteY2" fmla="*/ 53460 h 66318"/>
                  <a:gd name="connsiteX3" fmla="*/ 34058 w 61539"/>
                  <a:gd name="connsiteY3" fmla="*/ 52222 h 66318"/>
                  <a:gd name="connsiteX4" fmla="*/ 42440 w 61539"/>
                  <a:gd name="connsiteY4" fmla="*/ 48031 h 66318"/>
                  <a:gd name="connsiteX5" fmla="*/ 47774 w 61539"/>
                  <a:gd name="connsiteY5" fmla="*/ 42220 h 66318"/>
                  <a:gd name="connsiteX6" fmla="*/ 47203 w 61539"/>
                  <a:gd name="connsiteY6" fmla="*/ 36982 h 66318"/>
                  <a:gd name="connsiteX7" fmla="*/ 43774 w 61539"/>
                  <a:gd name="connsiteY7" fmla="*/ 34981 h 66318"/>
                  <a:gd name="connsiteX8" fmla="*/ 39487 w 61539"/>
                  <a:gd name="connsiteY8" fmla="*/ 35553 h 66318"/>
                  <a:gd name="connsiteX9" fmla="*/ 33391 w 61539"/>
                  <a:gd name="connsiteY9" fmla="*/ 38125 h 66318"/>
                  <a:gd name="connsiteX10" fmla="*/ 30629 w 61539"/>
                  <a:gd name="connsiteY10" fmla="*/ 39363 h 66318"/>
                  <a:gd name="connsiteX11" fmla="*/ 20533 w 61539"/>
                  <a:gd name="connsiteY11" fmla="*/ 42887 h 66318"/>
                  <a:gd name="connsiteX12" fmla="*/ 11865 w 61539"/>
                  <a:gd name="connsiteY12" fmla="*/ 42602 h 66318"/>
                  <a:gd name="connsiteX13" fmla="*/ 3959 w 61539"/>
                  <a:gd name="connsiteY13" fmla="*/ 36696 h 66318"/>
                  <a:gd name="connsiteX14" fmla="*/ 54 w 61539"/>
                  <a:gd name="connsiteY14" fmla="*/ 27266 h 66318"/>
                  <a:gd name="connsiteX15" fmla="*/ 2435 w 61539"/>
                  <a:gd name="connsiteY15" fmla="*/ 17360 h 66318"/>
                  <a:gd name="connsiteX16" fmla="*/ 11103 w 61539"/>
                  <a:gd name="connsiteY16" fmla="*/ 7740 h 66318"/>
                  <a:gd name="connsiteX17" fmla="*/ 22724 w 61539"/>
                  <a:gd name="connsiteY17" fmla="*/ 1358 h 66318"/>
                  <a:gd name="connsiteX18" fmla="*/ 34630 w 61539"/>
                  <a:gd name="connsiteY18" fmla="*/ 215 h 66318"/>
                  <a:gd name="connsiteX19" fmla="*/ 34058 w 61539"/>
                  <a:gd name="connsiteY19" fmla="*/ 12502 h 66318"/>
                  <a:gd name="connsiteX20" fmla="*/ 18437 w 61539"/>
                  <a:gd name="connsiteY20" fmla="*/ 16789 h 66318"/>
                  <a:gd name="connsiteX21" fmla="*/ 14437 w 61539"/>
                  <a:gd name="connsiteY21" fmla="*/ 26695 h 66318"/>
                  <a:gd name="connsiteX22" fmla="*/ 17390 w 61539"/>
                  <a:gd name="connsiteY22" fmla="*/ 28504 h 66318"/>
                  <a:gd name="connsiteX23" fmla="*/ 21009 w 61539"/>
                  <a:gd name="connsiteY23" fmla="*/ 28028 h 66318"/>
                  <a:gd name="connsiteX24" fmla="*/ 26343 w 61539"/>
                  <a:gd name="connsiteY24" fmla="*/ 25742 h 66318"/>
                  <a:gd name="connsiteX25" fmla="*/ 29010 w 61539"/>
                  <a:gd name="connsiteY25" fmla="*/ 24504 h 66318"/>
                  <a:gd name="connsiteX26" fmla="*/ 39868 w 61539"/>
                  <a:gd name="connsiteY26" fmla="*/ 20503 h 66318"/>
                  <a:gd name="connsiteX27" fmla="*/ 49012 w 61539"/>
                  <a:gd name="connsiteY27" fmla="*/ 20599 h 66318"/>
                  <a:gd name="connsiteX28" fmla="*/ 57585 w 61539"/>
                  <a:gd name="connsiteY28" fmla="*/ 26885 h 66318"/>
                  <a:gd name="connsiteX29" fmla="*/ 61490 w 61539"/>
                  <a:gd name="connsiteY29" fmla="*/ 36505 h 66318"/>
                  <a:gd name="connsiteX30" fmla="*/ 58823 w 61539"/>
                  <a:gd name="connsiteY30" fmla="*/ 46888 h 66318"/>
                  <a:gd name="connsiteX31" fmla="*/ 49679 w 61539"/>
                  <a:gd name="connsiteY31" fmla="*/ 56984 h 66318"/>
                  <a:gd name="connsiteX32" fmla="*/ 37487 w 61539"/>
                  <a:gd name="connsiteY32" fmla="*/ 63937 h 66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61539" h="66318">
                    <a:moveTo>
                      <a:pt x="37487" y="64223"/>
                    </a:moveTo>
                    <a:cubicBezTo>
                      <a:pt x="33391" y="65652"/>
                      <a:pt x="29010" y="66319"/>
                      <a:pt x="24248" y="66319"/>
                    </a:cubicBezTo>
                    <a:lnTo>
                      <a:pt x="23200" y="53460"/>
                    </a:lnTo>
                    <a:cubicBezTo>
                      <a:pt x="27391" y="53460"/>
                      <a:pt x="31010" y="52984"/>
                      <a:pt x="34058" y="52222"/>
                    </a:cubicBezTo>
                    <a:cubicBezTo>
                      <a:pt x="37106" y="51460"/>
                      <a:pt x="39868" y="50031"/>
                      <a:pt x="42440" y="48031"/>
                    </a:cubicBezTo>
                    <a:cubicBezTo>
                      <a:pt x="45012" y="46030"/>
                      <a:pt x="46822" y="44030"/>
                      <a:pt x="47774" y="42220"/>
                    </a:cubicBezTo>
                    <a:cubicBezTo>
                      <a:pt x="48727" y="40411"/>
                      <a:pt x="48536" y="38696"/>
                      <a:pt x="47203" y="36982"/>
                    </a:cubicBezTo>
                    <a:cubicBezTo>
                      <a:pt x="46250" y="35743"/>
                      <a:pt x="45107" y="35077"/>
                      <a:pt x="43774" y="34981"/>
                    </a:cubicBezTo>
                    <a:cubicBezTo>
                      <a:pt x="42440" y="34886"/>
                      <a:pt x="41011" y="34981"/>
                      <a:pt x="39487" y="35553"/>
                    </a:cubicBezTo>
                    <a:cubicBezTo>
                      <a:pt x="37963" y="36124"/>
                      <a:pt x="35963" y="36982"/>
                      <a:pt x="33391" y="38125"/>
                    </a:cubicBezTo>
                    <a:lnTo>
                      <a:pt x="30629" y="39363"/>
                    </a:lnTo>
                    <a:cubicBezTo>
                      <a:pt x="26819" y="41077"/>
                      <a:pt x="23390" y="42220"/>
                      <a:pt x="20533" y="42887"/>
                    </a:cubicBezTo>
                    <a:cubicBezTo>
                      <a:pt x="17675" y="43554"/>
                      <a:pt x="14723" y="43459"/>
                      <a:pt x="11865" y="42602"/>
                    </a:cubicBezTo>
                    <a:cubicBezTo>
                      <a:pt x="9007" y="41744"/>
                      <a:pt x="6436" y="39839"/>
                      <a:pt x="3959" y="36696"/>
                    </a:cubicBezTo>
                    <a:cubicBezTo>
                      <a:pt x="1578" y="33743"/>
                      <a:pt x="340" y="30600"/>
                      <a:pt x="54" y="27266"/>
                    </a:cubicBezTo>
                    <a:cubicBezTo>
                      <a:pt x="-232" y="24028"/>
                      <a:pt x="625" y="20694"/>
                      <a:pt x="2435" y="17360"/>
                    </a:cubicBezTo>
                    <a:cubicBezTo>
                      <a:pt x="4340" y="14027"/>
                      <a:pt x="7198" y="10788"/>
                      <a:pt x="11103" y="7740"/>
                    </a:cubicBezTo>
                    <a:cubicBezTo>
                      <a:pt x="14818" y="4787"/>
                      <a:pt x="18723" y="2692"/>
                      <a:pt x="22724" y="1358"/>
                    </a:cubicBezTo>
                    <a:cubicBezTo>
                      <a:pt x="26724" y="25"/>
                      <a:pt x="30724" y="-261"/>
                      <a:pt x="34630" y="215"/>
                    </a:cubicBezTo>
                    <a:lnTo>
                      <a:pt x="34058" y="12502"/>
                    </a:lnTo>
                    <a:cubicBezTo>
                      <a:pt x="28057" y="11836"/>
                      <a:pt x="22914" y="13264"/>
                      <a:pt x="18437" y="16789"/>
                    </a:cubicBezTo>
                    <a:cubicBezTo>
                      <a:pt x="13579" y="20599"/>
                      <a:pt x="12246" y="23932"/>
                      <a:pt x="14437" y="26695"/>
                    </a:cubicBezTo>
                    <a:cubicBezTo>
                      <a:pt x="15294" y="27743"/>
                      <a:pt x="16246" y="28409"/>
                      <a:pt x="17390" y="28504"/>
                    </a:cubicBezTo>
                    <a:cubicBezTo>
                      <a:pt x="18532" y="28600"/>
                      <a:pt x="19771" y="28504"/>
                      <a:pt x="21009" y="28028"/>
                    </a:cubicBezTo>
                    <a:cubicBezTo>
                      <a:pt x="22342" y="27552"/>
                      <a:pt x="24057" y="26790"/>
                      <a:pt x="26343" y="25742"/>
                    </a:cubicBezTo>
                    <a:lnTo>
                      <a:pt x="29010" y="24504"/>
                    </a:lnTo>
                    <a:cubicBezTo>
                      <a:pt x="33201" y="22599"/>
                      <a:pt x="36820" y="21265"/>
                      <a:pt x="39868" y="20503"/>
                    </a:cubicBezTo>
                    <a:cubicBezTo>
                      <a:pt x="42916" y="19741"/>
                      <a:pt x="45965" y="19741"/>
                      <a:pt x="49012" y="20599"/>
                    </a:cubicBezTo>
                    <a:cubicBezTo>
                      <a:pt x="52060" y="21456"/>
                      <a:pt x="54918" y="23552"/>
                      <a:pt x="57585" y="26885"/>
                    </a:cubicBezTo>
                    <a:cubicBezTo>
                      <a:pt x="59966" y="29933"/>
                      <a:pt x="61204" y="33077"/>
                      <a:pt x="61490" y="36505"/>
                    </a:cubicBezTo>
                    <a:cubicBezTo>
                      <a:pt x="61776" y="39935"/>
                      <a:pt x="60824" y="43363"/>
                      <a:pt x="58823" y="46888"/>
                    </a:cubicBezTo>
                    <a:cubicBezTo>
                      <a:pt x="56823" y="50412"/>
                      <a:pt x="53775" y="53746"/>
                      <a:pt x="49679" y="56984"/>
                    </a:cubicBezTo>
                    <a:cubicBezTo>
                      <a:pt x="45583" y="60223"/>
                      <a:pt x="41488" y="62509"/>
                      <a:pt x="37487" y="63937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86" name="Freeform: Shape 219">
                <a:extLst>
                  <a:ext uri="{FF2B5EF4-FFF2-40B4-BE49-F238E27FC236}">
                    <a16:creationId xmlns:a16="http://schemas.microsoft.com/office/drawing/2014/main" id="{32C6F2F2-ABC7-4A14-F9E3-ED0D54CEB2A6}"/>
                  </a:ext>
                </a:extLst>
              </p:cNvPr>
              <p:cNvSpPr/>
              <p:nvPr/>
            </p:nvSpPr>
            <p:spPr>
              <a:xfrm>
                <a:off x="5521451" y="4083748"/>
                <a:ext cx="64103" cy="65716"/>
              </a:xfrm>
              <a:custGeom>
                <a:avLst/>
                <a:gdLst>
                  <a:gd name="connsiteX0" fmla="*/ 42958 w 64103"/>
                  <a:gd name="connsiteY0" fmla="*/ 65437 h 65716"/>
                  <a:gd name="connsiteX1" fmla="*/ 32671 w 64103"/>
                  <a:gd name="connsiteY1" fmla="*/ 57817 h 65716"/>
                  <a:gd name="connsiteX2" fmla="*/ 13430 w 64103"/>
                  <a:gd name="connsiteY2" fmla="*/ 30575 h 65716"/>
                  <a:gd name="connsiteX3" fmla="*/ 7144 w 64103"/>
                  <a:gd name="connsiteY3" fmla="*/ 34957 h 65716"/>
                  <a:gd name="connsiteX4" fmla="*/ 381 w 64103"/>
                  <a:gd name="connsiteY4" fmla="*/ 25432 h 65716"/>
                  <a:gd name="connsiteX5" fmla="*/ 7239 w 64103"/>
                  <a:gd name="connsiteY5" fmla="*/ 20574 h 65716"/>
                  <a:gd name="connsiteX6" fmla="*/ 0 w 64103"/>
                  <a:gd name="connsiteY6" fmla="*/ 9049 h 65716"/>
                  <a:gd name="connsiteX7" fmla="*/ 10668 w 64103"/>
                  <a:gd name="connsiteY7" fmla="*/ 0 h 65716"/>
                  <a:gd name="connsiteX8" fmla="*/ 19241 w 64103"/>
                  <a:gd name="connsiteY8" fmla="*/ 12097 h 65716"/>
                  <a:gd name="connsiteX9" fmla="*/ 29051 w 64103"/>
                  <a:gd name="connsiteY9" fmla="*/ 5144 h 65716"/>
                  <a:gd name="connsiteX10" fmla="*/ 35814 w 64103"/>
                  <a:gd name="connsiteY10" fmla="*/ 14669 h 65716"/>
                  <a:gd name="connsiteX11" fmla="*/ 26003 w 64103"/>
                  <a:gd name="connsiteY11" fmla="*/ 21622 h 65716"/>
                  <a:gd name="connsiteX12" fmla="*/ 42863 w 64103"/>
                  <a:gd name="connsiteY12" fmla="*/ 45434 h 65716"/>
                  <a:gd name="connsiteX13" fmla="*/ 47339 w 64103"/>
                  <a:gd name="connsiteY13" fmla="*/ 49340 h 65716"/>
                  <a:gd name="connsiteX14" fmla="*/ 52007 w 64103"/>
                  <a:gd name="connsiteY14" fmla="*/ 48196 h 65716"/>
                  <a:gd name="connsiteX15" fmla="*/ 56293 w 64103"/>
                  <a:gd name="connsiteY15" fmla="*/ 44387 h 65716"/>
                  <a:gd name="connsiteX16" fmla="*/ 64103 w 64103"/>
                  <a:gd name="connsiteY16" fmla="*/ 53435 h 65716"/>
                  <a:gd name="connsiteX17" fmla="*/ 54769 w 64103"/>
                  <a:gd name="connsiteY17" fmla="*/ 62198 h 65716"/>
                  <a:gd name="connsiteX18" fmla="*/ 42958 w 64103"/>
                  <a:gd name="connsiteY18" fmla="*/ 65532 h 657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64103" h="65716">
                    <a:moveTo>
                      <a:pt x="42958" y="65437"/>
                    </a:moveTo>
                    <a:cubicBezTo>
                      <a:pt x="39243" y="64770"/>
                      <a:pt x="35814" y="62198"/>
                      <a:pt x="32671" y="57817"/>
                    </a:cubicBezTo>
                    <a:lnTo>
                      <a:pt x="13430" y="30575"/>
                    </a:lnTo>
                    <a:lnTo>
                      <a:pt x="7144" y="34957"/>
                    </a:lnTo>
                    <a:lnTo>
                      <a:pt x="381" y="25432"/>
                    </a:lnTo>
                    <a:lnTo>
                      <a:pt x="7239" y="20574"/>
                    </a:lnTo>
                    <a:lnTo>
                      <a:pt x="0" y="9049"/>
                    </a:lnTo>
                    <a:lnTo>
                      <a:pt x="10668" y="0"/>
                    </a:lnTo>
                    <a:lnTo>
                      <a:pt x="19241" y="12097"/>
                    </a:lnTo>
                    <a:lnTo>
                      <a:pt x="29051" y="5144"/>
                    </a:lnTo>
                    <a:lnTo>
                      <a:pt x="35814" y="14669"/>
                    </a:lnTo>
                    <a:lnTo>
                      <a:pt x="26003" y="21622"/>
                    </a:lnTo>
                    <a:lnTo>
                      <a:pt x="42863" y="45434"/>
                    </a:lnTo>
                    <a:cubicBezTo>
                      <a:pt x="44387" y="47530"/>
                      <a:pt x="45815" y="48863"/>
                      <a:pt x="47339" y="49340"/>
                    </a:cubicBezTo>
                    <a:cubicBezTo>
                      <a:pt x="48768" y="49816"/>
                      <a:pt x="50387" y="49340"/>
                      <a:pt x="52007" y="48196"/>
                    </a:cubicBezTo>
                    <a:cubicBezTo>
                      <a:pt x="53340" y="47244"/>
                      <a:pt x="54769" y="46006"/>
                      <a:pt x="56293" y="44387"/>
                    </a:cubicBezTo>
                    <a:lnTo>
                      <a:pt x="64103" y="53435"/>
                    </a:lnTo>
                    <a:cubicBezTo>
                      <a:pt x="61341" y="56864"/>
                      <a:pt x="58198" y="59817"/>
                      <a:pt x="54769" y="62198"/>
                    </a:cubicBezTo>
                    <a:cubicBezTo>
                      <a:pt x="50673" y="65056"/>
                      <a:pt x="46768" y="66199"/>
                      <a:pt x="42958" y="65532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87" name="Freeform: Shape 220">
                <a:extLst>
                  <a:ext uri="{FF2B5EF4-FFF2-40B4-BE49-F238E27FC236}">
                    <a16:creationId xmlns:a16="http://schemas.microsoft.com/office/drawing/2014/main" id="{24E4CADC-BF1C-4BC5-5D45-A8770074B349}"/>
                  </a:ext>
                </a:extLst>
              </p:cNvPr>
              <p:cNvSpPr/>
              <p:nvPr/>
            </p:nvSpPr>
            <p:spPr>
              <a:xfrm>
                <a:off x="5560123" y="4063174"/>
                <a:ext cx="46005" cy="69723"/>
              </a:xfrm>
              <a:custGeom>
                <a:avLst/>
                <a:gdLst>
                  <a:gd name="connsiteX0" fmla="*/ 8096 w 46005"/>
                  <a:gd name="connsiteY0" fmla="*/ 30956 h 69723"/>
                  <a:gd name="connsiteX1" fmla="*/ 3429 w 46005"/>
                  <a:gd name="connsiteY1" fmla="*/ 24003 h 69723"/>
                  <a:gd name="connsiteX2" fmla="*/ 0 w 46005"/>
                  <a:gd name="connsiteY2" fmla="*/ 19241 h 69723"/>
                  <a:gd name="connsiteX3" fmla="*/ 12573 w 46005"/>
                  <a:gd name="connsiteY3" fmla="*/ 11144 h 69723"/>
                  <a:gd name="connsiteX4" fmla="*/ 15526 w 46005"/>
                  <a:gd name="connsiteY4" fmla="*/ 14954 h 69723"/>
                  <a:gd name="connsiteX5" fmla="*/ 18860 w 46005"/>
                  <a:gd name="connsiteY5" fmla="*/ 19622 h 69723"/>
                  <a:gd name="connsiteX6" fmla="*/ 19050 w 46005"/>
                  <a:gd name="connsiteY6" fmla="*/ 19622 h 69723"/>
                  <a:gd name="connsiteX7" fmla="*/ 18288 w 46005"/>
                  <a:gd name="connsiteY7" fmla="*/ 12097 h 69723"/>
                  <a:gd name="connsiteX8" fmla="*/ 19812 w 46005"/>
                  <a:gd name="connsiteY8" fmla="*/ 6668 h 69723"/>
                  <a:gd name="connsiteX9" fmla="*/ 24670 w 46005"/>
                  <a:gd name="connsiteY9" fmla="*/ 1905 h 69723"/>
                  <a:gd name="connsiteX10" fmla="*/ 27242 w 46005"/>
                  <a:gd name="connsiteY10" fmla="*/ 572 h 69723"/>
                  <a:gd name="connsiteX11" fmla="*/ 29337 w 46005"/>
                  <a:gd name="connsiteY11" fmla="*/ 0 h 69723"/>
                  <a:gd name="connsiteX12" fmla="*/ 36290 w 46005"/>
                  <a:gd name="connsiteY12" fmla="*/ 11621 h 69723"/>
                  <a:gd name="connsiteX13" fmla="*/ 35147 w 46005"/>
                  <a:gd name="connsiteY13" fmla="*/ 12097 h 69723"/>
                  <a:gd name="connsiteX14" fmla="*/ 30480 w 46005"/>
                  <a:gd name="connsiteY14" fmla="*/ 14383 h 69723"/>
                  <a:gd name="connsiteX15" fmla="*/ 25432 w 46005"/>
                  <a:gd name="connsiteY15" fmla="*/ 23241 h 69723"/>
                  <a:gd name="connsiteX16" fmla="*/ 30004 w 46005"/>
                  <a:gd name="connsiteY16" fmla="*/ 36386 h 69723"/>
                  <a:gd name="connsiteX17" fmla="*/ 46006 w 46005"/>
                  <a:gd name="connsiteY17" fmla="*/ 61246 h 69723"/>
                  <a:gd name="connsiteX18" fmla="*/ 32861 w 46005"/>
                  <a:gd name="connsiteY18" fmla="*/ 69723 h 69723"/>
                  <a:gd name="connsiteX19" fmla="*/ 7906 w 46005"/>
                  <a:gd name="connsiteY19" fmla="*/ 30861 h 69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46005" h="69723">
                    <a:moveTo>
                      <a:pt x="8096" y="30956"/>
                    </a:moveTo>
                    <a:cubicBezTo>
                      <a:pt x="6668" y="28766"/>
                      <a:pt x="5144" y="26479"/>
                      <a:pt x="3429" y="24003"/>
                    </a:cubicBezTo>
                    <a:cubicBezTo>
                      <a:pt x="1715" y="21527"/>
                      <a:pt x="667" y="20003"/>
                      <a:pt x="0" y="19241"/>
                    </a:cubicBezTo>
                    <a:lnTo>
                      <a:pt x="12573" y="11144"/>
                    </a:lnTo>
                    <a:cubicBezTo>
                      <a:pt x="13049" y="11621"/>
                      <a:pt x="14097" y="12859"/>
                      <a:pt x="15526" y="14954"/>
                    </a:cubicBezTo>
                    <a:cubicBezTo>
                      <a:pt x="16954" y="17050"/>
                      <a:pt x="18098" y="18574"/>
                      <a:pt x="18860" y="19622"/>
                    </a:cubicBezTo>
                    <a:lnTo>
                      <a:pt x="19050" y="19622"/>
                    </a:lnTo>
                    <a:cubicBezTo>
                      <a:pt x="18479" y="16478"/>
                      <a:pt x="18288" y="14002"/>
                      <a:pt x="18288" y="12097"/>
                    </a:cubicBezTo>
                    <a:cubicBezTo>
                      <a:pt x="18288" y="10192"/>
                      <a:pt x="18860" y="8382"/>
                      <a:pt x="19812" y="6668"/>
                    </a:cubicBezTo>
                    <a:cubicBezTo>
                      <a:pt x="20765" y="4953"/>
                      <a:pt x="22384" y="3429"/>
                      <a:pt x="24670" y="1905"/>
                    </a:cubicBezTo>
                    <a:cubicBezTo>
                      <a:pt x="25527" y="1334"/>
                      <a:pt x="26384" y="953"/>
                      <a:pt x="27242" y="572"/>
                    </a:cubicBezTo>
                    <a:cubicBezTo>
                      <a:pt x="28099" y="191"/>
                      <a:pt x="28861" y="0"/>
                      <a:pt x="29337" y="0"/>
                    </a:cubicBezTo>
                    <a:lnTo>
                      <a:pt x="36290" y="11621"/>
                    </a:lnTo>
                    <a:cubicBezTo>
                      <a:pt x="36290" y="11621"/>
                      <a:pt x="35433" y="12002"/>
                      <a:pt x="35147" y="12097"/>
                    </a:cubicBezTo>
                    <a:cubicBezTo>
                      <a:pt x="33242" y="12859"/>
                      <a:pt x="31718" y="13621"/>
                      <a:pt x="30480" y="14383"/>
                    </a:cubicBezTo>
                    <a:cubicBezTo>
                      <a:pt x="27242" y="16478"/>
                      <a:pt x="25527" y="19431"/>
                      <a:pt x="25432" y="23241"/>
                    </a:cubicBezTo>
                    <a:cubicBezTo>
                      <a:pt x="25337" y="27051"/>
                      <a:pt x="26861" y="31433"/>
                      <a:pt x="30004" y="36386"/>
                    </a:cubicBezTo>
                    <a:lnTo>
                      <a:pt x="46006" y="61246"/>
                    </a:lnTo>
                    <a:lnTo>
                      <a:pt x="32861" y="69723"/>
                    </a:lnTo>
                    <a:lnTo>
                      <a:pt x="7906" y="30861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88" name="Freeform: Shape 221">
                <a:extLst>
                  <a:ext uri="{FF2B5EF4-FFF2-40B4-BE49-F238E27FC236}">
                    <a16:creationId xmlns:a16="http://schemas.microsoft.com/office/drawing/2014/main" id="{8A993F80-ADED-2207-6F32-D144B6C70D79}"/>
                  </a:ext>
                </a:extLst>
              </p:cNvPr>
              <p:cNvSpPr/>
              <p:nvPr/>
            </p:nvSpPr>
            <p:spPr>
              <a:xfrm>
                <a:off x="5594032" y="4030122"/>
                <a:ext cx="65250" cy="100488"/>
              </a:xfrm>
              <a:custGeom>
                <a:avLst/>
                <a:gdLst>
                  <a:gd name="connsiteX0" fmla="*/ 45149 w 65250"/>
                  <a:gd name="connsiteY0" fmla="*/ 100489 h 100488"/>
                  <a:gd name="connsiteX1" fmla="*/ 40100 w 65250"/>
                  <a:gd name="connsiteY1" fmla="*/ 89249 h 100488"/>
                  <a:gd name="connsiteX2" fmla="*/ 44006 w 65250"/>
                  <a:gd name="connsiteY2" fmla="*/ 87630 h 100488"/>
                  <a:gd name="connsiteX3" fmla="*/ 48196 w 65250"/>
                  <a:gd name="connsiteY3" fmla="*/ 84296 h 100488"/>
                  <a:gd name="connsiteX4" fmla="*/ 50197 w 65250"/>
                  <a:gd name="connsiteY4" fmla="*/ 79915 h 100488"/>
                  <a:gd name="connsiteX5" fmla="*/ 50483 w 65250"/>
                  <a:gd name="connsiteY5" fmla="*/ 73533 h 100488"/>
                  <a:gd name="connsiteX6" fmla="*/ 50102 w 65250"/>
                  <a:gd name="connsiteY6" fmla="*/ 70771 h 100488"/>
                  <a:gd name="connsiteX7" fmla="*/ 0 w 65250"/>
                  <a:gd name="connsiteY7" fmla="*/ 30385 h 100488"/>
                  <a:gd name="connsiteX8" fmla="*/ 14573 w 65250"/>
                  <a:gd name="connsiteY8" fmla="*/ 22193 h 100488"/>
                  <a:gd name="connsiteX9" fmla="*/ 36576 w 65250"/>
                  <a:gd name="connsiteY9" fmla="*/ 41910 h 100488"/>
                  <a:gd name="connsiteX10" fmla="*/ 44101 w 65250"/>
                  <a:gd name="connsiteY10" fmla="*/ 48959 h 100488"/>
                  <a:gd name="connsiteX11" fmla="*/ 50102 w 65250"/>
                  <a:gd name="connsiteY11" fmla="*/ 54674 h 100488"/>
                  <a:gd name="connsiteX12" fmla="*/ 47816 w 65250"/>
                  <a:gd name="connsiteY12" fmla="*/ 45911 h 100488"/>
                  <a:gd name="connsiteX13" fmla="*/ 45815 w 65250"/>
                  <a:gd name="connsiteY13" fmla="*/ 37052 h 100488"/>
                  <a:gd name="connsiteX14" fmla="*/ 39719 w 65250"/>
                  <a:gd name="connsiteY14" fmla="*/ 8096 h 100488"/>
                  <a:gd name="connsiteX15" fmla="*/ 54197 w 65250"/>
                  <a:gd name="connsiteY15" fmla="*/ 0 h 100488"/>
                  <a:gd name="connsiteX16" fmla="*/ 64579 w 65250"/>
                  <a:gd name="connsiteY16" fmla="*/ 67056 h 100488"/>
                  <a:gd name="connsiteX17" fmla="*/ 65056 w 65250"/>
                  <a:gd name="connsiteY17" fmla="*/ 80296 h 100488"/>
                  <a:gd name="connsiteX18" fmla="*/ 62008 w 65250"/>
                  <a:gd name="connsiteY18" fmla="*/ 89630 h 100488"/>
                  <a:gd name="connsiteX19" fmla="*/ 54388 w 65250"/>
                  <a:gd name="connsiteY19" fmla="*/ 96393 h 100488"/>
                  <a:gd name="connsiteX20" fmla="*/ 45339 w 65250"/>
                  <a:gd name="connsiteY20" fmla="*/ 100489 h 1004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65250" h="100488">
                    <a:moveTo>
                      <a:pt x="45149" y="100489"/>
                    </a:moveTo>
                    <a:lnTo>
                      <a:pt x="40100" y="89249"/>
                    </a:lnTo>
                    <a:cubicBezTo>
                      <a:pt x="41815" y="88678"/>
                      <a:pt x="43148" y="88106"/>
                      <a:pt x="44006" y="87630"/>
                    </a:cubicBezTo>
                    <a:cubicBezTo>
                      <a:pt x="45815" y="86583"/>
                      <a:pt x="47149" y="85535"/>
                      <a:pt x="48196" y="84296"/>
                    </a:cubicBezTo>
                    <a:cubicBezTo>
                      <a:pt x="49149" y="83058"/>
                      <a:pt x="49816" y="81629"/>
                      <a:pt x="50197" y="79915"/>
                    </a:cubicBezTo>
                    <a:cubicBezTo>
                      <a:pt x="50578" y="78200"/>
                      <a:pt x="50578" y="76105"/>
                      <a:pt x="50483" y="73533"/>
                    </a:cubicBezTo>
                    <a:lnTo>
                      <a:pt x="50102" y="70771"/>
                    </a:lnTo>
                    <a:lnTo>
                      <a:pt x="0" y="30385"/>
                    </a:lnTo>
                    <a:lnTo>
                      <a:pt x="14573" y="22193"/>
                    </a:lnTo>
                    <a:lnTo>
                      <a:pt x="36576" y="41910"/>
                    </a:lnTo>
                    <a:cubicBezTo>
                      <a:pt x="38386" y="43625"/>
                      <a:pt x="40862" y="45911"/>
                      <a:pt x="44101" y="48959"/>
                    </a:cubicBezTo>
                    <a:cubicBezTo>
                      <a:pt x="47339" y="52007"/>
                      <a:pt x="49340" y="53912"/>
                      <a:pt x="50102" y="54674"/>
                    </a:cubicBezTo>
                    <a:cubicBezTo>
                      <a:pt x="49721" y="53340"/>
                      <a:pt x="48959" y="50387"/>
                      <a:pt x="47816" y="45911"/>
                    </a:cubicBezTo>
                    <a:cubicBezTo>
                      <a:pt x="46673" y="41339"/>
                      <a:pt x="46006" y="38386"/>
                      <a:pt x="45815" y="37052"/>
                    </a:cubicBezTo>
                    <a:lnTo>
                      <a:pt x="39719" y="8096"/>
                    </a:lnTo>
                    <a:lnTo>
                      <a:pt x="54197" y="0"/>
                    </a:lnTo>
                    <a:lnTo>
                      <a:pt x="64579" y="67056"/>
                    </a:lnTo>
                    <a:cubicBezTo>
                      <a:pt x="65246" y="72295"/>
                      <a:pt x="65437" y="76772"/>
                      <a:pt x="65056" y="80296"/>
                    </a:cubicBezTo>
                    <a:cubicBezTo>
                      <a:pt x="64770" y="83916"/>
                      <a:pt x="63722" y="86963"/>
                      <a:pt x="62008" y="89630"/>
                    </a:cubicBezTo>
                    <a:cubicBezTo>
                      <a:pt x="60293" y="92297"/>
                      <a:pt x="57817" y="94488"/>
                      <a:pt x="54388" y="96393"/>
                    </a:cubicBezTo>
                    <a:cubicBezTo>
                      <a:pt x="50959" y="98298"/>
                      <a:pt x="48006" y="99632"/>
                      <a:pt x="45339" y="100489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89" name="Freeform: Shape 222">
                <a:extLst>
                  <a:ext uri="{FF2B5EF4-FFF2-40B4-BE49-F238E27FC236}">
                    <a16:creationId xmlns:a16="http://schemas.microsoft.com/office/drawing/2014/main" id="{FD623112-A662-D866-6A3C-A91D09EE4E32}"/>
                  </a:ext>
                </a:extLst>
              </p:cNvPr>
              <p:cNvSpPr/>
              <p:nvPr/>
            </p:nvSpPr>
            <p:spPr>
              <a:xfrm>
                <a:off x="5664231" y="4036218"/>
                <a:ext cx="32003" cy="25050"/>
              </a:xfrm>
              <a:custGeom>
                <a:avLst/>
                <a:gdLst>
                  <a:gd name="connsiteX0" fmla="*/ 0 w 32003"/>
                  <a:gd name="connsiteY0" fmla="*/ 12859 h 25050"/>
                  <a:gd name="connsiteX1" fmla="*/ 26003 w 32003"/>
                  <a:gd name="connsiteY1" fmla="*/ 0 h 25050"/>
                  <a:gd name="connsiteX2" fmla="*/ 32004 w 32003"/>
                  <a:gd name="connsiteY2" fmla="*/ 12192 h 25050"/>
                  <a:gd name="connsiteX3" fmla="*/ 6001 w 32003"/>
                  <a:gd name="connsiteY3" fmla="*/ 25051 h 25050"/>
                  <a:gd name="connsiteX4" fmla="*/ 0 w 32003"/>
                  <a:gd name="connsiteY4" fmla="*/ 12859 h 25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003" h="25050">
                    <a:moveTo>
                      <a:pt x="0" y="12859"/>
                    </a:moveTo>
                    <a:lnTo>
                      <a:pt x="26003" y="0"/>
                    </a:lnTo>
                    <a:lnTo>
                      <a:pt x="32004" y="12192"/>
                    </a:lnTo>
                    <a:lnTo>
                      <a:pt x="6001" y="25051"/>
                    </a:lnTo>
                    <a:lnTo>
                      <a:pt x="0" y="12859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90" name="Freeform: Shape 223">
                <a:extLst>
                  <a:ext uri="{FF2B5EF4-FFF2-40B4-BE49-F238E27FC236}">
                    <a16:creationId xmlns:a16="http://schemas.microsoft.com/office/drawing/2014/main" id="{0B87BF31-CAEA-6C6C-A5FC-3C1AA0E2B40F}"/>
                  </a:ext>
                </a:extLst>
              </p:cNvPr>
              <p:cNvSpPr/>
              <p:nvPr/>
            </p:nvSpPr>
            <p:spPr>
              <a:xfrm>
                <a:off x="5695179" y="3995991"/>
                <a:ext cx="57664" cy="64547"/>
              </a:xfrm>
              <a:custGeom>
                <a:avLst/>
                <a:gdLst>
                  <a:gd name="connsiteX0" fmla="*/ 27154 w 57664"/>
                  <a:gd name="connsiteY0" fmla="*/ 64421 h 64547"/>
                  <a:gd name="connsiteX1" fmla="*/ 13820 w 57664"/>
                  <a:gd name="connsiteY1" fmla="*/ 62992 h 64547"/>
                  <a:gd name="connsiteX2" fmla="*/ 16010 w 57664"/>
                  <a:gd name="connsiteY2" fmla="*/ 50324 h 64547"/>
                  <a:gd name="connsiteX3" fmla="*/ 26869 w 57664"/>
                  <a:gd name="connsiteY3" fmla="*/ 51943 h 64547"/>
                  <a:gd name="connsiteX4" fmla="*/ 36108 w 57664"/>
                  <a:gd name="connsiteY4" fmla="*/ 50038 h 64547"/>
                  <a:gd name="connsiteX5" fmla="*/ 42680 w 57664"/>
                  <a:gd name="connsiteY5" fmla="*/ 45847 h 64547"/>
                  <a:gd name="connsiteX6" fmla="*/ 43442 w 57664"/>
                  <a:gd name="connsiteY6" fmla="*/ 40608 h 64547"/>
                  <a:gd name="connsiteX7" fmla="*/ 40585 w 57664"/>
                  <a:gd name="connsiteY7" fmla="*/ 37751 h 64547"/>
                  <a:gd name="connsiteX8" fmla="*/ 36299 w 57664"/>
                  <a:gd name="connsiteY8" fmla="*/ 37275 h 64547"/>
                  <a:gd name="connsiteX9" fmla="*/ 29726 w 57664"/>
                  <a:gd name="connsiteY9" fmla="*/ 38227 h 64547"/>
                  <a:gd name="connsiteX10" fmla="*/ 26678 w 57664"/>
                  <a:gd name="connsiteY10" fmla="*/ 38703 h 64547"/>
                  <a:gd name="connsiteX11" fmla="*/ 16010 w 57664"/>
                  <a:gd name="connsiteY11" fmla="*/ 39560 h 64547"/>
                  <a:gd name="connsiteX12" fmla="*/ 7724 w 57664"/>
                  <a:gd name="connsiteY12" fmla="*/ 37084 h 64547"/>
                  <a:gd name="connsiteX13" fmla="*/ 1628 w 57664"/>
                  <a:gd name="connsiteY13" fmla="*/ 29369 h 64547"/>
                  <a:gd name="connsiteX14" fmla="*/ 294 w 57664"/>
                  <a:gd name="connsiteY14" fmla="*/ 19272 h 64547"/>
                  <a:gd name="connsiteX15" fmla="*/ 5152 w 57664"/>
                  <a:gd name="connsiteY15" fmla="*/ 10319 h 64547"/>
                  <a:gd name="connsiteX16" fmla="*/ 16010 w 57664"/>
                  <a:gd name="connsiteY16" fmla="*/ 3175 h 64547"/>
                  <a:gd name="connsiteX17" fmla="*/ 28869 w 57664"/>
                  <a:gd name="connsiteY17" fmla="*/ 32 h 64547"/>
                  <a:gd name="connsiteX18" fmla="*/ 40680 w 57664"/>
                  <a:gd name="connsiteY18" fmla="*/ 2032 h 64547"/>
                  <a:gd name="connsiteX19" fmla="*/ 36965 w 57664"/>
                  <a:gd name="connsiteY19" fmla="*/ 13748 h 64547"/>
                  <a:gd name="connsiteX20" fmla="*/ 20773 w 57664"/>
                  <a:gd name="connsiteY20" fmla="*/ 13938 h 64547"/>
                  <a:gd name="connsiteX21" fmla="*/ 14391 w 57664"/>
                  <a:gd name="connsiteY21" fmla="*/ 22511 h 64547"/>
                  <a:gd name="connsiteX22" fmla="*/ 16772 w 57664"/>
                  <a:gd name="connsiteY22" fmla="*/ 24987 h 64547"/>
                  <a:gd name="connsiteX23" fmla="*/ 20392 w 57664"/>
                  <a:gd name="connsiteY23" fmla="*/ 25464 h 64547"/>
                  <a:gd name="connsiteX24" fmla="*/ 26202 w 57664"/>
                  <a:gd name="connsiteY24" fmla="*/ 24606 h 64547"/>
                  <a:gd name="connsiteX25" fmla="*/ 29060 w 57664"/>
                  <a:gd name="connsiteY25" fmla="*/ 24130 h 64547"/>
                  <a:gd name="connsiteX26" fmla="*/ 40585 w 57664"/>
                  <a:gd name="connsiteY26" fmla="*/ 23082 h 64547"/>
                  <a:gd name="connsiteX27" fmla="*/ 49443 w 57664"/>
                  <a:gd name="connsiteY27" fmla="*/ 25559 h 64547"/>
                  <a:gd name="connsiteX28" fmla="*/ 56111 w 57664"/>
                  <a:gd name="connsiteY28" fmla="*/ 33845 h 64547"/>
                  <a:gd name="connsiteX29" fmla="*/ 57349 w 57664"/>
                  <a:gd name="connsiteY29" fmla="*/ 44133 h 64547"/>
                  <a:gd name="connsiteX30" fmla="*/ 52110 w 57664"/>
                  <a:gd name="connsiteY30" fmla="*/ 53467 h 64547"/>
                  <a:gd name="connsiteX31" fmla="*/ 40680 w 57664"/>
                  <a:gd name="connsiteY31" fmla="*/ 60897 h 64547"/>
                  <a:gd name="connsiteX32" fmla="*/ 27059 w 57664"/>
                  <a:gd name="connsiteY32" fmla="*/ 64516 h 645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57664" h="64547">
                    <a:moveTo>
                      <a:pt x="27154" y="64421"/>
                    </a:moveTo>
                    <a:cubicBezTo>
                      <a:pt x="22868" y="64802"/>
                      <a:pt x="18392" y="64325"/>
                      <a:pt x="13820" y="62992"/>
                    </a:cubicBezTo>
                    <a:lnTo>
                      <a:pt x="16010" y="50324"/>
                    </a:lnTo>
                    <a:cubicBezTo>
                      <a:pt x="20106" y="51372"/>
                      <a:pt x="23726" y="51848"/>
                      <a:pt x="26869" y="51943"/>
                    </a:cubicBezTo>
                    <a:cubicBezTo>
                      <a:pt x="30012" y="51943"/>
                      <a:pt x="33060" y="51372"/>
                      <a:pt x="36108" y="50038"/>
                    </a:cubicBezTo>
                    <a:cubicBezTo>
                      <a:pt x="39156" y="48705"/>
                      <a:pt x="41347" y="47276"/>
                      <a:pt x="42680" y="45847"/>
                    </a:cubicBezTo>
                    <a:cubicBezTo>
                      <a:pt x="44014" y="44418"/>
                      <a:pt x="44300" y="42608"/>
                      <a:pt x="43442" y="40608"/>
                    </a:cubicBezTo>
                    <a:cubicBezTo>
                      <a:pt x="42776" y="39180"/>
                      <a:pt x="41918" y="38227"/>
                      <a:pt x="40585" y="37751"/>
                    </a:cubicBezTo>
                    <a:cubicBezTo>
                      <a:pt x="39346" y="37275"/>
                      <a:pt x="37918" y="37084"/>
                      <a:pt x="36299" y="37275"/>
                    </a:cubicBezTo>
                    <a:cubicBezTo>
                      <a:pt x="34679" y="37465"/>
                      <a:pt x="32488" y="37751"/>
                      <a:pt x="29726" y="38227"/>
                    </a:cubicBezTo>
                    <a:lnTo>
                      <a:pt x="26678" y="38703"/>
                    </a:lnTo>
                    <a:cubicBezTo>
                      <a:pt x="22583" y="39370"/>
                      <a:pt x="18963" y="39656"/>
                      <a:pt x="16010" y="39560"/>
                    </a:cubicBezTo>
                    <a:cubicBezTo>
                      <a:pt x="13058" y="39465"/>
                      <a:pt x="10295" y="38608"/>
                      <a:pt x="7724" y="37084"/>
                    </a:cubicBezTo>
                    <a:cubicBezTo>
                      <a:pt x="5152" y="35560"/>
                      <a:pt x="3152" y="32988"/>
                      <a:pt x="1628" y="29369"/>
                    </a:cubicBezTo>
                    <a:cubicBezTo>
                      <a:pt x="103" y="25844"/>
                      <a:pt x="-373" y="22511"/>
                      <a:pt x="294" y="19272"/>
                    </a:cubicBezTo>
                    <a:cubicBezTo>
                      <a:pt x="866" y="16034"/>
                      <a:pt x="2485" y="13081"/>
                      <a:pt x="5152" y="10319"/>
                    </a:cubicBezTo>
                    <a:cubicBezTo>
                      <a:pt x="7819" y="7557"/>
                      <a:pt x="11438" y="5175"/>
                      <a:pt x="16010" y="3175"/>
                    </a:cubicBezTo>
                    <a:cubicBezTo>
                      <a:pt x="20392" y="1270"/>
                      <a:pt x="24678" y="222"/>
                      <a:pt x="28869" y="32"/>
                    </a:cubicBezTo>
                    <a:cubicBezTo>
                      <a:pt x="33060" y="-159"/>
                      <a:pt x="36965" y="508"/>
                      <a:pt x="40680" y="2032"/>
                    </a:cubicBezTo>
                    <a:lnTo>
                      <a:pt x="36965" y="13748"/>
                    </a:lnTo>
                    <a:cubicBezTo>
                      <a:pt x="31345" y="11557"/>
                      <a:pt x="25916" y="11652"/>
                      <a:pt x="20773" y="13938"/>
                    </a:cubicBezTo>
                    <a:cubicBezTo>
                      <a:pt x="15153" y="16415"/>
                      <a:pt x="12962" y="19272"/>
                      <a:pt x="14391" y="22511"/>
                    </a:cubicBezTo>
                    <a:cubicBezTo>
                      <a:pt x="14962" y="23749"/>
                      <a:pt x="15725" y="24606"/>
                      <a:pt x="16772" y="24987"/>
                    </a:cubicBezTo>
                    <a:cubicBezTo>
                      <a:pt x="17820" y="25368"/>
                      <a:pt x="19058" y="25559"/>
                      <a:pt x="20392" y="25464"/>
                    </a:cubicBezTo>
                    <a:cubicBezTo>
                      <a:pt x="21725" y="25368"/>
                      <a:pt x="23726" y="25083"/>
                      <a:pt x="26202" y="24606"/>
                    </a:cubicBezTo>
                    <a:lnTo>
                      <a:pt x="29060" y="24130"/>
                    </a:lnTo>
                    <a:cubicBezTo>
                      <a:pt x="33632" y="23368"/>
                      <a:pt x="37442" y="22987"/>
                      <a:pt x="40585" y="23082"/>
                    </a:cubicBezTo>
                    <a:cubicBezTo>
                      <a:pt x="43728" y="23082"/>
                      <a:pt x="46681" y="23940"/>
                      <a:pt x="49443" y="25559"/>
                    </a:cubicBezTo>
                    <a:cubicBezTo>
                      <a:pt x="52205" y="27178"/>
                      <a:pt x="54396" y="29940"/>
                      <a:pt x="56111" y="33845"/>
                    </a:cubicBezTo>
                    <a:cubicBezTo>
                      <a:pt x="57635" y="37370"/>
                      <a:pt x="58016" y="40799"/>
                      <a:pt x="57349" y="44133"/>
                    </a:cubicBezTo>
                    <a:cubicBezTo>
                      <a:pt x="56682" y="47466"/>
                      <a:pt x="54968" y="50609"/>
                      <a:pt x="52110" y="53467"/>
                    </a:cubicBezTo>
                    <a:cubicBezTo>
                      <a:pt x="49253" y="56325"/>
                      <a:pt x="45443" y="58801"/>
                      <a:pt x="40680" y="60897"/>
                    </a:cubicBezTo>
                    <a:cubicBezTo>
                      <a:pt x="35918" y="62992"/>
                      <a:pt x="31345" y="64135"/>
                      <a:pt x="27059" y="64516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91" name="Freeform: Shape 224">
                <a:extLst>
                  <a:ext uri="{FF2B5EF4-FFF2-40B4-BE49-F238E27FC236}">
                    <a16:creationId xmlns:a16="http://schemas.microsoft.com/office/drawing/2014/main" id="{8593B9E9-9E8D-0CE5-0379-91ED2FBB05B4}"/>
                  </a:ext>
                </a:extLst>
              </p:cNvPr>
              <p:cNvSpPr/>
              <p:nvPr/>
            </p:nvSpPr>
            <p:spPr>
              <a:xfrm>
                <a:off x="5747289" y="3971096"/>
                <a:ext cx="67653" cy="93697"/>
              </a:xfrm>
              <a:custGeom>
                <a:avLst/>
                <a:gdLst>
                  <a:gd name="connsiteX0" fmla="*/ 5048 w 67653"/>
                  <a:gd name="connsiteY0" fmla="*/ 27118 h 93697"/>
                  <a:gd name="connsiteX1" fmla="*/ 0 w 67653"/>
                  <a:gd name="connsiteY1" fmla="*/ 14259 h 93697"/>
                  <a:gd name="connsiteX2" fmla="*/ 14383 w 67653"/>
                  <a:gd name="connsiteY2" fmla="*/ 9211 h 93697"/>
                  <a:gd name="connsiteX3" fmla="*/ 16002 w 67653"/>
                  <a:gd name="connsiteY3" fmla="*/ 12354 h 93697"/>
                  <a:gd name="connsiteX4" fmla="*/ 17907 w 67653"/>
                  <a:gd name="connsiteY4" fmla="*/ 17116 h 93697"/>
                  <a:gd name="connsiteX5" fmla="*/ 18097 w 67653"/>
                  <a:gd name="connsiteY5" fmla="*/ 17116 h 93697"/>
                  <a:gd name="connsiteX6" fmla="*/ 32861 w 67653"/>
                  <a:gd name="connsiteY6" fmla="*/ 1305 h 93697"/>
                  <a:gd name="connsiteX7" fmla="*/ 45910 w 67653"/>
                  <a:gd name="connsiteY7" fmla="*/ 924 h 93697"/>
                  <a:gd name="connsiteX8" fmla="*/ 56959 w 67653"/>
                  <a:gd name="connsiteY8" fmla="*/ 8734 h 93697"/>
                  <a:gd name="connsiteX9" fmla="*/ 64865 w 67653"/>
                  <a:gd name="connsiteY9" fmla="*/ 23022 h 93697"/>
                  <a:gd name="connsiteX10" fmla="*/ 67627 w 67653"/>
                  <a:gd name="connsiteY10" fmla="*/ 39500 h 93697"/>
                  <a:gd name="connsiteX11" fmla="*/ 63532 w 67653"/>
                  <a:gd name="connsiteY11" fmla="*/ 52835 h 93697"/>
                  <a:gd name="connsiteX12" fmla="*/ 52483 w 67653"/>
                  <a:gd name="connsiteY12" fmla="*/ 61027 h 93697"/>
                  <a:gd name="connsiteX13" fmla="*/ 42005 w 67653"/>
                  <a:gd name="connsiteY13" fmla="*/ 62360 h 93697"/>
                  <a:gd name="connsiteX14" fmla="*/ 32575 w 67653"/>
                  <a:gd name="connsiteY14" fmla="*/ 57979 h 93697"/>
                  <a:gd name="connsiteX15" fmla="*/ 32290 w 67653"/>
                  <a:gd name="connsiteY15" fmla="*/ 57979 h 93697"/>
                  <a:gd name="connsiteX16" fmla="*/ 33718 w 67653"/>
                  <a:gd name="connsiteY16" fmla="*/ 61503 h 93697"/>
                  <a:gd name="connsiteX17" fmla="*/ 35623 w 67653"/>
                  <a:gd name="connsiteY17" fmla="*/ 66551 h 93697"/>
                  <a:gd name="connsiteX18" fmla="*/ 43339 w 67653"/>
                  <a:gd name="connsiteY18" fmla="*/ 88459 h 93697"/>
                  <a:gd name="connsiteX19" fmla="*/ 28575 w 67653"/>
                  <a:gd name="connsiteY19" fmla="*/ 93697 h 93697"/>
                  <a:gd name="connsiteX20" fmla="*/ 5143 w 67653"/>
                  <a:gd name="connsiteY20" fmla="*/ 27404 h 93697"/>
                  <a:gd name="connsiteX21" fmla="*/ 51054 w 67653"/>
                  <a:gd name="connsiteY21" fmla="*/ 43215 h 93697"/>
                  <a:gd name="connsiteX22" fmla="*/ 49434 w 67653"/>
                  <a:gd name="connsiteY22" fmla="*/ 28451 h 93697"/>
                  <a:gd name="connsiteX23" fmla="*/ 41624 w 67653"/>
                  <a:gd name="connsiteY23" fmla="*/ 16545 h 93697"/>
                  <a:gd name="connsiteX24" fmla="*/ 31528 w 67653"/>
                  <a:gd name="connsiteY24" fmla="*/ 15116 h 93697"/>
                  <a:gd name="connsiteX25" fmla="*/ 25908 w 67653"/>
                  <a:gd name="connsiteY25" fmla="*/ 19022 h 93697"/>
                  <a:gd name="connsiteX26" fmla="*/ 23241 w 67653"/>
                  <a:gd name="connsiteY26" fmla="*/ 26356 h 93697"/>
                  <a:gd name="connsiteX27" fmla="*/ 25146 w 67653"/>
                  <a:gd name="connsiteY27" fmla="*/ 37500 h 93697"/>
                  <a:gd name="connsiteX28" fmla="*/ 30670 w 67653"/>
                  <a:gd name="connsiteY28" fmla="*/ 47215 h 93697"/>
                  <a:gd name="connsiteX29" fmla="*/ 37338 w 67653"/>
                  <a:gd name="connsiteY29" fmla="*/ 51216 h 93697"/>
                  <a:gd name="connsiteX30" fmla="*/ 44005 w 67653"/>
                  <a:gd name="connsiteY30" fmla="*/ 50740 h 93697"/>
                  <a:gd name="connsiteX31" fmla="*/ 51054 w 67653"/>
                  <a:gd name="connsiteY31" fmla="*/ 43215 h 936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67653" h="93697">
                    <a:moveTo>
                      <a:pt x="5048" y="27118"/>
                    </a:moveTo>
                    <a:cubicBezTo>
                      <a:pt x="3143" y="21784"/>
                      <a:pt x="1429" y="17497"/>
                      <a:pt x="0" y="14259"/>
                    </a:cubicBezTo>
                    <a:lnTo>
                      <a:pt x="14383" y="9211"/>
                    </a:lnTo>
                    <a:cubicBezTo>
                      <a:pt x="14383" y="9211"/>
                      <a:pt x="15145" y="10544"/>
                      <a:pt x="16002" y="12354"/>
                    </a:cubicBezTo>
                    <a:cubicBezTo>
                      <a:pt x="16764" y="14164"/>
                      <a:pt x="17431" y="15783"/>
                      <a:pt x="17907" y="17116"/>
                    </a:cubicBezTo>
                    <a:lnTo>
                      <a:pt x="18097" y="17116"/>
                    </a:lnTo>
                    <a:cubicBezTo>
                      <a:pt x="19621" y="9497"/>
                      <a:pt x="24574" y="4258"/>
                      <a:pt x="32861" y="1305"/>
                    </a:cubicBezTo>
                    <a:cubicBezTo>
                      <a:pt x="37433" y="-314"/>
                      <a:pt x="41815" y="-410"/>
                      <a:pt x="45910" y="924"/>
                    </a:cubicBezTo>
                    <a:cubicBezTo>
                      <a:pt x="50006" y="2257"/>
                      <a:pt x="53721" y="4924"/>
                      <a:pt x="56959" y="8734"/>
                    </a:cubicBezTo>
                    <a:cubicBezTo>
                      <a:pt x="60198" y="12545"/>
                      <a:pt x="62770" y="17307"/>
                      <a:pt x="64865" y="23022"/>
                    </a:cubicBezTo>
                    <a:cubicBezTo>
                      <a:pt x="66961" y="28832"/>
                      <a:pt x="67818" y="34357"/>
                      <a:pt x="67627" y="39500"/>
                    </a:cubicBezTo>
                    <a:cubicBezTo>
                      <a:pt x="67437" y="44644"/>
                      <a:pt x="66008" y="49121"/>
                      <a:pt x="63532" y="52835"/>
                    </a:cubicBezTo>
                    <a:cubicBezTo>
                      <a:pt x="60960" y="56550"/>
                      <a:pt x="57340" y="59312"/>
                      <a:pt x="52483" y="61027"/>
                    </a:cubicBezTo>
                    <a:cubicBezTo>
                      <a:pt x="48958" y="62265"/>
                      <a:pt x="45434" y="62741"/>
                      <a:pt x="42005" y="62360"/>
                    </a:cubicBezTo>
                    <a:cubicBezTo>
                      <a:pt x="38481" y="61979"/>
                      <a:pt x="35338" y="60550"/>
                      <a:pt x="32575" y="57979"/>
                    </a:cubicBezTo>
                    <a:lnTo>
                      <a:pt x="32290" y="57979"/>
                    </a:lnTo>
                    <a:cubicBezTo>
                      <a:pt x="32290" y="57979"/>
                      <a:pt x="32956" y="59598"/>
                      <a:pt x="33718" y="61503"/>
                    </a:cubicBezTo>
                    <a:cubicBezTo>
                      <a:pt x="34480" y="63408"/>
                      <a:pt x="35147" y="65027"/>
                      <a:pt x="35623" y="66551"/>
                    </a:cubicBezTo>
                    <a:lnTo>
                      <a:pt x="43339" y="88459"/>
                    </a:lnTo>
                    <a:lnTo>
                      <a:pt x="28575" y="93697"/>
                    </a:lnTo>
                    <a:lnTo>
                      <a:pt x="5143" y="27404"/>
                    </a:lnTo>
                    <a:close/>
                    <a:moveTo>
                      <a:pt x="51054" y="43215"/>
                    </a:moveTo>
                    <a:cubicBezTo>
                      <a:pt x="52197" y="39500"/>
                      <a:pt x="51625" y="34547"/>
                      <a:pt x="49434" y="28451"/>
                    </a:cubicBezTo>
                    <a:cubicBezTo>
                      <a:pt x="47434" y="22736"/>
                      <a:pt x="44767" y="18736"/>
                      <a:pt x="41624" y="16545"/>
                    </a:cubicBezTo>
                    <a:cubicBezTo>
                      <a:pt x="38481" y="14354"/>
                      <a:pt x="35052" y="13878"/>
                      <a:pt x="31528" y="15116"/>
                    </a:cubicBezTo>
                    <a:cubicBezTo>
                      <a:pt x="29337" y="15878"/>
                      <a:pt x="27432" y="17212"/>
                      <a:pt x="25908" y="19022"/>
                    </a:cubicBezTo>
                    <a:cubicBezTo>
                      <a:pt x="24384" y="20831"/>
                      <a:pt x="23526" y="23308"/>
                      <a:pt x="23241" y="26356"/>
                    </a:cubicBezTo>
                    <a:cubicBezTo>
                      <a:pt x="22955" y="29499"/>
                      <a:pt x="23622" y="33214"/>
                      <a:pt x="25146" y="37500"/>
                    </a:cubicBezTo>
                    <a:cubicBezTo>
                      <a:pt x="26670" y="41786"/>
                      <a:pt x="28480" y="45025"/>
                      <a:pt x="30670" y="47215"/>
                    </a:cubicBezTo>
                    <a:cubicBezTo>
                      <a:pt x="32766" y="49406"/>
                      <a:pt x="35052" y="50740"/>
                      <a:pt x="37338" y="51216"/>
                    </a:cubicBezTo>
                    <a:cubicBezTo>
                      <a:pt x="39624" y="51692"/>
                      <a:pt x="41815" y="51502"/>
                      <a:pt x="44005" y="50740"/>
                    </a:cubicBezTo>
                    <a:cubicBezTo>
                      <a:pt x="47625" y="49501"/>
                      <a:pt x="50006" y="46930"/>
                      <a:pt x="51054" y="43215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92" name="Freeform: Shape 225">
                <a:extLst>
                  <a:ext uri="{FF2B5EF4-FFF2-40B4-BE49-F238E27FC236}">
                    <a16:creationId xmlns:a16="http://schemas.microsoft.com/office/drawing/2014/main" id="{22C7B76B-D4AC-A805-1EBD-1B608CEC608B}"/>
                  </a:ext>
                </a:extLst>
              </p:cNvPr>
              <p:cNvSpPr/>
              <p:nvPr/>
            </p:nvSpPr>
            <p:spPr>
              <a:xfrm>
                <a:off x="5820292" y="3952360"/>
                <a:ext cx="59204" cy="62753"/>
              </a:xfrm>
              <a:custGeom>
                <a:avLst/>
                <a:gdLst>
                  <a:gd name="connsiteX0" fmla="*/ 15390 w 59204"/>
                  <a:gd name="connsiteY0" fmla="*/ 59570 h 62753"/>
                  <a:gd name="connsiteX1" fmla="*/ 1674 w 59204"/>
                  <a:gd name="connsiteY1" fmla="*/ 38900 h 62753"/>
                  <a:gd name="connsiteX2" fmla="*/ 721 w 59204"/>
                  <a:gd name="connsiteY2" fmla="*/ 20993 h 62753"/>
                  <a:gd name="connsiteX3" fmla="*/ 7865 w 59204"/>
                  <a:gd name="connsiteY3" fmla="*/ 8325 h 62753"/>
                  <a:gd name="connsiteX4" fmla="*/ 20819 w 59204"/>
                  <a:gd name="connsiteY4" fmla="*/ 1276 h 62753"/>
                  <a:gd name="connsiteX5" fmla="*/ 36535 w 59204"/>
                  <a:gd name="connsiteY5" fmla="*/ 1086 h 62753"/>
                  <a:gd name="connsiteX6" fmla="*/ 47775 w 59204"/>
                  <a:gd name="connsiteY6" fmla="*/ 8896 h 62753"/>
                  <a:gd name="connsiteX7" fmla="*/ 54347 w 59204"/>
                  <a:gd name="connsiteY7" fmla="*/ 22327 h 62753"/>
                  <a:gd name="connsiteX8" fmla="*/ 55680 w 59204"/>
                  <a:gd name="connsiteY8" fmla="*/ 28518 h 62753"/>
                  <a:gd name="connsiteX9" fmla="*/ 18628 w 59204"/>
                  <a:gd name="connsiteY9" fmla="*/ 38614 h 62753"/>
                  <a:gd name="connsiteX10" fmla="*/ 24819 w 59204"/>
                  <a:gd name="connsiteY10" fmla="*/ 48521 h 62753"/>
                  <a:gd name="connsiteX11" fmla="*/ 35964 w 59204"/>
                  <a:gd name="connsiteY11" fmla="*/ 49759 h 62753"/>
                  <a:gd name="connsiteX12" fmla="*/ 41298 w 59204"/>
                  <a:gd name="connsiteY12" fmla="*/ 47568 h 62753"/>
                  <a:gd name="connsiteX13" fmla="*/ 45584 w 59204"/>
                  <a:gd name="connsiteY13" fmla="*/ 44234 h 62753"/>
                  <a:gd name="connsiteX14" fmla="*/ 50346 w 59204"/>
                  <a:gd name="connsiteY14" fmla="*/ 38900 h 62753"/>
                  <a:gd name="connsiteX15" fmla="*/ 59205 w 59204"/>
                  <a:gd name="connsiteY15" fmla="*/ 46996 h 62753"/>
                  <a:gd name="connsiteX16" fmla="*/ 50442 w 59204"/>
                  <a:gd name="connsiteY16" fmla="*/ 55759 h 62753"/>
                  <a:gd name="connsiteX17" fmla="*/ 38154 w 59204"/>
                  <a:gd name="connsiteY17" fmla="*/ 61284 h 62753"/>
                  <a:gd name="connsiteX18" fmla="*/ 15199 w 59204"/>
                  <a:gd name="connsiteY18" fmla="*/ 59379 h 62753"/>
                  <a:gd name="connsiteX19" fmla="*/ 38631 w 59204"/>
                  <a:gd name="connsiteY19" fmla="*/ 22041 h 62753"/>
                  <a:gd name="connsiteX20" fmla="*/ 32916 w 59204"/>
                  <a:gd name="connsiteY20" fmla="*/ 13183 h 62753"/>
                  <a:gd name="connsiteX21" fmla="*/ 23867 w 59204"/>
                  <a:gd name="connsiteY21" fmla="*/ 12325 h 62753"/>
                  <a:gd name="connsiteX22" fmla="*/ 16628 w 59204"/>
                  <a:gd name="connsiteY22" fmla="*/ 17659 h 62753"/>
                  <a:gd name="connsiteX23" fmla="*/ 16056 w 59204"/>
                  <a:gd name="connsiteY23" fmla="*/ 28232 h 62753"/>
                  <a:gd name="connsiteX24" fmla="*/ 38631 w 59204"/>
                  <a:gd name="connsiteY24" fmla="*/ 22041 h 627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59204" h="62753">
                    <a:moveTo>
                      <a:pt x="15390" y="59570"/>
                    </a:moveTo>
                    <a:cubicBezTo>
                      <a:pt x="9008" y="55855"/>
                      <a:pt x="4436" y="48997"/>
                      <a:pt x="1674" y="38900"/>
                    </a:cubicBezTo>
                    <a:cubicBezTo>
                      <a:pt x="-136" y="32138"/>
                      <a:pt x="-517" y="26232"/>
                      <a:pt x="721" y="20993"/>
                    </a:cubicBezTo>
                    <a:cubicBezTo>
                      <a:pt x="1960" y="15850"/>
                      <a:pt x="4341" y="11563"/>
                      <a:pt x="7865" y="8325"/>
                    </a:cubicBezTo>
                    <a:cubicBezTo>
                      <a:pt x="11389" y="5087"/>
                      <a:pt x="15771" y="2705"/>
                      <a:pt x="20819" y="1276"/>
                    </a:cubicBezTo>
                    <a:cubicBezTo>
                      <a:pt x="26724" y="-343"/>
                      <a:pt x="31963" y="-438"/>
                      <a:pt x="36535" y="1086"/>
                    </a:cubicBezTo>
                    <a:cubicBezTo>
                      <a:pt x="41107" y="2610"/>
                      <a:pt x="44822" y="5182"/>
                      <a:pt x="47775" y="8896"/>
                    </a:cubicBezTo>
                    <a:cubicBezTo>
                      <a:pt x="50727" y="12611"/>
                      <a:pt x="52918" y="17088"/>
                      <a:pt x="54347" y="22327"/>
                    </a:cubicBezTo>
                    <a:cubicBezTo>
                      <a:pt x="54918" y="24327"/>
                      <a:pt x="55395" y="26422"/>
                      <a:pt x="55680" y="28518"/>
                    </a:cubicBezTo>
                    <a:lnTo>
                      <a:pt x="18628" y="38614"/>
                    </a:lnTo>
                    <a:cubicBezTo>
                      <a:pt x="19867" y="43091"/>
                      <a:pt x="21867" y="46425"/>
                      <a:pt x="24819" y="48521"/>
                    </a:cubicBezTo>
                    <a:cubicBezTo>
                      <a:pt x="27772" y="50616"/>
                      <a:pt x="31392" y="50997"/>
                      <a:pt x="35964" y="49759"/>
                    </a:cubicBezTo>
                    <a:cubicBezTo>
                      <a:pt x="37964" y="49187"/>
                      <a:pt x="39774" y="48425"/>
                      <a:pt x="41298" y="47568"/>
                    </a:cubicBezTo>
                    <a:cubicBezTo>
                      <a:pt x="42822" y="46711"/>
                      <a:pt x="44251" y="45568"/>
                      <a:pt x="45584" y="44234"/>
                    </a:cubicBezTo>
                    <a:cubicBezTo>
                      <a:pt x="46918" y="42901"/>
                      <a:pt x="48537" y="41186"/>
                      <a:pt x="50346" y="38900"/>
                    </a:cubicBezTo>
                    <a:lnTo>
                      <a:pt x="59205" y="46996"/>
                    </a:lnTo>
                    <a:cubicBezTo>
                      <a:pt x="56538" y="50521"/>
                      <a:pt x="53585" y="53473"/>
                      <a:pt x="50442" y="55759"/>
                    </a:cubicBezTo>
                    <a:cubicBezTo>
                      <a:pt x="47298" y="58141"/>
                      <a:pt x="43298" y="59950"/>
                      <a:pt x="38154" y="61284"/>
                    </a:cubicBezTo>
                    <a:cubicBezTo>
                      <a:pt x="29201" y="63761"/>
                      <a:pt x="21581" y="63094"/>
                      <a:pt x="15199" y="59379"/>
                    </a:cubicBezTo>
                    <a:close/>
                    <a:moveTo>
                      <a:pt x="38631" y="22041"/>
                    </a:moveTo>
                    <a:cubicBezTo>
                      <a:pt x="37297" y="17659"/>
                      <a:pt x="35392" y="14802"/>
                      <a:pt x="32916" y="13183"/>
                    </a:cubicBezTo>
                    <a:cubicBezTo>
                      <a:pt x="30439" y="11659"/>
                      <a:pt x="27391" y="11278"/>
                      <a:pt x="23867" y="12325"/>
                    </a:cubicBezTo>
                    <a:cubicBezTo>
                      <a:pt x="20533" y="13278"/>
                      <a:pt x="18057" y="14992"/>
                      <a:pt x="16628" y="17659"/>
                    </a:cubicBezTo>
                    <a:cubicBezTo>
                      <a:pt x="15199" y="20326"/>
                      <a:pt x="15009" y="23851"/>
                      <a:pt x="16056" y="28232"/>
                    </a:cubicBezTo>
                    <a:lnTo>
                      <a:pt x="38631" y="22041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93" name="Freeform: Shape 226">
                <a:extLst>
                  <a:ext uri="{FF2B5EF4-FFF2-40B4-BE49-F238E27FC236}">
                    <a16:creationId xmlns:a16="http://schemas.microsoft.com/office/drawing/2014/main" id="{31A80A11-7AD4-9A3A-2B7C-8C6F0805D732}"/>
                  </a:ext>
                </a:extLst>
              </p:cNvPr>
              <p:cNvSpPr/>
              <p:nvPr/>
            </p:nvSpPr>
            <p:spPr>
              <a:xfrm>
                <a:off x="5883220" y="3937512"/>
                <a:ext cx="57998" cy="62839"/>
              </a:xfrm>
              <a:custGeom>
                <a:avLst/>
                <a:gdLst>
                  <a:gd name="connsiteX0" fmla="*/ 19612 w 57998"/>
                  <a:gd name="connsiteY0" fmla="*/ 61558 h 62839"/>
                  <a:gd name="connsiteX1" fmla="*/ 7516 w 57998"/>
                  <a:gd name="connsiteY1" fmla="*/ 52986 h 62839"/>
                  <a:gd name="connsiteX2" fmla="*/ 943 w 57998"/>
                  <a:gd name="connsiteY2" fmla="*/ 37746 h 62839"/>
                  <a:gd name="connsiteX3" fmla="*/ 1134 w 57998"/>
                  <a:gd name="connsiteY3" fmla="*/ 20220 h 62839"/>
                  <a:gd name="connsiteX4" fmla="*/ 9230 w 57998"/>
                  <a:gd name="connsiteY4" fmla="*/ 7552 h 62839"/>
                  <a:gd name="connsiteX5" fmla="*/ 24280 w 57998"/>
                  <a:gd name="connsiteY5" fmla="*/ 694 h 62839"/>
                  <a:gd name="connsiteX6" fmla="*/ 49616 w 57998"/>
                  <a:gd name="connsiteY6" fmla="*/ 8504 h 62839"/>
                  <a:gd name="connsiteX7" fmla="*/ 40377 w 57998"/>
                  <a:gd name="connsiteY7" fmla="*/ 17934 h 62839"/>
                  <a:gd name="connsiteX8" fmla="*/ 34090 w 57998"/>
                  <a:gd name="connsiteY8" fmla="*/ 13362 h 62839"/>
                  <a:gd name="connsiteX9" fmla="*/ 26756 w 57998"/>
                  <a:gd name="connsiteY9" fmla="*/ 12791 h 62839"/>
                  <a:gd name="connsiteX10" fmla="*/ 17612 w 57998"/>
                  <a:gd name="connsiteY10" fmla="*/ 19553 h 62839"/>
                  <a:gd name="connsiteX11" fmla="*/ 16850 w 57998"/>
                  <a:gd name="connsiteY11" fmla="*/ 33745 h 62839"/>
                  <a:gd name="connsiteX12" fmla="*/ 23232 w 57998"/>
                  <a:gd name="connsiteY12" fmla="*/ 46890 h 62839"/>
                  <a:gd name="connsiteX13" fmla="*/ 34281 w 57998"/>
                  <a:gd name="connsiteY13" fmla="*/ 49652 h 62839"/>
                  <a:gd name="connsiteX14" fmla="*/ 41425 w 57998"/>
                  <a:gd name="connsiteY14" fmla="*/ 46128 h 62839"/>
                  <a:gd name="connsiteX15" fmla="*/ 47044 w 57998"/>
                  <a:gd name="connsiteY15" fmla="*/ 39079 h 62839"/>
                  <a:gd name="connsiteX16" fmla="*/ 57998 w 57998"/>
                  <a:gd name="connsiteY16" fmla="*/ 46033 h 62839"/>
                  <a:gd name="connsiteX17" fmla="*/ 49330 w 57998"/>
                  <a:gd name="connsiteY17" fmla="*/ 56320 h 62839"/>
                  <a:gd name="connsiteX18" fmla="*/ 36091 w 57998"/>
                  <a:gd name="connsiteY18" fmla="*/ 62035 h 62839"/>
                  <a:gd name="connsiteX19" fmla="*/ 19422 w 57998"/>
                  <a:gd name="connsiteY19" fmla="*/ 61463 h 628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7998" h="62839">
                    <a:moveTo>
                      <a:pt x="19612" y="61558"/>
                    </a:moveTo>
                    <a:cubicBezTo>
                      <a:pt x="14755" y="59939"/>
                      <a:pt x="10659" y="57082"/>
                      <a:pt x="7516" y="52986"/>
                    </a:cubicBezTo>
                    <a:cubicBezTo>
                      <a:pt x="4372" y="48890"/>
                      <a:pt x="2182" y="43747"/>
                      <a:pt x="943" y="37746"/>
                    </a:cubicBezTo>
                    <a:cubicBezTo>
                      <a:pt x="-390" y="31174"/>
                      <a:pt x="-295" y="25363"/>
                      <a:pt x="1134" y="20220"/>
                    </a:cubicBezTo>
                    <a:cubicBezTo>
                      <a:pt x="2563" y="15076"/>
                      <a:pt x="5325" y="10885"/>
                      <a:pt x="9230" y="7552"/>
                    </a:cubicBezTo>
                    <a:cubicBezTo>
                      <a:pt x="13230" y="4218"/>
                      <a:pt x="18184" y="1932"/>
                      <a:pt x="24280" y="694"/>
                    </a:cubicBezTo>
                    <a:cubicBezTo>
                      <a:pt x="34376" y="-1402"/>
                      <a:pt x="42853" y="1265"/>
                      <a:pt x="49616" y="8504"/>
                    </a:cubicBezTo>
                    <a:lnTo>
                      <a:pt x="40377" y="17934"/>
                    </a:lnTo>
                    <a:cubicBezTo>
                      <a:pt x="38281" y="15838"/>
                      <a:pt x="36186" y="14315"/>
                      <a:pt x="34090" y="13362"/>
                    </a:cubicBezTo>
                    <a:cubicBezTo>
                      <a:pt x="31995" y="12409"/>
                      <a:pt x="29518" y="12219"/>
                      <a:pt x="26756" y="12791"/>
                    </a:cubicBezTo>
                    <a:cubicBezTo>
                      <a:pt x="22375" y="13648"/>
                      <a:pt x="19327" y="15934"/>
                      <a:pt x="17612" y="19553"/>
                    </a:cubicBezTo>
                    <a:cubicBezTo>
                      <a:pt x="15897" y="23173"/>
                      <a:pt x="15707" y="27840"/>
                      <a:pt x="16850" y="33745"/>
                    </a:cubicBezTo>
                    <a:cubicBezTo>
                      <a:pt x="18088" y="39841"/>
                      <a:pt x="20184" y="44223"/>
                      <a:pt x="23232" y="46890"/>
                    </a:cubicBezTo>
                    <a:cubicBezTo>
                      <a:pt x="26280" y="49557"/>
                      <a:pt x="29995" y="50509"/>
                      <a:pt x="34281" y="49652"/>
                    </a:cubicBezTo>
                    <a:cubicBezTo>
                      <a:pt x="37234" y="49081"/>
                      <a:pt x="39615" y="47842"/>
                      <a:pt x="41425" y="46128"/>
                    </a:cubicBezTo>
                    <a:cubicBezTo>
                      <a:pt x="43330" y="44318"/>
                      <a:pt x="45139" y="42032"/>
                      <a:pt x="47044" y="39079"/>
                    </a:cubicBezTo>
                    <a:lnTo>
                      <a:pt x="57998" y="46033"/>
                    </a:lnTo>
                    <a:cubicBezTo>
                      <a:pt x="55903" y="50128"/>
                      <a:pt x="52950" y="53557"/>
                      <a:pt x="49330" y="56320"/>
                    </a:cubicBezTo>
                    <a:cubicBezTo>
                      <a:pt x="45711" y="59082"/>
                      <a:pt x="41329" y="60987"/>
                      <a:pt x="36091" y="62035"/>
                    </a:cubicBezTo>
                    <a:cubicBezTo>
                      <a:pt x="29899" y="63273"/>
                      <a:pt x="24280" y="63082"/>
                      <a:pt x="19422" y="61463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94" name="Freeform: Shape 227">
                <a:extLst>
                  <a:ext uri="{FF2B5EF4-FFF2-40B4-BE49-F238E27FC236}">
                    <a16:creationId xmlns:a16="http://schemas.microsoft.com/office/drawing/2014/main" id="{627AFD28-AB81-0593-DEF9-FA9391154EEB}"/>
                  </a:ext>
                </a:extLst>
              </p:cNvPr>
              <p:cNvSpPr/>
              <p:nvPr/>
            </p:nvSpPr>
            <p:spPr>
              <a:xfrm>
                <a:off x="5938983" y="3906254"/>
                <a:ext cx="28048" cy="86340"/>
              </a:xfrm>
              <a:custGeom>
                <a:avLst/>
                <a:gdLst>
                  <a:gd name="connsiteX0" fmla="*/ 3379 w 28048"/>
                  <a:gd name="connsiteY0" fmla="*/ 16236 h 86340"/>
                  <a:gd name="connsiteX1" fmla="*/ 140 w 28048"/>
                  <a:gd name="connsiteY1" fmla="*/ 10235 h 86340"/>
                  <a:gd name="connsiteX2" fmla="*/ 1474 w 28048"/>
                  <a:gd name="connsiteY2" fmla="*/ 3473 h 86340"/>
                  <a:gd name="connsiteX3" fmla="*/ 7474 w 28048"/>
                  <a:gd name="connsiteY3" fmla="*/ 139 h 86340"/>
                  <a:gd name="connsiteX4" fmla="*/ 14046 w 28048"/>
                  <a:gd name="connsiteY4" fmla="*/ 1567 h 86340"/>
                  <a:gd name="connsiteX5" fmla="*/ 17285 w 28048"/>
                  <a:gd name="connsiteY5" fmla="*/ 7568 h 86340"/>
                  <a:gd name="connsiteX6" fmla="*/ 15856 w 28048"/>
                  <a:gd name="connsiteY6" fmla="*/ 14236 h 86340"/>
                  <a:gd name="connsiteX7" fmla="*/ 10046 w 28048"/>
                  <a:gd name="connsiteY7" fmla="*/ 17570 h 86340"/>
                  <a:gd name="connsiteX8" fmla="*/ 3283 w 28048"/>
                  <a:gd name="connsiteY8" fmla="*/ 16236 h 86340"/>
                  <a:gd name="connsiteX9" fmla="*/ 3474 w 28048"/>
                  <a:gd name="connsiteY9" fmla="*/ 26714 h 86340"/>
                  <a:gd name="connsiteX10" fmla="*/ 19000 w 28048"/>
                  <a:gd name="connsiteY10" fmla="*/ 24332 h 86340"/>
                  <a:gd name="connsiteX11" fmla="*/ 28048 w 28048"/>
                  <a:gd name="connsiteY11" fmla="*/ 83959 h 86340"/>
                  <a:gd name="connsiteX12" fmla="*/ 12522 w 28048"/>
                  <a:gd name="connsiteY12" fmla="*/ 86340 h 86340"/>
                  <a:gd name="connsiteX13" fmla="*/ 3474 w 28048"/>
                  <a:gd name="connsiteY13" fmla="*/ 26714 h 863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048" h="86340">
                    <a:moveTo>
                      <a:pt x="3379" y="16236"/>
                    </a:moveTo>
                    <a:cubicBezTo>
                      <a:pt x="1569" y="14903"/>
                      <a:pt x="521" y="12902"/>
                      <a:pt x="140" y="10235"/>
                    </a:cubicBezTo>
                    <a:cubicBezTo>
                      <a:pt x="-241" y="7568"/>
                      <a:pt x="140" y="5282"/>
                      <a:pt x="1474" y="3473"/>
                    </a:cubicBezTo>
                    <a:cubicBezTo>
                      <a:pt x="2807" y="1663"/>
                      <a:pt x="4807" y="520"/>
                      <a:pt x="7474" y="139"/>
                    </a:cubicBezTo>
                    <a:cubicBezTo>
                      <a:pt x="10046" y="-242"/>
                      <a:pt x="12237" y="139"/>
                      <a:pt x="14046" y="1567"/>
                    </a:cubicBezTo>
                    <a:cubicBezTo>
                      <a:pt x="15856" y="2996"/>
                      <a:pt x="16904" y="4901"/>
                      <a:pt x="17285" y="7568"/>
                    </a:cubicBezTo>
                    <a:cubicBezTo>
                      <a:pt x="17666" y="10140"/>
                      <a:pt x="17285" y="12426"/>
                      <a:pt x="15856" y="14236"/>
                    </a:cubicBezTo>
                    <a:cubicBezTo>
                      <a:pt x="14428" y="16046"/>
                      <a:pt x="12618" y="17189"/>
                      <a:pt x="10046" y="17570"/>
                    </a:cubicBezTo>
                    <a:cubicBezTo>
                      <a:pt x="7284" y="17950"/>
                      <a:pt x="5093" y="17570"/>
                      <a:pt x="3283" y="16236"/>
                    </a:cubicBezTo>
                    <a:close/>
                    <a:moveTo>
                      <a:pt x="3474" y="26714"/>
                    </a:moveTo>
                    <a:lnTo>
                      <a:pt x="19000" y="24332"/>
                    </a:lnTo>
                    <a:lnTo>
                      <a:pt x="28048" y="83959"/>
                    </a:lnTo>
                    <a:lnTo>
                      <a:pt x="12522" y="86340"/>
                    </a:lnTo>
                    <a:lnTo>
                      <a:pt x="3474" y="26714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95" name="Freeform: Shape 228">
                <a:extLst>
                  <a:ext uri="{FF2B5EF4-FFF2-40B4-BE49-F238E27FC236}">
                    <a16:creationId xmlns:a16="http://schemas.microsoft.com/office/drawing/2014/main" id="{A72A545B-1F8C-6E55-ACCB-F01A866CD438}"/>
                  </a:ext>
                </a:extLst>
              </p:cNvPr>
              <p:cNvSpPr/>
              <p:nvPr/>
            </p:nvSpPr>
            <p:spPr>
              <a:xfrm>
                <a:off x="5970079" y="3897945"/>
                <a:ext cx="65817" cy="89790"/>
              </a:xfrm>
              <a:custGeom>
                <a:avLst/>
                <a:gdLst>
                  <a:gd name="connsiteX0" fmla="*/ 9906 w 65817"/>
                  <a:gd name="connsiteY0" fmla="*/ 41309 h 89790"/>
                  <a:gd name="connsiteX1" fmla="*/ 1143 w 65817"/>
                  <a:gd name="connsiteY1" fmla="*/ 42166 h 89790"/>
                  <a:gd name="connsiteX2" fmla="*/ 0 w 65817"/>
                  <a:gd name="connsiteY2" fmla="*/ 30545 h 89790"/>
                  <a:gd name="connsiteX3" fmla="*/ 8763 w 65817"/>
                  <a:gd name="connsiteY3" fmla="*/ 29688 h 89790"/>
                  <a:gd name="connsiteX4" fmla="*/ 8287 w 65817"/>
                  <a:gd name="connsiteY4" fmla="*/ 24545 h 89790"/>
                  <a:gd name="connsiteX5" fmla="*/ 11239 w 65817"/>
                  <a:gd name="connsiteY5" fmla="*/ 11400 h 89790"/>
                  <a:gd name="connsiteX6" fmla="*/ 25146 w 65817"/>
                  <a:gd name="connsiteY6" fmla="*/ 5399 h 89790"/>
                  <a:gd name="connsiteX7" fmla="*/ 34576 w 65817"/>
                  <a:gd name="connsiteY7" fmla="*/ 5399 h 89790"/>
                  <a:gd name="connsiteX8" fmla="*/ 34576 w 65817"/>
                  <a:gd name="connsiteY8" fmla="*/ 16734 h 89790"/>
                  <a:gd name="connsiteX9" fmla="*/ 29146 w 65817"/>
                  <a:gd name="connsiteY9" fmla="*/ 16734 h 89790"/>
                  <a:gd name="connsiteX10" fmla="*/ 24670 w 65817"/>
                  <a:gd name="connsiteY10" fmla="*/ 18925 h 89790"/>
                  <a:gd name="connsiteX11" fmla="*/ 23908 w 65817"/>
                  <a:gd name="connsiteY11" fmla="*/ 24449 h 89790"/>
                  <a:gd name="connsiteX12" fmla="*/ 24289 w 65817"/>
                  <a:gd name="connsiteY12" fmla="*/ 28164 h 89790"/>
                  <a:gd name="connsiteX13" fmla="*/ 36671 w 65817"/>
                  <a:gd name="connsiteY13" fmla="*/ 26926 h 89790"/>
                  <a:gd name="connsiteX14" fmla="*/ 37814 w 65817"/>
                  <a:gd name="connsiteY14" fmla="*/ 38546 h 89790"/>
                  <a:gd name="connsiteX15" fmla="*/ 25432 w 65817"/>
                  <a:gd name="connsiteY15" fmla="*/ 39785 h 89790"/>
                  <a:gd name="connsiteX16" fmla="*/ 30099 w 65817"/>
                  <a:gd name="connsiteY16" fmla="*/ 88267 h 89790"/>
                  <a:gd name="connsiteX17" fmla="*/ 14573 w 65817"/>
                  <a:gd name="connsiteY17" fmla="*/ 89791 h 89790"/>
                  <a:gd name="connsiteX18" fmla="*/ 9906 w 65817"/>
                  <a:gd name="connsiteY18" fmla="*/ 41309 h 89790"/>
                  <a:gd name="connsiteX19" fmla="*/ 44863 w 65817"/>
                  <a:gd name="connsiteY19" fmla="*/ 15782 h 89790"/>
                  <a:gd name="connsiteX20" fmla="*/ 41910 w 65817"/>
                  <a:gd name="connsiteY20" fmla="*/ 9686 h 89790"/>
                  <a:gd name="connsiteX21" fmla="*/ 43624 w 65817"/>
                  <a:gd name="connsiteY21" fmla="*/ 3018 h 89790"/>
                  <a:gd name="connsiteX22" fmla="*/ 49816 w 65817"/>
                  <a:gd name="connsiteY22" fmla="*/ 65 h 89790"/>
                  <a:gd name="connsiteX23" fmla="*/ 56293 w 65817"/>
                  <a:gd name="connsiteY23" fmla="*/ 1780 h 89790"/>
                  <a:gd name="connsiteX24" fmla="*/ 59246 w 65817"/>
                  <a:gd name="connsiteY24" fmla="*/ 7971 h 89790"/>
                  <a:gd name="connsiteX25" fmla="*/ 57531 w 65817"/>
                  <a:gd name="connsiteY25" fmla="*/ 14543 h 89790"/>
                  <a:gd name="connsiteX26" fmla="*/ 51530 w 65817"/>
                  <a:gd name="connsiteY26" fmla="*/ 17496 h 89790"/>
                  <a:gd name="connsiteX27" fmla="*/ 44863 w 65817"/>
                  <a:gd name="connsiteY27" fmla="*/ 15782 h 89790"/>
                  <a:gd name="connsiteX28" fmla="*/ 44387 w 65817"/>
                  <a:gd name="connsiteY28" fmla="*/ 26259 h 89790"/>
                  <a:gd name="connsiteX29" fmla="*/ 60007 w 65817"/>
                  <a:gd name="connsiteY29" fmla="*/ 24735 h 89790"/>
                  <a:gd name="connsiteX30" fmla="*/ 65818 w 65817"/>
                  <a:gd name="connsiteY30" fmla="*/ 84838 h 89790"/>
                  <a:gd name="connsiteX31" fmla="*/ 50197 w 65817"/>
                  <a:gd name="connsiteY31" fmla="*/ 86362 h 89790"/>
                  <a:gd name="connsiteX32" fmla="*/ 44387 w 65817"/>
                  <a:gd name="connsiteY32" fmla="*/ 26354 h 89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65817" h="89790">
                    <a:moveTo>
                      <a:pt x="9906" y="41309"/>
                    </a:moveTo>
                    <a:lnTo>
                      <a:pt x="1143" y="42166"/>
                    </a:lnTo>
                    <a:lnTo>
                      <a:pt x="0" y="30545"/>
                    </a:lnTo>
                    <a:lnTo>
                      <a:pt x="8763" y="29688"/>
                    </a:lnTo>
                    <a:lnTo>
                      <a:pt x="8287" y="24545"/>
                    </a:lnTo>
                    <a:cubicBezTo>
                      <a:pt x="7811" y="19115"/>
                      <a:pt x="8763" y="14734"/>
                      <a:pt x="11239" y="11400"/>
                    </a:cubicBezTo>
                    <a:cubicBezTo>
                      <a:pt x="13716" y="8066"/>
                      <a:pt x="18383" y="6066"/>
                      <a:pt x="25146" y="5399"/>
                    </a:cubicBezTo>
                    <a:cubicBezTo>
                      <a:pt x="28099" y="5114"/>
                      <a:pt x="31242" y="5114"/>
                      <a:pt x="34576" y="5399"/>
                    </a:cubicBezTo>
                    <a:lnTo>
                      <a:pt x="34576" y="16734"/>
                    </a:lnTo>
                    <a:cubicBezTo>
                      <a:pt x="32956" y="16544"/>
                      <a:pt x="31147" y="16544"/>
                      <a:pt x="29146" y="16734"/>
                    </a:cubicBezTo>
                    <a:cubicBezTo>
                      <a:pt x="26956" y="16925"/>
                      <a:pt x="25527" y="17687"/>
                      <a:pt x="24670" y="18925"/>
                    </a:cubicBezTo>
                    <a:cubicBezTo>
                      <a:pt x="23908" y="20163"/>
                      <a:pt x="23622" y="22068"/>
                      <a:pt x="23908" y="24449"/>
                    </a:cubicBezTo>
                    <a:lnTo>
                      <a:pt x="24289" y="28164"/>
                    </a:lnTo>
                    <a:lnTo>
                      <a:pt x="36671" y="26926"/>
                    </a:lnTo>
                    <a:lnTo>
                      <a:pt x="37814" y="38546"/>
                    </a:lnTo>
                    <a:lnTo>
                      <a:pt x="25432" y="39785"/>
                    </a:lnTo>
                    <a:lnTo>
                      <a:pt x="30099" y="88267"/>
                    </a:lnTo>
                    <a:lnTo>
                      <a:pt x="14573" y="89791"/>
                    </a:lnTo>
                    <a:lnTo>
                      <a:pt x="9906" y="41309"/>
                    </a:lnTo>
                    <a:close/>
                    <a:moveTo>
                      <a:pt x="44863" y="15782"/>
                    </a:moveTo>
                    <a:cubicBezTo>
                      <a:pt x="43148" y="14353"/>
                      <a:pt x="42196" y="12353"/>
                      <a:pt x="41910" y="9686"/>
                    </a:cubicBezTo>
                    <a:cubicBezTo>
                      <a:pt x="41624" y="7019"/>
                      <a:pt x="42196" y="4733"/>
                      <a:pt x="43624" y="3018"/>
                    </a:cubicBezTo>
                    <a:cubicBezTo>
                      <a:pt x="45053" y="1304"/>
                      <a:pt x="47149" y="256"/>
                      <a:pt x="49816" y="65"/>
                    </a:cubicBezTo>
                    <a:cubicBezTo>
                      <a:pt x="52483" y="-220"/>
                      <a:pt x="54578" y="446"/>
                      <a:pt x="56293" y="1780"/>
                    </a:cubicBezTo>
                    <a:cubicBezTo>
                      <a:pt x="58007" y="3209"/>
                      <a:pt x="58960" y="5304"/>
                      <a:pt x="59246" y="7971"/>
                    </a:cubicBezTo>
                    <a:cubicBezTo>
                      <a:pt x="59531" y="10638"/>
                      <a:pt x="58960" y="12734"/>
                      <a:pt x="57531" y="14543"/>
                    </a:cubicBezTo>
                    <a:cubicBezTo>
                      <a:pt x="56102" y="16258"/>
                      <a:pt x="54102" y="17306"/>
                      <a:pt x="51530" y="17496"/>
                    </a:cubicBezTo>
                    <a:cubicBezTo>
                      <a:pt x="48768" y="17782"/>
                      <a:pt x="46577" y="17210"/>
                      <a:pt x="44863" y="15782"/>
                    </a:cubicBezTo>
                    <a:close/>
                    <a:moveTo>
                      <a:pt x="44387" y="26259"/>
                    </a:moveTo>
                    <a:lnTo>
                      <a:pt x="60007" y="24735"/>
                    </a:lnTo>
                    <a:lnTo>
                      <a:pt x="65818" y="84838"/>
                    </a:lnTo>
                    <a:lnTo>
                      <a:pt x="50197" y="86362"/>
                    </a:lnTo>
                    <a:lnTo>
                      <a:pt x="44387" y="26354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96" name="Freeform: Shape 229">
                <a:extLst>
                  <a:ext uri="{FF2B5EF4-FFF2-40B4-BE49-F238E27FC236}">
                    <a16:creationId xmlns:a16="http://schemas.microsoft.com/office/drawing/2014/main" id="{5403F0A4-1E5F-47D6-662C-924D40287A3A}"/>
                  </a:ext>
                </a:extLst>
              </p:cNvPr>
              <p:cNvSpPr/>
              <p:nvPr/>
            </p:nvSpPr>
            <p:spPr>
              <a:xfrm>
                <a:off x="6046447" y="3919809"/>
                <a:ext cx="54886" cy="62613"/>
              </a:xfrm>
              <a:custGeom>
                <a:avLst/>
                <a:gdLst>
                  <a:gd name="connsiteX0" fmla="*/ 14309 w 54886"/>
                  <a:gd name="connsiteY0" fmla="*/ 59164 h 62613"/>
                  <a:gd name="connsiteX1" fmla="*/ 3927 w 54886"/>
                  <a:gd name="connsiteY1" fmla="*/ 48592 h 62613"/>
                  <a:gd name="connsiteX2" fmla="*/ 22 w 54886"/>
                  <a:gd name="connsiteY2" fmla="*/ 32399 h 62613"/>
                  <a:gd name="connsiteX3" fmla="*/ 3261 w 54886"/>
                  <a:gd name="connsiteY3" fmla="*/ 15254 h 62613"/>
                  <a:gd name="connsiteX4" fmla="*/ 13452 w 54886"/>
                  <a:gd name="connsiteY4" fmla="*/ 4110 h 62613"/>
                  <a:gd name="connsiteX5" fmla="*/ 29454 w 54886"/>
                  <a:gd name="connsiteY5" fmla="*/ 14 h 62613"/>
                  <a:gd name="connsiteX6" fmla="*/ 53076 w 54886"/>
                  <a:gd name="connsiteY6" fmla="*/ 12111 h 62613"/>
                  <a:gd name="connsiteX7" fmla="*/ 42313 w 54886"/>
                  <a:gd name="connsiteY7" fmla="*/ 19826 h 62613"/>
                  <a:gd name="connsiteX8" fmla="*/ 36884 w 54886"/>
                  <a:gd name="connsiteY8" fmla="*/ 14301 h 62613"/>
                  <a:gd name="connsiteX9" fmla="*/ 29740 w 54886"/>
                  <a:gd name="connsiteY9" fmla="*/ 12492 h 62613"/>
                  <a:gd name="connsiteX10" fmla="*/ 19548 w 54886"/>
                  <a:gd name="connsiteY10" fmla="*/ 17540 h 62613"/>
                  <a:gd name="connsiteX11" fmla="*/ 16405 w 54886"/>
                  <a:gd name="connsiteY11" fmla="*/ 31351 h 62613"/>
                  <a:gd name="connsiteX12" fmla="*/ 20406 w 54886"/>
                  <a:gd name="connsiteY12" fmla="*/ 45448 h 62613"/>
                  <a:gd name="connsiteX13" fmla="*/ 30788 w 54886"/>
                  <a:gd name="connsiteY13" fmla="*/ 50020 h 62613"/>
                  <a:gd name="connsiteX14" fmla="*/ 38503 w 54886"/>
                  <a:gd name="connsiteY14" fmla="*/ 47734 h 62613"/>
                  <a:gd name="connsiteX15" fmla="*/ 45266 w 54886"/>
                  <a:gd name="connsiteY15" fmla="*/ 41734 h 62613"/>
                  <a:gd name="connsiteX16" fmla="*/ 54886 w 54886"/>
                  <a:gd name="connsiteY16" fmla="*/ 50496 h 62613"/>
                  <a:gd name="connsiteX17" fmla="*/ 44599 w 54886"/>
                  <a:gd name="connsiteY17" fmla="*/ 59164 h 62613"/>
                  <a:gd name="connsiteX18" fmla="*/ 30597 w 54886"/>
                  <a:gd name="connsiteY18" fmla="*/ 62593 h 62613"/>
                  <a:gd name="connsiteX19" fmla="*/ 14309 w 54886"/>
                  <a:gd name="connsiteY19" fmla="*/ 59164 h 626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4886" h="62613">
                    <a:moveTo>
                      <a:pt x="14309" y="59164"/>
                    </a:moveTo>
                    <a:cubicBezTo>
                      <a:pt x="9738" y="56688"/>
                      <a:pt x="6308" y="53163"/>
                      <a:pt x="3927" y="48592"/>
                    </a:cubicBezTo>
                    <a:cubicBezTo>
                      <a:pt x="1546" y="44019"/>
                      <a:pt x="213" y="38590"/>
                      <a:pt x="22" y="32399"/>
                    </a:cubicBezTo>
                    <a:cubicBezTo>
                      <a:pt x="-168" y="25732"/>
                      <a:pt x="879" y="20017"/>
                      <a:pt x="3261" y="15254"/>
                    </a:cubicBezTo>
                    <a:cubicBezTo>
                      <a:pt x="5547" y="10492"/>
                      <a:pt x="8975" y="6777"/>
                      <a:pt x="13452" y="4110"/>
                    </a:cubicBezTo>
                    <a:cubicBezTo>
                      <a:pt x="17929" y="1538"/>
                      <a:pt x="23263" y="109"/>
                      <a:pt x="29454" y="14"/>
                    </a:cubicBezTo>
                    <a:cubicBezTo>
                      <a:pt x="39741" y="-272"/>
                      <a:pt x="47647" y="3824"/>
                      <a:pt x="53076" y="12111"/>
                    </a:cubicBezTo>
                    <a:lnTo>
                      <a:pt x="42313" y="19826"/>
                    </a:lnTo>
                    <a:cubicBezTo>
                      <a:pt x="40599" y="17445"/>
                      <a:pt x="38789" y="15540"/>
                      <a:pt x="36884" y="14301"/>
                    </a:cubicBezTo>
                    <a:cubicBezTo>
                      <a:pt x="34979" y="12968"/>
                      <a:pt x="32598" y="12396"/>
                      <a:pt x="29740" y="12492"/>
                    </a:cubicBezTo>
                    <a:cubicBezTo>
                      <a:pt x="25263" y="12587"/>
                      <a:pt x="21834" y="14301"/>
                      <a:pt x="19548" y="17540"/>
                    </a:cubicBezTo>
                    <a:cubicBezTo>
                      <a:pt x="17262" y="20778"/>
                      <a:pt x="16215" y="25446"/>
                      <a:pt x="16405" y="31351"/>
                    </a:cubicBezTo>
                    <a:cubicBezTo>
                      <a:pt x="16596" y="37543"/>
                      <a:pt x="17929" y="42305"/>
                      <a:pt x="20406" y="45448"/>
                    </a:cubicBezTo>
                    <a:cubicBezTo>
                      <a:pt x="22882" y="48592"/>
                      <a:pt x="26406" y="50211"/>
                      <a:pt x="30788" y="50020"/>
                    </a:cubicBezTo>
                    <a:cubicBezTo>
                      <a:pt x="33740" y="50020"/>
                      <a:pt x="36312" y="49163"/>
                      <a:pt x="38503" y="47734"/>
                    </a:cubicBezTo>
                    <a:cubicBezTo>
                      <a:pt x="40694" y="46306"/>
                      <a:pt x="42884" y="44305"/>
                      <a:pt x="45266" y="41734"/>
                    </a:cubicBezTo>
                    <a:lnTo>
                      <a:pt x="54886" y="50496"/>
                    </a:lnTo>
                    <a:cubicBezTo>
                      <a:pt x="52124" y="54116"/>
                      <a:pt x="48695" y="57069"/>
                      <a:pt x="44599" y="59164"/>
                    </a:cubicBezTo>
                    <a:cubicBezTo>
                      <a:pt x="40503" y="61260"/>
                      <a:pt x="35836" y="62403"/>
                      <a:pt x="30597" y="62593"/>
                    </a:cubicBezTo>
                    <a:cubicBezTo>
                      <a:pt x="24215" y="62784"/>
                      <a:pt x="18786" y="61641"/>
                      <a:pt x="14309" y="59164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97" name="Freeform: Shape 230">
                <a:extLst>
                  <a:ext uri="{FF2B5EF4-FFF2-40B4-BE49-F238E27FC236}">
                    <a16:creationId xmlns:a16="http://schemas.microsoft.com/office/drawing/2014/main" id="{02906E20-4666-EE8F-06CD-26A88A0BD576}"/>
                  </a:ext>
                </a:extLst>
              </p:cNvPr>
              <p:cNvSpPr/>
              <p:nvPr/>
            </p:nvSpPr>
            <p:spPr>
              <a:xfrm>
                <a:off x="6137552" y="3922101"/>
                <a:ext cx="54153" cy="63253"/>
              </a:xfrm>
              <a:custGeom>
                <a:avLst/>
                <a:gdLst>
                  <a:gd name="connsiteX0" fmla="*/ 7787 w 54153"/>
                  <a:gd name="connsiteY0" fmla="*/ 58967 h 63253"/>
                  <a:gd name="connsiteX1" fmla="*/ 1691 w 54153"/>
                  <a:gd name="connsiteY1" fmla="*/ 52300 h 63253"/>
                  <a:gd name="connsiteX2" fmla="*/ 72 w 54153"/>
                  <a:gd name="connsiteY2" fmla="*/ 42394 h 63253"/>
                  <a:gd name="connsiteX3" fmla="*/ 7597 w 54153"/>
                  <a:gd name="connsiteY3" fmla="*/ 28297 h 63253"/>
                  <a:gd name="connsiteX4" fmla="*/ 25313 w 54153"/>
                  <a:gd name="connsiteY4" fmla="*/ 24868 h 63253"/>
                  <a:gd name="connsiteX5" fmla="*/ 38267 w 54153"/>
                  <a:gd name="connsiteY5" fmla="*/ 25630 h 63253"/>
                  <a:gd name="connsiteX6" fmla="*/ 38458 w 54153"/>
                  <a:gd name="connsiteY6" fmla="*/ 22772 h 63253"/>
                  <a:gd name="connsiteX7" fmla="*/ 36362 w 54153"/>
                  <a:gd name="connsiteY7" fmla="*/ 14866 h 63253"/>
                  <a:gd name="connsiteX8" fmla="*/ 29218 w 54153"/>
                  <a:gd name="connsiteY8" fmla="*/ 12104 h 63253"/>
                  <a:gd name="connsiteX9" fmla="*/ 12455 w 54153"/>
                  <a:gd name="connsiteY9" fmla="*/ 18200 h 63253"/>
                  <a:gd name="connsiteX10" fmla="*/ 5787 w 54153"/>
                  <a:gd name="connsiteY10" fmla="*/ 7913 h 63253"/>
                  <a:gd name="connsiteX11" fmla="*/ 30933 w 54153"/>
                  <a:gd name="connsiteY11" fmla="*/ 103 h 63253"/>
                  <a:gd name="connsiteX12" fmla="*/ 48745 w 54153"/>
                  <a:gd name="connsiteY12" fmla="*/ 6961 h 63253"/>
                  <a:gd name="connsiteX13" fmla="*/ 54079 w 54153"/>
                  <a:gd name="connsiteY13" fmla="*/ 23439 h 63253"/>
                  <a:gd name="connsiteX14" fmla="*/ 52459 w 54153"/>
                  <a:gd name="connsiteY14" fmla="*/ 45442 h 63253"/>
                  <a:gd name="connsiteX15" fmla="*/ 51602 w 54153"/>
                  <a:gd name="connsiteY15" fmla="*/ 63254 h 63253"/>
                  <a:gd name="connsiteX16" fmla="*/ 36839 w 54153"/>
                  <a:gd name="connsiteY16" fmla="*/ 62206 h 63253"/>
                  <a:gd name="connsiteX17" fmla="*/ 37029 w 54153"/>
                  <a:gd name="connsiteY17" fmla="*/ 53729 h 63253"/>
                  <a:gd name="connsiteX18" fmla="*/ 36648 w 54153"/>
                  <a:gd name="connsiteY18" fmla="*/ 53729 h 63253"/>
                  <a:gd name="connsiteX19" fmla="*/ 28456 w 54153"/>
                  <a:gd name="connsiteY19" fmla="*/ 60206 h 63253"/>
                  <a:gd name="connsiteX20" fmla="*/ 17217 w 54153"/>
                  <a:gd name="connsiteY20" fmla="*/ 61920 h 63253"/>
                  <a:gd name="connsiteX21" fmla="*/ 7597 w 54153"/>
                  <a:gd name="connsiteY21" fmla="*/ 59063 h 63253"/>
                  <a:gd name="connsiteX22" fmla="*/ 30171 w 54153"/>
                  <a:gd name="connsiteY22" fmla="*/ 48966 h 63253"/>
                  <a:gd name="connsiteX23" fmla="*/ 35219 w 54153"/>
                  <a:gd name="connsiteY23" fmla="*/ 44489 h 63253"/>
                  <a:gd name="connsiteX24" fmla="*/ 37315 w 54153"/>
                  <a:gd name="connsiteY24" fmla="*/ 38298 h 63253"/>
                  <a:gd name="connsiteX25" fmla="*/ 37505 w 54153"/>
                  <a:gd name="connsiteY25" fmla="*/ 35250 h 63253"/>
                  <a:gd name="connsiteX26" fmla="*/ 29409 w 54153"/>
                  <a:gd name="connsiteY26" fmla="*/ 34774 h 63253"/>
                  <a:gd name="connsiteX27" fmla="*/ 22646 w 54153"/>
                  <a:gd name="connsiteY27" fmla="*/ 35060 h 63253"/>
                  <a:gd name="connsiteX28" fmla="*/ 18265 w 54153"/>
                  <a:gd name="connsiteY28" fmla="*/ 37060 h 63253"/>
                  <a:gd name="connsiteX29" fmla="*/ 16264 w 54153"/>
                  <a:gd name="connsiteY29" fmla="*/ 42203 h 63253"/>
                  <a:gd name="connsiteX30" fmla="*/ 17884 w 54153"/>
                  <a:gd name="connsiteY30" fmla="*/ 47918 h 63253"/>
                  <a:gd name="connsiteX31" fmla="*/ 23027 w 54153"/>
                  <a:gd name="connsiteY31" fmla="*/ 50204 h 63253"/>
                  <a:gd name="connsiteX32" fmla="*/ 30076 w 54153"/>
                  <a:gd name="connsiteY32" fmla="*/ 48871 h 63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54153" h="63253">
                    <a:moveTo>
                      <a:pt x="7787" y="58967"/>
                    </a:moveTo>
                    <a:cubicBezTo>
                      <a:pt x="5120" y="57348"/>
                      <a:pt x="3025" y="55157"/>
                      <a:pt x="1691" y="52300"/>
                    </a:cubicBezTo>
                    <a:cubicBezTo>
                      <a:pt x="358" y="49442"/>
                      <a:pt x="-214" y="46108"/>
                      <a:pt x="72" y="42394"/>
                    </a:cubicBezTo>
                    <a:cubicBezTo>
                      <a:pt x="548" y="35726"/>
                      <a:pt x="3120" y="31059"/>
                      <a:pt x="7597" y="28297"/>
                    </a:cubicBezTo>
                    <a:cubicBezTo>
                      <a:pt x="12169" y="25630"/>
                      <a:pt x="18074" y="24391"/>
                      <a:pt x="25313" y="24868"/>
                    </a:cubicBezTo>
                    <a:lnTo>
                      <a:pt x="38267" y="25630"/>
                    </a:lnTo>
                    <a:lnTo>
                      <a:pt x="38458" y="22772"/>
                    </a:lnTo>
                    <a:cubicBezTo>
                      <a:pt x="38743" y="19058"/>
                      <a:pt x="38077" y="16486"/>
                      <a:pt x="36362" y="14866"/>
                    </a:cubicBezTo>
                    <a:cubicBezTo>
                      <a:pt x="34648" y="13247"/>
                      <a:pt x="32362" y="12390"/>
                      <a:pt x="29218" y="12104"/>
                    </a:cubicBezTo>
                    <a:cubicBezTo>
                      <a:pt x="23884" y="11723"/>
                      <a:pt x="18360" y="13724"/>
                      <a:pt x="12455" y="18200"/>
                    </a:cubicBezTo>
                    <a:lnTo>
                      <a:pt x="5787" y="7913"/>
                    </a:lnTo>
                    <a:cubicBezTo>
                      <a:pt x="13407" y="2008"/>
                      <a:pt x="21884" y="-564"/>
                      <a:pt x="30933" y="103"/>
                    </a:cubicBezTo>
                    <a:cubicBezTo>
                      <a:pt x="38743" y="674"/>
                      <a:pt x="44744" y="2960"/>
                      <a:pt x="48745" y="6961"/>
                    </a:cubicBezTo>
                    <a:cubicBezTo>
                      <a:pt x="52745" y="10962"/>
                      <a:pt x="54555" y="16486"/>
                      <a:pt x="54079" y="23439"/>
                    </a:cubicBezTo>
                    <a:lnTo>
                      <a:pt x="52459" y="45442"/>
                    </a:lnTo>
                    <a:cubicBezTo>
                      <a:pt x="51983" y="52014"/>
                      <a:pt x="51698" y="58015"/>
                      <a:pt x="51602" y="63254"/>
                    </a:cubicBezTo>
                    <a:lnTo>
                      <a:pt x="36839" y="62206"/>
                    </a:lnTo>
                    <a:cubicBezTo>
                      <a:pt x="36839" y="59539"/>
                      <a:pt x="36839" y="56681"/>
                      <a:pt x="37029" y="53729"/>
                    </a:cubicBezTo>
                    <a:lnTo>
                      <a:pt x="36648" y="53729"/>
                    </a:lnTo>
                    <a:cubicBezTo>
                      <a:pt x="34457" y="56681"/>
                      <a:pt x="31695" y="58777"/>
                      <a:pt x="28456" y="60206"/>
                    </a:cubicBezTo>
                    <a:cubicBezTo>
                      <a:pt x="25218" y="61634"/>
                      <a:pt x="21503" y="62206"/>
                      <a:pt x="17217" y="61920"/>
                    </a:cubicBezTo>
                    <a:cubicBezTo>
                      <a:pt x="13502" y="61634"/>
                      <a:pt x="10264" y="60682"/>
                      <a:pt x="7597" y="59063"/>
                    </a:cubicBezTo>
                    <a:close/>
                    <a:moveTo>
                      <a:pt x="30171" y="48966"/>
                    </a:moveTo>
                    <a:cubicBezTo>
                      <a:pt x="32266" y="47918"/>
                      <a:pt x="33981" y="46395"/>
                      <a:pt x="35219" y="44489"/>
                    </a:cubicBezTo>
                    <a:cubicBezTo>
                      <a:pt x="36457" y="42584"/>
                      <a:pt x="37219" y="40489"/>
                      <a:pt x="37315" y="38298"/>
                    </a:cubicBezTo>
                    <a:lnTo>
                      <a:pt x="37505" y="35250"/>
                    </a:lnTo>
                    <a:lnTo>
                      <a:pt x="29409" y="34774"/>
                    </a:lnTo>
                    <a:cubicBezTo>
                      <a:pt x="26647" y="34774"/>
                      <a:pt x="24361" y="34774"/>
                      <a:pt x="22646" y="35060"/>
                    </a:cubicBezTo>
                    <a:cubicBezTo>
                      <a:pt x="20932" y="35345"/>
                      <a:pt x="19503" y="36012"/>
                      <a:pt x="18265" y="37060"/>
                    </a:cubicBezTo>
                    <a:cubicBezTo>
                      <a:pt x="17122" y="38108"/>
                      <a:pt x="16455" y="39822"/>
                      <a:pt x="16264" y="42203"/>
                    </a:cubicBezTo>
                    <a:cubicBezTo>
                      <a:pt x="16074" y="44680"/>
                      <a:pt x="16645" y="46585"/>
                      <a:pt x="17884" y="47918"/>
                    </a:cubicBezTo>
                    <a:cubicBezTo>
                      <a:pt x="19122" y="49252"/>
                      <a:pt x="20836" y="50109"/>
                      <a:pt x="23027" y="50204"/>
                    </a:cubicBezTo>
                    <a:cubicBezTo>
                      <a:pt x="25599" y="50395"/>
                      <a:pt x="27885" y="49919"/>
                      <a:pt x="30076" y="48871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98" name="Freeform: Shape 231">
                <a:extLst>
                  <a:ext uri="{FF2B5EF4-FFF2-40B4-BE49-F238E27FC236}">
                    <a16:creationId xmlns:a16="http://schemas.microsoft.com/office/drawing/2014/main" id="{DE042C31-050E-E74D-B4A5-6E0A6304C9B6}"/>
                  </a:ext>
                </a:extLst>
              </p:cNvPr>
              <p:cNvSpPr/>
              <p:nvPr/>
            </p:nvSpPr>
            <p:spPr>
              <a:xfrm>
                <a:off x="6202489" y="3926871"/>
                <a:ext cx="60160" cy="67627"/>
              </a:xfrm>
              <a:custGeom>
                <a:avLst/>
                <a:gdLst>
                  <a:gd name="connsiteX0" fmla="*/ 6858 w 60160"/>
                  <a:gd name="connsiteY0" fmla="*/ 13430 h 67627"/>
                  <a:gd name="connsiteX1" fmla="*/ 7811 w 60160"/>
                  <a:gd name="connsiteY1" fmla="*/ 5525 h 67627"/>
                  <a:gd name="connsiteX2" fmla="*/ 8287 w 60160"/>
                  <a:gd name="connsiteY2" fmla="*/ 0 h 67627"/>
                  <a:gd name="connsiteX3" fmla="*/ 23051 w 60160"/>
                  <a:gd name="connsiteY3" fmla="*/ 2096 h 67627"/>
                  <a:gd name="connsiteX4" fmla="*/ 22860 w 60160"/>
                  <a:gd name="connsiteY4" fmla="*/ 7049 h 67627"/>
                  <a:gd name="connsiteX5" fmla="*/ 22288 w 60160"/>
                  <a:gd name="connsiteY5" fmla="*/ 12954 h 67627"/>
                  <a:gd name="connsiteX6" fmla="*/ 22479 w 60160"/>
                  <a:gd name="connsiteY6" fmla="*/ 12954 h 67627"/>
                  <a:gd name="connsiteX7" fmla="*/ 31718 w 60160"/>
                  <a:gd name="connsiteY7" fmla="*/ 5048 h 67627"/>
                  <a:gd name="connsiteX8" fmla="*/ 43434 w 60160"/>
                  <a:gd name="connsiteY8" fmla="*/ 3715 h 67627"/>
                  <a:gd name="connsiteX9" fmla="*/ 57436 w 60160"/>
                  <a:gd name="connsiteY9" fmla="*/ 12192 h 67627"/>
                  <a:gd name="connsiteX10" fmla="*/ 59722 w 60160"/>
                  <a:gd name="connsiteY10" fmla="*/ 29718 h 67627"/>
                  <a:gd name="connsiteX11" fmla="*/ 54197 w 60160"/>
                  <a:gd name="connsiteY11" fmla="*/ 67628 h 67627"/>
                  <a:gd name="connsiteX12" fmla="*/ 38767 w 60160"/>
                  <a:gd name="connsiteY12" fmla="*/ 65342 h 67627"/>
                  <a:gd name="connsiteX13" fmla="*/ 43625 w 60160"/>
                  <a:gd name="connsiteY13" fmla="*/ 31909 h 67627"/>
                  <a:gd name="connsiteX14" fmla="*/ 42863 w 60160"/>
                  <a:gd name="connsiteY14" fmla="*/ 21146 h 67627"/>
                  <a:gd name="connsiteX15" fmla="*/ 35624 w 60160"/>
                  <a:gd name="connsiteY15" fmla="*/ 16288 h 67627"/>
                  <a:gd name="connsiteX16" fmla="*/ 28575 w 60160"/>
                  <a:gd name="connsiteY16" fmla="*/ 17240 h 67627"/>
                  <a:gd name="connsiteX17" fmla="*/ 23051 w 60160"/>
                  <a:gd name="connsiteY17" fmla="*/ 22098 h 67627"/>
                  <a:gd name="connsiteX18" fmla="*/ 20193 w 60160"/>
                  <a:gd name="connsiteY18" fmla="*/ 29909 h 67627"/>
                  <a:gd name="connsiteX19" fmla="*/ 15526 w 60160"/>
                  <a:gd name="connsiteY19" fmla="*/ 61913 h 67627"/>
                  <a:gd name="connsiteX20" fmla="*/ 0 w 60160"/>
                  <a:gd name="connsiteY20" fmla="*/ 59627 h 67627"/>
                  <a:gd name="connsiteX21" fmla="*/ 6763 w 60160"/>
                  <a:gd name="connsiteY21" fmla="*/ 13240 h 676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60160" h="67627">
                    <a:moveTo>
                      <a:pt x="6858" y="13430"/>
                    </a:moveTo>
                    <a:cubicBezTo>
                      <a:pt x="7239" y="10859"/>
                      <a:pt x="7525" y="8287"/>
                      <a:pt x="7811" y="5525"/>
                    </a:cubicBezTo>
                    <a:cubicBezTo>
                      <a:pt x="8096" y="2858"/>
                      <a:pt x="8287" y="953"/>
                      <a:pt x="8287" y="0"/>
                    </a:cubicBezTo>
                    <a:lnTo>
                      <a:pt x="23051" y="2096"/>
                    </a:lnTo>
                    <a:cubicBezTo>
                      <a:pt x="23051" y="2953"/>
                      <a:pt x="23051" y="4572"/>
                      <a:pt x="22860" y="7049"/>
                    </a:cubicBezTo>
                    <a:cubicBezTo>
                      <a:pt x="22670" y="9525"/>
                      <a:pt x="22479" y="11430"/>
                      <a:pt x="22288" y="12954"/>
                    </a:cubicBezTo>
                    <a:lnTo>
                      <a:pt x="22479" y="12954"/>
                    </a:lnTo>
                    <a:cubicBezTo>
                      <a:pt x="25146" y="9239"/>
                      <a:pt x="28289" y="6572"/>
                      <a:pt x="31718" y="5048"/>
                    </a:cubicBezTo>
                    <a:cubicBezTo>
                      <a:pt x="35147" y="3524"/>
                      <a:pt x="39053" y="3143"/>
                      <a:pt x="43434" y="3715"/>
                    </a:cubicBezTo>
                    <a:cubicBezTo>
                      <a:pt x="50292" y="4667"/>
                      <a:pt x="54959" y="7525"/>
                      <a:pt x="57436" y="12192"/>
                    </a:cubicBezTo>
                    <a:cubicBezTo>
                      <a:pt x="59912" y="16859"/>
                      <a:pt x="60770" y="22670"/>
                      <a:pt x="59722" y="29718"/>
                    </a:cubicBezTo>
                    <a:lnTo>
                      <a:pt x="54197" y="67628"/>
                    </a:lnTo>
                    <a:lnTo>
                      <a:pt x="38767" y="65342"/>
                    </a:lnTo>
                    <a:lnTo>
                      <a:pt x="43625" y="31909"/>
                    </a:lnTo>
                    <a:cubicBezTo>
                      <a:pt x="44291" y="27432"/>
                      <a:pt x="44005" y="23813"/>
                      <a:pt x="42863" y="21146"/>
                    </a:cubicBezTo>
                    <a:cubicBezTo>
                      <a:pt x="41720" y="18479"/>
                      <a:pt x="39243" y="16859"/>
                      <a:pt x="35624" y="16288"/>
                    </a:cubicBezTo>
                    <a:cubicBezTo>
                      <a:pt x="33147" y="15907"/>
                      <a:pt x="30766" y="16288"/>
                      <a:pt x="28575" y="17240"/>
                    </a:cubicBezTo>
                    <a:cubicBezTo>
                      <a:pt x="26384" y="18288"/>
                      <a:pt x="24575" y="19907"/>
                      <a:pt x="23051" y="22098"/>
                    </a:cubicBezTo>
                    <a:cubicBezTo>
                      <a:pt x="21527" y="24289"/>
                      <a:pt x="20574" y="26956"/>
                      <a:pt x="20193" y="29909"/>
                    </a:cubicBezTo>
                    <a:lnTo>
                      <a:pt x="15526" y="61913"/>
                    </a:lnTo>
                    <a:lnTo>
                      <a:pt x="0" y="59627"/>
                    </a:lnTo>
                    <a:lnTo>
                      <a:pt x="6763" y="13240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99" name="Freeform: Shape 232">
                <a:extLst>
                  <a:ext uri="{FF2B5EF4-FFF2-40B4-BE49-F238E27FC236}">
                    <a16:creationId xmlns:a16="http://schemas.microsoft.com/office/drawing/2014/main" id="{F2FA7D9F-B16E-12CC-D7C5-A2CAED57AAC6}"/>
                  </a:ext>
                </a:extLst>
              </p:cNvPr>
              <p:cNvSpPr/>
              <p:nvPr/>
            </p:nvSpPr>
            <p:spPr>
              <a:xfrm>
                <a:off x="6272296" y="3924395"/>
                <a:ext cx="68876" cy="84296"/>
              </a:xfrm>
              <a:custGeom>
                <a:avLst/>
                <a:gdLst>
                  <a:gd name="connsiteX0" fmla="*/ 5917 w 68876"/>
                  <a:gd name="connsiteY0" fmla="*/ 71438 h 84296"/>
                  <a:gd name="connsiteX1" fmla="*/ 392 w 68876"/>
                  <a:gd name="connsiteY1" fmla="*/ 58864 h 84296"/>
                  <a:gd name="connsiteX2" fmla="*/ 1250 w 68876"/>
                  <a:gd name="connsiteY2" fmla="*/ 42386 h 84296"/>
                  <a:gd name="connsiteX3" fmla="*/ 7536 w 68876"/>
                  <a:gd name="connsiteY3" fmla="*/ 27146 h 84296"/>
                  <a:gd name="connsiteX4" fmla="*/ 18204 w 68876"/>
                  <a:gd name="connsiteY4" fmla="*/ 18193 h 84296"/>
                  <a:gd name="connsiteX5" fmla="*/ 32396 w 68876"/>
                  <a:gd name="connsiteY5" fmla="*/ 17240 h 84296"/>
                  <a:gd name="connsiteX6" fmla="*/ 41636 w 68876"/>
                  <a:gd name="connsiteY6" fmla="*/ 21717 h 84296"/>
                  <a:gd name="connsiteX7" fmla="*/ 46970 w 68876"/>
                  <a:gd name="connsiteY7" fmla="*/ 30194 h 84296"/>
                  <a:gd name="connsiteX8" fmla="*/ 47065 w 68876"/>
                  <a:gd name="connsiteY8" fmla="*/ 30194 h 84296"/>
                  <a:gd name="connsiteX9" fmla="*/ 47541 w 68876"/>
                  <a:gd name="connsiteY9" fmla="*/ 27622 h 84296"/>
                  <a:gd name="connsiteX10" fmla="*/ 48875 w 68876"/>
                  <a:gd name="connsiteY10" fmla="*/ 21526 h 84296"/>
                  <a:gd name="connsiteX11" fmla="*/ 53637 w 68876"/>
                  <a:gd name="connsiteY11" fmla="*/ 0 h 84296"/>
                  <a:gd name="connsiteX12" fmla="*/ 68877 w 68876"/>
                  <a:gd name="connsiteY12" fmla="*/ 3429 h 84296"/>
                  <a:gd name="connsiteX13" fmla="*/ 53732 w 68876"/>
                  <a:gd name="connsiteY13" fmla="*/ 71438 h 84296"/>
                  <a:gd name="connsiteX14" fmla="*/ 52304 w 68876"/>
                  <a:gd name="connsiteY14" fmla="*/ 78486 h 84296"/>
                  <a:gd name="connsiteX15" fmla="*/ 51637 w 68876"/>
                  <a:gd name="connsiteY15" fmla="*/ 82487 h 84296"/>
                  <a:gd name="connsiteX16" fmla="*/ 51351 w 68876"/>
                  <a:gd name="connsiteY16" fmla="*/ 84296 h 84296"/>
                  <a:gd name="connsiteX17" fmla="*/ 36492 w 68876"/>
                  <a:gd name="connsiteY17" fmla="*/ 80963 h 84296"/>
                  <a:gd name="connsiteX18" fmla="*/ 36778 w 68876"/>
                  <a:gd name="connsiteY18" fmla="*/ 77248 h 84296"/>
                  <a:gd name="connsiteX19" fmla="*/ 37635 w 68876"/>
                  <a:gd name="connsiteY19" fmla="*/ 72295 h 84296"/>
                  <a:gd name="connsiteX20" fmla="*/ 37445 w 68876"/>
                  <a:gd name="connsiteY20" fmla="*/ 72295 h 84296"/>
                  <a:gd name="connsiteX21" fmla="*/ 28777 w 68876"/>
                  <a:gd name="connsiteY21" fmla="*/ 77914 h 84296"/>
                  <a:gd name="connsiteX22" fmla="*/ 17728 w 68876"/>
                  <a:gd name="connsiteY22" fmla="*/ 77914 h 84296"/>
                  <a:gd name="connsiteX23" fmla="*/ 5822 w 68876"/>
                  <a:gd name="connsiteY23" fmla="*/ 71152 h 84296"/>
                  <a:gd name="connsiteX24" fmla="*/ 32111 w 68876"/>
                  <a:gd name="connsiteY24" fmla="*/ 66675 h 84296"/>
                  <a:gd name="connsiteX25" fmla="*/ 38397 w 68876"/>
                  <a:gd name="connsiteY25" fmla="*/ 61817 h 84296"/>
                  <a:gd name="connsiteX26" fmla="*/ 42779 w 68876"/>
                  <a:gd name="connsiteY26" fmla="*/ 51245 h 84296"/>
                  <a:gd name="connsiteX27" fmla="*/ 42112 w 68876"/>
                  <a:gd name="connsiteY27" fmla="*/ 36385 h 84296"/>
                  <a:gd name="connsiteX28" fmla="*/ 33730 w 68876"/>
                  <a:gd name="connsiteY28" fmla="*/ 30099 h 84296"/>
                  <a:gd name="connsiteX29" fmla="*/ 23824 w 68876"/>
                  <a:gd name="connsiteY29" fmla="*/ 32671 h 84296"/>
                  <a:gd name="connsiteX30" fmla="*/ 17347 w 68876"/>
                  <a:gd name="connsiteY30" fmla="*/ 45910 h 84296"/>
                  <a:gd name="connsiteX31" fmla="*/ 17537 w 68876"/>
                  <a:gd name="connsiteY31" fmla="*/ 60293 h 84296"/>
                  <a:gd name="connsiteX32" fmla="*/ 25348 w 68876"/>
                  <a:gd name="connsiteY32" fmla="*/ 67056 h 84296"/>
                  <a:gd name="connsiteX33" fmla="*/ 32111 w 68876"/>
                  <a:gd name="connsiteY33" fmla="*/ 66675 h 842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68876" h="84296">
                    <a:moveTo>
                      <a:pt x="5917" y="71438"/>
                    </a:moveTo>
                    <a:cubicBezTo>
                      <a:pt x="2964" y="68104"/>
                      <a:pt x="1154" y="63913"/>
                      <a:pt x="392" y="58864"/>
                    </a:cubicBezTo>
                    <a:cubicBezTo>
                      <a:pt x="-370" y="53816"/>
                      <a:pt x="11" y="48387"/>
                      <a:pt x="1250" y="42386"/>
                    </a:cubicBezTo>
                    <a:cubicBezTo>
                      <a:pt x="2583" y="36385"/>
                      <a:pt x="4679" y="31337"/>
                      <a:pt x="7536" y="27146"/>
                    </a:cubicBezTo>
                    <a:cubicBezTo>
                      <a:pt x="10394" y="22955"/>
                      <a:pt x="14013" y="20002"/>
                      <a:pt x="18204" y="18193"/>
                    </a:cubicBezTo>
                    <a:cubicBezTo>
                      <a:pt x="22490" y="16383"/>
                      <a:pt x="27157" y="16097"/>
                      <a:pt x="32396" y="17240"/>
                    </a:cubicBezTo>
                    <a:cubicBezTo>
                      <a:pt x="35921" y="18002"/>
                      <a:pt x="38969" y="19526"/>
                      <a:pt x="41636" y="21717"/>
                    </a:cubicBezTo>
                    <a:cubicBezTo>
                      <a:pt x="44303" y="23908"/>
                      <a:pt x="46112" y="26765"/>
                      <a:pt x="46970" y="30194"/>
                    </a:cubicBezTo>
                    <a:lnTo>
                      <a:pt x="47065" y="30194"/>
                    </a:lnTo>
                    <a:cubicBezTo>
                      <a:pt x="47255" y="29242"/>
                      <a:pt x="47446" y="28384"/>
                      <a:pt x="47541" y="27622"/>
                    </a:cubicBezTo>
                    <a:lnTo>
                      <a:pt x="48875" y="21526"/>
                    </a:lnTo>
                    <a:lnTo>
                      <a:pt x="53637" y="0"/>
                    </a:lnTo>
                    <a:lnTo>
                      <a:pt x="68877" y="3429"/>
                    </a:lnTo>
                    <a:lnTo>
                      <a:pt x="53732" y="71438"/>
                    </a:lnTo>
                    <a:cubicBezTo>
                      <a:pt x="53161" y="73914"/>
                      <a:pt x="52685" y="76295"/>
                      <a:pt x="52304" y="78486"/>
                    </a:cubicBezTo>
                    <a:cubicBezTo>
                      <a:pt x="51922" y="80677"/>
                      <a:pt x="51637" y="82010"/>
                      <a:pt x="51637" y="82487"/>
                    </a:cubicBezTo>
                    <a:cubicBezTo>
                      <a:pt x="51542" y="83439"/>
                      <a:pt x="51446" y="84010"/>
                      <a:pt x="51351" y="84296"/>
                    </a:cubicBezTo>
                    <a:lnTo>
                      <a:pt x="36492" y="80963"/>
                    </a:lnTo>
                    <a:cubicBezTo>
                      <a:pt x="36492" y="80391"/>
                      <a:pt x="36492" y="79153"/>
                      <a:pt x="36778" y="77248"/>
                    </a:cubicBezTo>
                    <a:cubicBezTo>
                      <a:pt x="37063" y="75343"/>
                      <a:pt x="37349" y="73628"/>
                      <a:pt x="37635" y="72295"/>
                    </a:cubicBezTo>
                    <a:lnTo>
                      <a:pt x="37445" y="72295"/>
                    </a:lnTo>
                    <a:cubicBezTo>
                      <a:pt x="35063" y="75152"/>
                      <a:pt x="32111" y="77057"/>
                      <a:pt x="28777" y="77914"/>
                    </a:cubicBezTo>
                    <a:cubicBezTo>
                      <a:pt x="25348" y="78772"/>
                      <a:pt x="21728" y="78772"/>
                      <a:pt x="17728" y="77914"/>
                    </a:cubicBezTo>
                    <a:cubicBezTo>
                      <a:pt x="12680" y="76771"/>
                      <a:pt x="8774" y="74581"/>
                      <a:pt x="5822" y="71152"/>
                    </a:cubicBezTo>
                    <a:close/>
                    <a:moveTo>
                      <a:pt x="32111" y="66675"/>
                    </a:moveTo>
                    <a:cubicBezTo>
                      <a:pt x="34397" y="65913"/>
                      <a:pt x="36492" y="64294"/>
                      <a:pt x="38397" y="61817"/>
                    </a:cubicBezTo>
                    <a:cubicBezTo>
                      <a:pt x="40302" y="59341"/>
                      <a:pt x="41731" y="55816"/>
                      <a:pt x="42779" y="51245"/>
                    </a:cubicBezTo>
                    <a:cubicBezTo>
                      <a:pt x="44207" y="44672"/>
                      <a:pt x="44017" y="39719"/>
                      <a:pt x="42112" y="36385"/>
                    </a:cubicBezTo>
                    <a:cubicBezTo>
                      <a:pt x="40207" y="33052"/>
                      <a:pt x="37445" y="30956"/>
                      <a:pt x="33730" y="30099"/>
                    </a:cubicBezTo>
                    <a:cubicBezTo>
                      <a:pt x="30015" y="29242"/>
                      <a:pt x="26681" y="30099"/>
                      <a:pt x="23824" y="32671"/>
                    </a:cubicBezTo>
                    <a:cubicBezTo>
                      <a:pt x="20871" y="35242"/>
                      <a:pt x="18776" y="39624"/>
                      <a:pt x="17347" y="45910"/>
                    </a:cubicBezTo>
                    <a:cubicBezTo>
                      <a:pt x="16013" y="51911"/>
                      <a:pt x="16109" y="56674"/>
                      <a:pt x="17537" y="60293"/>
                    </a:cubicBezTo>
                    <a:cubicBezTo>
                      <a:pt x="18966" y="63913"/>
                      <a:pt x="21633" y="66199"/>
                      <a:pt x="25348" y="67056"/>
                    </a:cubicBezTo>
                    <a:cubicBezTo>
                      <a:pt x="27634" y="67532"/>
                      <a:pt x="29825" y="67437"/>
                      <a:pt x="32111" y="66675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00" name="Freeform: Shape 233">
                <a:extLst>
                  <a:ext uri="{FF2B5EF4-FFF2-40B4-BE49-F238E27FC236}">
                    <a16:creationId xmlns:a16="http://schemas.microsoft.com/office/drawing/2014/main" id="{1B1AA846-7E5A-5ABF-53E0-E48FF5E07FED}"/>
                  </a:ext>
                </a:extLst>
              </p:cNvPr>
              <p:cNvSpPr/>
              <p:nvPr/>
            </p:nvSpPr>
            <p:spPr>
              <a:xfrm>
                <a:off x="6365081" y="3967860"/>
                <a:ext cx="60769" cy="63464"/>
              </a:xfrm>
              <a:custGeom>
                <a:avLst/>
                <a:gdLst>
                  <a:gd name="connsiteX0" fmla="*/ 8954 w 60769"/>
                  <a:gd name="connsiteY0" fmla="*/ 54833 h 63464"/>
                  <a:gd name="connsiteX1" fmla="*/ 0 w 60769"/>
                  <a:gd name="connsiteY1" fmla="*/ 44927 h 63464"/>
                  <a:gd name="connsiteX2" fmla="*/ 10096 w 60769"/>
                  <a:gd name="connsiteY2" fmla="*/ 36926 h 63464"/>
                  <a:gd name="connsiteX3" fmla="*/ 17145 w 60769"/>
                  <a:gd name="connsiteY3" fmla="*/ 45308 h 63464"/>
                  <a:gd name="connsiteX4" fmla="*/ 25241 w 60769"/>
                  <a:gd name="connsiteY4" fmla="*/ 50071 h 63464"/>
                  <a:gd name="connsiteX5" fmla="*/ 32956 w 60769"/>
                  <a:gd name="connsiteY5" fmla="*/ 51309 h 63464"/>
                  <a:gd name="connsiteX6" fmla="*/ 36957 w 60769"/>
                  <a:gd name="connsiteY6" fmla="*/ 47975 h 63464"/>
                  <a:gd name="connsiteX7" fmla="*/ 36766 w 60769"/>
                  <a:gd name="connsiteY7" fmla="*/ 43975 h 63464"/>
                  <a:gd name="connsiteX8" fmla="*/ 33909 w 60769"/>
                  <a:gd name="connsiteY8" fmla="*/ 40736 h 63464"/>
                  <a:gd name="connsiteX9" fmla="*/ 28385 w 60769"/>
                  <a:gd name="connsiteY9" fmla="*/ 37117 h 63464"/>
                  <a:gd name="connsiteX10" fmla="*/ 25813 w 60769"/>
                  <a:gd name="connsiteY10" fmla="*/ 35497 h 63464"/>
                  <a:gd name="connsiteX11" fmla="*/ 17336 w 60769"/>
                  <a:gd name="connsiteY11" fmla="*/ 29020 h 63464"/>
                  <a:gd name="connsiteX12" fmla="*/ 12859 w 60769"/>
                  <a:gd name="connsiteY12" fmla="*/ 21686 h 63464"/>
                  <a:gd name="connsiteX13" fmla="*/ 13430 w 60769"/>
                  <a:gd name="connsiteY13" fmla="*/ 11875 h 63464"/>
                  <a:gd name="connsiteX14" fmla="*/ 19145 w 60769"/>
                  <a:gd name="connsiteY14" fmla="*/ 3493 h 63464"/>
                  <a:gd name="connsiteX15" fmla="*/ 28765 w 60769"/>
                  <a:gd name="connsiteY15" fmla="*/ 64 h 63464"/>
                  <a:gd name="connsiteX16" fmla="*/ 41624 w 60769"/>
                  <a:gd name="connsiteY16" fmla="*/ 2065 h 63464"/>
                  <a:gd name="connsiteX17" fmla="*/ 53245 w 60769"/>
                  <a:gd name="connsiteY17" fmla="*/ 8256 h 63464"/>
                  <a:gd name="connsiteX18" fmla="*/ 60770 w 60769"/>
                  <a:gd name="connsiteY18" fmla="*/ 17686 h 63464"/>
                  <a:gd name="connsiteX19" fmla="*/ 50197 w 60769"/>
                  <a:gd name="connsiteY19" fmla="*/ 23877 h 63464"/>
                  <a:gd name="connsiteX20" fmla="*/ 38005 w 60769"/>
                  <a:gd name="connsiteY20" fmla="*/ 13114 h 63464"/>
                  <a:gd name="connsiteX21" fmla="*/ 27527 w 60769"/>
                  <a:gd name="connsiteY21" fmla="*/ 15209 h 63464"/>
                  <a:gd name="connsiteX22" fmla="*/ 27622 w 60769"/>
                  <a:gd name="connsiteY22" fmla="*/ 18733 h 63464"/>
                  <a:gd name="connsiteX23" fmla="*/ 30004 w 60769"/>
                  <a:gd name="connsiteY23" fmla="*/ 21496 h 63464"/>
                  <a:gd name="connsiteX24" fmla="*/ 34862 w 60769"/>
                  <a:gd name="connsiteY24" fmla="*/ 24734 h 63464"/>
                  <a:gd name="connsiteX25" fmla="*/ 37338 w 60769"/>
                  <a:gd name="connsiteY25" fmla="*/ 26258 h 63464"/>
                  <a:gd name="connsiteX26" fmla="*/ 46673 w 60769"/>
                  <a:gd name="connsiteY26" fmla="*/ 33211 h 63464"/>
                  <a:gd name="connsiteX27" fmla="*/ 51625 w 60769"/>
                  <a:gd name="connsiteY27" fmla="*/ 40927 h 63464"/>
                  <a:gd name="connsiteX28" fmla="*/ 51054 w 60769"/>
                  <a:gd name="connsiteY28" fmla="*/ 51500 h 63464"/>
                  <a:gd name="connsiteX29" fmla="*/ 45148 w 60769"/>
                  <a:gd name="connsiteY29" fmla="*/ 59977 h 63464"/>
                  <a:gd name="connsiteX30" fmla="*/ 34957 w 60769"/>
                  <a:gd name="connsiteY30" fmla="*/ 63406 h 63464"/>
                  <a:gd name="connsiteX31" fmla="*/ 21527 w 60769"/>
                  <a:gd name="connsiteY31" fmla="*/ 61310 h 63464"/>
                  <a:gd name="connsiteX32" fmla="*/ 8954 w 60769"/>
                  <a:gd name="connsiteY32" fmla="*/ 54928 h 63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60769" h="63464">
                    <a:moveTo>
                      <a:pt x="8954" y="54833"/>
                    </a:moveTo>
                    <a:cubicBezTo>
                      <a:pt x="5524" y="52261"/>
                      <a:pt x="2572" y="48928"/>
                      <a:pt x="0" y="44927"/>
                    </a:cubicBezTo>
                    <a:lnTo>
                      <a:pt x="10096" y="36926"/>
                    </a:lnTo>
                    <a:cubicBezTo>
                      <a:pt x="12478" y="40450"/>
                      <a:pt x="14764" y="43213"/>
                      <a:pt x="17145" y="45308"/>
                    </a:cubicBezTo>
                    <a:cubicBezTo>
                      <a:pt x="19431" y="47404"/>
                      <a:pt x="22193" y="49023"/>
                      <a:pt x="25241" y="50071"/>
                    </a:cubicBezTo>
                    <a:cubicBezTo>
                      <a:pt x="28385" y="51118"/>
                      <a:pt x="30956" y="51500"/>
                      <a:pt x="32956" y="51309"/>
                    </a:cubicBezTo>
                    <a:cubicBezTo>
                      <a:pt x="34957" y="51118"/>
                      <a:pt x="36290" y="49975"/>
                      <a:pt x="36957" y="47975"/>
                    </a:cubicBezTo>
                    <a:cubicBezTo>
                      <a:pt x="37433" y="46451"/>
                      <a:pt x="37338" y="45118"/>
                      <a:pt x="36766" y="43975"/>
                    </a:cubicBezTo>
                    <a:cubicBezTo>
                      <a:pt x="36100" y="42832"/>
                      <a:pt x="35147" y="41689"/>
                      <a:pt x="33909" y="40736"/>
                    </a:cubicBezTo>
                    <a:cubicBezTo>
                      <a:pt x="32671" y="39784"/>
                      <a:pt x="30766" y="38545"/>
                      <a:pt x="28385" y="37117"/>
                    </a:cubicBezTo>
                    <a:lnTo>
                      <a:pt x="25813" y="35497"/>
                    </a:lnTo>
                    <a:cubicBezTo>
                      <a:pt x="22288" y="33211"/>
                      <a:pt x="19431" y="31021"/>
                      <a:pt x="17336" y="29020"/>
                    </a:cubicBezTo>
                    <a:cubicBezTo>
                      <a:pt x="15145" y="26925"/>
                      <a:pt x="13716" y="24449"/>
                      <a:pt x="12859" y="21686"/>
                    </a:cubicBezTo>
                    <a:cubicBezTo>
                      <a:pt x="12002" y="18829"/>
                      <a:pt x="12192" y="15590"/>
                      <a:pt x="13430" y="11875"/>
                    </a:cubicBezTo>
                    <a:cubicBezTo>
                      <a:pt x="14669" y="8256"/>
                      <a:pt x="16573" y="5494"/>
                      <a:pt x="19145" y="3493"/>
                    </a:cubicBezTo>
                    <a:cubicBezTo>
                      <a:pt x="21717" y="1493"/>
                      <a:pt x="24955" y="350"/>
                      <a:pt x="28765" y="64"/>
                    </a:cubicBezTo>
                    <a:cubicBezTo>
                      <a:pt x="32576" y="-221"/>
                      <a:pt x="36862" y="445"/>
                      <a:pt x="41624" y="2065"/>
                    </a:cubicBezTo>
                    <a:cubicBezTo>
                      <a:pt x="46101" y="3589"/>
                      <a:pt x="50006" y="5684"/>
                      <a:pt x="53245" y="8256"/>
                    </a:cubicBezTo>
                    <a:cubicBezTo>
                      <a:pt x="56483" y="10923"/>
                      <a:pt x="58960" y="13971"/>
                      <a:pt x="60770" y="17686"/>
                    </a:cubicBezTo>
                    <a:lnTo>
                      <a:pt x="50197" y="23877"/>
                    </a:lnTo>
                    <a:cubicBezTo>
                      <a:pt x="47434" y="18543"/>
                      <a:pt x="43434" y="14924"/>
                      <a:pt x="38005" y="13114"/>
                    </a:cubicBezTo>
                    <a:cubicBezTo>
                      <a:pt x="32195" y="11113"/>
                      <a:pt x="28670" y="11875"/>
                      <a:pt x="27527" y="15209"/>
                    </a:cubicBezTo>
                    <a:cubicBezTo>
                      <a:pt x="27051" y="16543"/>
                      <a:pt x="27146" y="17686"/>
                      <a:pt x="27622" y="18733"/>
                    </a:cubicBezTo>
                    <a:cubicBezTo>
                      <a:pt x="28099" y="19781"/>
                      <a:pt x="28956" y="20638"/>
                      <a:pt x="30004" y="21496"/>
                    </a:cubicBezTo>
                    <a:cubicBezTo>
                      <a:pt x="31052" y="22353"/>
                      <a:pt x="32766" y="23401"/>
                      <a:pt x="34862" y="24734"/>
                    </a:cubicBezTo>
                    <a:lnTo>
                      <a:pt x="37338" y="26258"/>
                    </a:lnTo>
                    <a:cubicBezTo>
                      <a:pt x="41243" y="28735"/>
                      <a:pt x="44291" y="31021"/>
                      <a:pt x="46673" y="33211"/>
                    </a:cubicBezTo>
                    <a:cubicBezTo>
                      <a:pt x="48959" y="35307"/>
                      <a:pt x="50673" y="37879"/>
                      <a:pt x="51625" y="40927"/>
                    </a:cubicBezTo>
                    <a:cubicBezTo>
                      <a:pt x="52578" y="43975"/>
                      <a:pt x="52388" y="47499"/>
                      <a:pt x="51054" y="51500"/>
                    </a:cubicBezTo>
                    <a:cubicBezTo>
                      <a:pt x="49816" y="55119"/>
                      <a:pt x="47816" y="57976"/>
                      <a:pt x="45148" y="59977"/>
                    </a:cubicBezTo>
                    <a:cubicBezTo>
                      <a:pt x="42386" y="61977"/>
                      <a:pt x="39052" y="63120"/>
                      <a:pt x="34957" y="63406"/>
                    </a:cubicBezTo>
                    <a:cubicBezTo>
                      <a:pt x="30861" y="63692"/>
                      <a:pt x="26479" y="62929"/>
                      <a:pt x="21527" y="61310"/>
                    </a:cubicBezTo>
                    <a:cubicBezTo>
                      <a:pt x="16573" y="59691"/>
                      <a:pt x="12382" y="57500"/>
                      <a:pt x="8954" y="54928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01" name="Freeform: Shape 234">
                <a:extLst>
                  <a:ext uri="{FF2B5EF4-FFF2-40B4-BE49-F238E27FC236}">
                    <a16:creationId xmlns:a16="http://schemas.microsoft.com/office/drawing/2014/main" id="{AFA4961A-907A-8268-E19C-ECDF98DCE866}"/>
                  </a:ext>
                </a:extLst>
              </p:cNvPr>
              <p:cNvSpPr/>
              <p:nvPr/>
            </p:nvSpPr>
            <p:spPr>
              <a:xfrm>
                <a:off x="6425088" y="3983259"/>
                <a:ext cx="67817" cy="76771"/>
              </a:xfrm>
              <a:custGeom>
                <a:avLst/>
                <a:gdLst>
                  <a:gd name="connsiteX0" fmla="*/ 667 w 67817"/>
                  <a:gd name="connsiteY0" fmla="*/ 52864 h 76771"/>
                  <a:gd name="connsiteX1" fmla="*/ 2667 w 67817"/>
                  <a:gd name="connsiteY1" fmla="*/ 35433 h 76771"/>
                  <a:gd name="connsiteX2" fmla="*/ 17240 w 67817"/>
                  <a:gd name="connsiteY2" fmla="*/ 0 h 76771"/>
                  <a:gd name="connsiteX3" fmla="*/ 31718 w 67817"/>
                  <a:gd name="connsiteY3" fmla="*/ 6001 h 76771"/>
                  <a:gd name="connsiteX4" fmla="*/ 18860 w 67817"/>
                  <a:gd name="connsiteY4" fmla="*/ 37243 h 76771"/>
                  <a:gd name="connsiteX5" fmla="*/ 16955 w 67817"/>
                  <a:gd name="connsiteY5" fmla="*/ 47815 h 76771"/>
                  <a:gd name="connsiteX6" fmla="*/ 22860 w 67817"/>
                  <a:gd name="connsiteY6" fmla="*/ 54197 h 76771"/>
                  <a:gd name="connsiteX7" fmla="*/ 29909 w 67817"/>
                  <a:gd name="connsiteY7" fmla="*/ 54959 h 76771"/>
                  <a:gd name="connsiteX8" fmla="*/ 36386 w 67817"/>
                  <a:gd name="connsiteY8" fmla="*/ 51625 h 76771"/>
                  <a:gd name="connsiteX9" fmla="*/ 41053 w 67817"/>
                  <a:gd name="connsiteY9" fmla="*/ 44768 h 76771"/>
                  <a:gd name="connsiteX10" fmla="*/ 53340 w 67817"/>
                  <a:gd name="connsiteY10" fmla="*/ 14859 h 76771"/>
                  <a:gd name="connsiteX11" fmla="*/ 67818 w 67817"/>
                  <a:gd name="connsiteY11" fmla="*/ 20860 h 76771"/>
                  <a:gd name="connsiteX12" fmla="*/ 49911 w 67817"/>
                  <a:gd name="connsiteY12" fmla="*/ 64103 h 76771"/>
                  <a:gd name="connsiteX13" fmla="*/ 47054 w 67817"/>
                  <a:gd name="connsiteY13" fmla="*/ 71438 h 76771"/>
                  <a:gd name="connsiteX14" fmla="*/ 45244 w 67817"/>
                  <a:gd name="connsiteY14" fmla="*/ 76771 h 76771"/>
                  <a:gd name="connsiteX15" fmla="*/ 31432 w 67817"/>
                  <a:gd name="connsiteY15" fmla="*/ 71056 h 76771"/>
                  <a:gd name="connsiteX16" fmla="*/ 32957 w 67817"/>
                  <a:gd name="connsiteY16" fmla="*/ 66199 h 76771"/>
                  <a:gd name="connsiteX17" fmla="*/ 34957 w 67817"/>
                  <a:gd name="connsiteY17" fmla="*/ 60674 h 76771"/>
                  <a:gd name="connsiteX18" fmla="*/ 34671 w 67817"/>
                  <a:gd name="connsiteY18" fmla="*/ 60674 h 76771"/>
                  <a:gd name="connsiteX19" fmla="*/ 23908 w 67817"/>
                  <a:gd name="connsiteY19" fmla="*/ 65913 h 76771"/>
                  <a:gd name="connsiteX20" fmla="*/ 12192 w 67817"/>
                  <a:gd name="connsiteY20" fmla="*/ 64198 h 76771"/>
                  <a:gd name="connsiteX21" fmla="*/ 667 w 67817"/>
                  <a:gd name="connsiteY21" fmla="*/ 52673 h 767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67817" h="76771">
                    <a:moveTo>
                      <a:pt x="667" y="52864"/>
                    </a:moveTo>
                    <a:cubicBezTo>
                      <a:pt x="-667" y="47815"/>
                      <a:pt x="0" y="42005"/>
                      <a:pt x="2667" y="35433"/>
                    </a:cubicBezTo>
                    <a:lnTo>
                      <a:pt x="17240" y="0"/>
                    </a:lnTo>
                    <a:lnTo>
                      <a:pt x="31718" y="6001"/>
                    </a:lnTo>
                    <a:lnTo>
                      <a:pt x="18860" y="37243"/>
                    </a:lnTo>
                    <a:cubicBezTo>
                      <a:pt x="17145" y="41434"/>
                      <a:pt x="16479" y="44958"/>
                      <a:pt x="16955" y="47815"/>
                    </a:cubicBezTo>
                    <a:cubicBezTo>
                      <a:pt x="17431" y="50673"/>
                      <a:pt x="19336" y="52864"/>
                      <a:pt x="22860" y="54197"/>
                    </a:cubicBezTo>
                    <a:cubicBezTo>
                      <a:pt x="25146" y="55150"/>
                      <a:pt x="27527" y="55436"/>
                      <a:pt x="29909" y="54959"/>
                    </a:cubicBezTo>
                    <a:cubicBezTo>
                      <a:pt x="32290" y="54483"/>
                      <a:pt x="34385" y="53435"/>
                      <a:pt x="36386" y="51625"/>
                    </a:cubicBezTo>
                    <a:cubicBezTo>
                      <a:pt x="38386" y="49911"/>
                      <a:pt x="39910" y="47625"/>
                      <a:pt x="41053" y="44768"/>
                    </a:cubicBezTo>
                    <a:lnTo>
                      <a:pt x="53340" y="14859"/>
                    </a:lnTo>
                    <a:lnTo>
                      <a:pt x="67818" y="20860"/>
                    </a:lnTo>
                    <a:lnTo>
                      <a:pt x="49911" y="64103"/>
                    </a:lnTo>
                    <a:cubicBezTo>
                      <a:pt x="48959" y="66485"/>
                      <a:pt x="48006" y="68866"/>
                      <a:pt x="47054" y="71438"/>
                    </a:cubicBezTo>
                    <a:cubicBezTo>
                      <a:pt x="46101" y="74009"/>
                      <a:pt x="45434" y="75819"/>
                      <a:pt x="45244" y="76771"/>
                    </a:cubicBezTo>
                    <a:lnTo>
                      <a:pt x="31432" y="71056"/>
                    </a:lnTo>
                    <a:cubicBezTo>
                      <a:pt x="31718" y="70199"/>
                      <a:pt x="32195" y="68580"/>
                      <a:pt x="32957" y="66199"/>
                    </a:cubicBezTo>
                    <a:cubicBezTo>
                      <a:pt x="33719" y="63818"/>
                      <a:pt x="34385" y="62008"/>
                      <a:pt x="34957" y="60674"/>
                    </a:cubicBezTo>
                    <a:lnTo>
                      <a:pt x="34671" y="60674"/>
                    </a:lnTo>
                    <a:cubicBezTo>
                      <a:pt x="31242" y="63627"/>
                      <a:pt x="27623" y="65437"/>
                      <a:pt x="23908" y="65913"/>
                    </a:cubicBezTo>
                    <a:cubicBezTo>
                      <a:pt x="20193" y="66485"/>
                      <a:pt x="16288" y="65913"/>
                      <a:pt x="12192" y="64198"/>
                    </a:cubicBezTo>
                    <a:cubicBezTo>
                      <a:pt x="5810" y="61531"/>
                      <a:pt x="2000" y="57721"/>
                      <a:pt x="667" y="52673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02" name="Freeform: Shape 235">
                <a:extLst>
                  <a:ext uri="{FF2B5EF4-FFF2-40B4-BE49-F238E27FC236}">
                    <a16:creationId xmlns:a16="http://schemas.microsoft.com/office/drawing/2014/main" id="{76FF7CA1-4B23-F6CD-2093-E3C6653385A9}"/>
                  </a:ext>
                </a:extLst>
              </p:cNvPr>
              <p:cNvSpPr/>
              <p:nvPr/>
            </p:nvSpPr>
            <p:spPr>
              <a:xfrm>
                <a:off x="6481857" y="4016538"/>
                <a:ext cx="64103" cy="63654"/>
              </a:xfrm>
              <a:custGeom>
                <a:avLst/>
                <a:gdLst>
                  <a:gd name="connsiteX0" fmla="*/ 7525 w 64103"/>
                  <a:gd name="connsiteY0" fmla="*/ 51684 h 63654"/>
                  <a:gd name="connsiteX1" fmla="*/ 0 w 64103"/>
                  <a:gd name="connsiteY1" fmla="*/ 40636 h 63654"/>
                  <a:gd name="connsiteX2" fmla="*/ 11144 w 64103"/>
                  <a:gd name="connsiteY2" fmla="*/ 34158 h 63654"/>
                  <a:gd name="connsiteX3" fmla="*/ 16954 w 64103"/>
                  <a:gd name="connsiteY3" fmla="*/ 43493 h 63654"/>
                  <a:gd name="connsiteX4" fmla="*/ 24384 w 64103"/>
                  <a:gd name="connsiteY4" fmla="*/ 49303 h 63654"/>
                  <a:gd name="connsiteX5" fmla="*/ 31909 w 64103"/>
                  <a:gd name="connsiteY5" fmla="*/ 51589 h 63654"/>
                  <a:gd name="connsiteX6" fmla="*/ 36386 w 64103"/>
                  <a:gd name="connsiteY6" fmla="*/ 48827 h 63654"/>
                  <a:gd name="connsiteX7" fmla="*/ 36766 w 64103"/>
                  <a:gd name="connsiteY7" fmla="*/ 44827 h 63654"/>
                  <a:gd name="connsiteX8" fmla="*/ 34385 w 64103"/>
                  <a:gd name="connsiteY8" fmla="*/ 41207 h 63654"/>
                  <a:gd name="connsiteX9" fmla="*/ 29432 w 64103"/>
                  <a:gd name="connsiteY9" fmla="*/ 36825 h 63654"/>
                  <a:gd name="connsiteX10" fmla="*/ 27146 w 64103"/>
                  <a:gd name="connsiteY10" fmla="*/ 34825 h 63654"/>
                  <a:gd name="connsiteX11" fmla="*/ 19621 w 64103"/>
                  <a:gd name="connsiteY11" fmla="*/ 27205 h 63654"/>
                  <a:gd name="connsiteX12" fmla="*/ 16193 w 64103"/>
                  <a:gd name="connsiteY12" fmla="*/ 19299 h 63654"/>
                  <a:gd name="connsiteX13" fmla="*/ 18097 w 64103"/>
                  <a:gd name="connsiteY13" fmla="*/ 9679 h 63654"/>
                  <a:gd name="connsiteX14" fmla="*/ 24860 w 64103"/>
                  <a:gd name="connsiteY14" fmla="*/ 2154 h 63654"/>
                  <a:gd name="connsiteX15" fmla="*/ 34861 w 64103"/>
                  <a:gd name="connsiteY15" fmla="*/ 59 h 63654"/>
                  <a:gd name="connsiteX16" fmla="*/ 47339 w 64103"/>
                  <a:gd name="connsiteY16" fmla="*/ 3774 h 63654"/>
                  <a:gd name="connsiteX17" fmla="*/ 58007 w 64103"/>
                  <a:gd name="connsiteY17" fmla="*/ 11489 h 63654"/>
                  <a:gd name="connsiteX18" fmla="*/ 64103 w 64103"/>
                  <a:gd name="connsiteY18" fmla="*/ 21776 h 63654"/>
                  <a:gd name="connsiteX19" fmla="*/ 52768 w 64103"/>
                  <a:gd name="connsiteY19" fmla="*/ 26538 h 63654"/>
                  <a:gd name="connsiteX20" fmla="*/ 42196 w 64103"/>
                  <a:gd name="connsiteY20" fmla="*/ 14251 h 63654"/>
                  <a:gd name="connsiteX21" fmla="*/ 31528 w 64103"/>
                  <a:gd name="connsiteY21" fmla="*/ 14918 h 63654"/>
                  <a:gd name="connsiteX22" fmla="*/ 31147 w 64103"/>
                  <a:gd name="connsiteY22" fmla="*/ 18347 h 63654"/>
                  <a:gd name="connsiteX23" fmla="*/ 33147 w 64103"/>
                  <a:gd name="connsiteY23" fmla="*/ 21395 h 63654"/>
                  <a:gd name="connsiteX24" fmla="*/ 37529 w 64103"/>
                  <a:gd name="connsiteY24" fmla="*/ 25205 h 63654"/>
                  <a:gd name="connsiteX25" fmla="*/ 39814 w 64103"/>
                  <a:gd name="connsiteY25" fmla="*/ 27110 h 63654"/>
                  <a:gd name="connsiteX26" fmla="*/ 48101 w 64103"/>
                  <a:gd name="connsiteY26" fmla="*/ 35206 h 63654"/>
                  <a:gd name="connsiteX27" fmla="*/ 51911 w 64103"/>
                  <a:gd name="connsiteY27" fmla="*/ 43588 h 63654"/>
                  <a:gd name="connsiteX28" fmla="*/ 49911 w 64103"/>
                  <a:gd name="connsiteY28" fmla="*/ 53970 h 63654"/>
                  <a:gd name="connsiteX29" fmla="*/ 42863 w 64103"/>
                  <a:gd name="connsiteY29" fmla="*/ 61590 h 63654"/>
                  <a:gd name="connsiteX30" fmla="*/ 32290 w 64103"/>
                  <a:gd name="connsiteY30" fmla="*/ 63591 h 63654"/>
                  <a:gd name="connsiteX31" fmla="*/ 19241 w 64103"/>
                  <a:gd name="connsiteY31" fmla="*/ 59686 h 63654"/>
                  <a:gd name="connsiteX32" fmla="*/ 7715 w 64103"/>
                  <a:gd name="connsiteY32" fmla="*/ 51684 h 636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64103" h="63654">
                    <a:moveTo>
                      <a:pt x="7525" y="51684"/>
                    </a:moveTo>
                    <a:cubicBezTo>
                      <a:pt x="4476" y="48637"/>
                      <a:pt x="2000" y="44922"/>
                      <a:pt x="0" y="40636"/>
                    </a:cubicBezTo>
                    <a:lnTo>
                      <a:pt x="11144" y="34158"/>
                    </a:lnTo>
                    <a:cubicBezTo>
                      <a:pt x="13049" y="37969"/>
                      <a:pt x="14954" y="41016"/>
                      <a:pt x="16954" y="43493"/>
                    </a:cubicBezTo>
                    <a:cubicBezTo>
                      <a:pt x="18955" y="45970"/>
                      <a:pt x="21431" y="47874"/>
                      <a:pt x="24384" y="49303"/>
                    </a:cubicBezTo>
                    <a:cubicBezTo>
                      <a:pt x="27337" y="50732"/>
                      <a:pt x="29813" y="51494"/>
                      <a:pt x="31909" y="51589"/>
                    </a:cubicBezTo>
                    <a:cubicBezTo>
                      <a:pt x="34004" y="51684"/>
                      <a:pt x="35433" y="50732"/>
                      <a:pt x="36386" y="48827"/>
                    </a:cubicBezTo>
                    <a:cubicBezTo>
                      <a:pt x="37052" y="47398"/>
                      <a:pt x="37242" y="46065"/>
                      <a:pt x="36766" y="44827"/>
                    </a:cubicBezTo>
                    <a:cubicBezTo>
                      <a:pt x="36290" y="43588"/>
                      <a:pt x="35528" y="42350"/>
                      <a:pt x="34385" y="41207"/>
                    </a:cubicBezTo>
                    <a:cubicBezTo>
                      <a:pt x="33242" y="40064"/>
                      <a:pt x="31623" y="38635"/>
                      <a:pt x="29432" y="36825"/>
                    </a:cubicBezTo>
                    <a:lnTo>
                      <a:pt x="27146" y="34825"/>
                    </a:lnTo>
                    <a:cubicBezTo>
                      <a:pt x="24003" y="32063"/>
                      <a:pt x="21431" y="29587"/>
                      <a:pt x="19621" y="27205"/>
                    </a:cubicBezTo>
                    <a:cubicBezTo>
                      <a:pt x="17812" y="24824"/>
                      <a:pt x="16669" y="22252"/>
                      <a:pt x="16193" y="19299"/>
                    </a:cubicBezTo>
                    <a:cubicBezTo>
                      <a:pt x="15716" y="16347"/>
                      <a:pt x="16383" y="13203"/>
                      <a:pt x="18097" y="9679"/>
                    </a:cubicBezTo>
                    <a:cubicBezTo>
                      <a:pt x="19812" y="6250"/>
                      <a:pt x="22098" y="3774"/>
                      <a:pt x="24860" y="2154"/>
                    </a:cubicBezTo>
                    <a:cubicBezTo>
                      <a:pt x="27717" y="535"/>
                      <a:pt x="31052" y="-227"/>
                      <a:pt x="34861" y="59"/>
                    </a:cubicBezTo>
                    <a:cubicBezTo>
                      <a:pt x="38671" y="345"/>
                      <a:pt x="42863" y="1583"/>
                      <a:pt x="47339" y="3774"/>
                    </a:cubicBezTo>
                    <a:cubicBezTo>
                      <a:pt x="51625" y="5869"/>
                      <a:pt x="55150" y="8441"/>
                      <a:pt x="58007" y="11489"/>
                    </a:cubicBezTo>
                    <a:cubicBezTo>
                      <a:pt x="60865" y="14537"/>
                      <a:pt x="62960" y="17966"/>
                      <a:pt x="64103" y="21776"/>
                    </a:cubicBezTo>
                    <a:lnTo>
                      <a:pt x="52768" y="26538"/>
                    </a:lnTo>
                    <a:cubicBezTo>
                      <a:pt x="50768" y="20919"/>
                      <a:pt x="47244" y="16823"/>
                      <a:pt x="42196" y="14251"/>
                    </a:cubicBezTo>
                    <a:cubicBezTo>
                      <a:pt x="36671" y="11489"/>
                      <a:pt x="33051" y="11775"/>
                      <a:pt x="31528" y="14918"/>
                    </a:cubicBezTo>
                    <a:cubicBezTo>
                      <a:pt x="30956" y="16156"/>
                      <a:pt x="30766" y="17299"/>
                      <a:pt x="31147" y="18347"/>
                    </a:cubicBezTo>
                    <a:cubicBezTo>
                      <a:pt x="31528" y="19395"/>
                      <a:pt x="32195" y="20442"/>
                      <a:pt x="33147" y="21395"/>
                    </a:cubicBezTo>
                    <a:cubicBezTo>
                      <a:pt x="34100" y="22347"/>
                      <a:pt x="35623" y="23681"/>
                      <a:pt x="37529" y="25205"/>
                    </a:cubicBezTo>
                    <a:lnTo>
                      <a:pt x="39814" y="27110"/>
                    </a:lnTo>
                    <a:cubicBezTo>
                      <a:pt x="43339" y="30063"/>
                      <a:pt x="46101" y="32825"/>
                      <a:pt x="48101" y="35206"/>
                    </a:cubicBezTo>
                    <a:cubicBezTo>
                      <a:pt x="50102" y="37587"/>
                      <a:pt x="51435" y="40445"/>
                      <a:pt x="51911" y="43588"/>
                    </a:cubicBezTo>
                    <a:cubicBezTo>
                      <a:pt x="52483" y="46731"/>
                      <a:pt x="51816" y="50161"/>
                      <a:pt x="49911" y="53970"/>
                    </a:cubicBezTo>
                    <a:cubicBezTo>
                      <a:pt x="48196" y="57399"/>
                      <a:pt x="45911" y="59971"/>
                      <a:pt x="42863" y="61590"/>
                    </a:cubicBezTo>
                    <a:cubicBezTo>
                      <a:pt x="39910" y="63210"/>
                      <a:pt x="36386" y="63877"/>
                      <a:pt x="32290" y="63591"/>
                    </a:cubicBezTo>
                    <a:cubicBezTo>
                      <a:pt x="28289" y="63305"/>
                      <a:pt x="23908" y="61971"/>
                      <a:pt x="19241" y="59686"/>
                    </a:cubicBezTo>
                    <a:cubicBezTo>
                      <a:pt x="14573" y="57399"/>
                      <a:pt x="10763" y="54732"/>
                      <a:pt x="7715" y="51684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03" name="Freeform: Shape 236">
                <a:extLst>
                  <a:ext uri="{FF2B5EF4-FFF2-40B4-BE49-F238E27FC236}">
                    <a16:creationId xmlns:a16="http://schemas.microsoft.com/office/drawing/2014/main" id="{28BE1B1F-EBD0-5771-C068-6F808C04F737}"/>
                  </a:ext>
                </a:extLst>
              </p:cNvPr>
              <p:cNvSpPr/>
              <p:nvPr/>
            </p:nvSpPr>
            <p:spPr>
              <a:xfrm>
                <a:off x="6538329" y="4028122"/>
                <a:ext cx="48875" cy="76962"/>
              </a:xfrm>
              <a:custGeom>
                <a:avLst/>
                <a:gdLst>
                  <a:gd name="connsiteX0" fmla="*/ 393 w 48875"/>
                  <a:gd name="connsiteY0" fmla="*/ 63055 h 76962"/>
                  <a:gd name="connsiteX1" fmla="*/ 2869 w 48875"/>
                  <a:gd name="connsiteY1" fmla="*/ 50483 h 76962"/>
                  <a:gd name="connsiteX2" fmla="*/ 19157 w 48875"/>
                  <a:gd name="connsiteY2" fmla="*/ 21336 h 76962"/>
                  <a:gd name="connsiteX3" fmla="*/ 12490 w 48875"/>
                  <a:gd name="connsiteY3" fmla="*/ 17621 h 76962"/>
                  <a:gd name="connsiteX4" fmla="*/ 18204 w 48875"/>
                  <a:gd name="connsiteY4" fmla="*/ 7429 h 76962"/>
                  <a:gd name="connsiteX5" fmla="*/ 25539 w 48875"/>
                  <a:gd name="connsiteY5" fmla="*/ 11525 h 76962"/>
                  <a:gd name="connsiteX6" fmla="*/ 32873 w 48875"/>
                  <a:gd name="connsiteY6" fmla="*/ 0 h 76962"/>
                  <a:gd name="connsiteX7" fmla="*/ 45636 w 48875"/>
                  <a:gd name="connsiteY7" fmla="*/ 5810 h 76962"/>
                  <a:gd name="connsiteX8" fmla="*/ 38397 w 48875"/>
                  <a:gd name="connsiteY8" fmla="*/ 18669 h 76962"/>
                  <a:gd name="connsiteX9" fmla="*/ 48875 w 48875"/>
                  <a:gd name="connsiteY9" fmla="*/ 24575 h 76962"/>
                  <a:gd name="connsiteX10" fmla="*/ 43160 w 48875"/>
                  <a:gd name="connsiteY10" fmla="*/ 34766 h 76962"/>
                  <a:gd name="connsiteX11" fmla="*/ 32683 w 48875"/>
                  <a:gd name="connsiteY11" fmla="*/ 28861 h 76962"/>
                  <a:gd name="connsiteX12" fmla="*/ 18395 w 48875"/>
                  <a:gd name="connsiteY12" fmla="*/ 54293 h 76962"/>
                  <a:gd name="connsiteX13" fmla="*/ 16776 w 48875"/>
                  <a:gd name="connsiteY13" fmla="*/ 60008 h 76962"/>
                  <a:gd name="connsiteX14" fmla="*/ 19824 w 48875"/>
                  <a:gd name="connsiteY14" fmla="*/ 63818 h 76962"/>
                  <a:gd name="connsiteX15" fmla="*/ 25158 w 48875"/>
                  <a:gd name="connsiteY15" fmla="*/ 66008 h 76962"/>
                  <a:gd name="connsiteX16" fmla="*/ 20396 w 48875"/>
                  <a:gd name="connsiteY16" fmla="*/ 76962 h 76962"/>
                  <a:gd name="connsiteX17" fmla="*/ 8394 w 48875"/>
                  <a:gd name="connsiteY17" fmla="*/ 72295 h 76962"/>
                  <a:gd name="connsiteX18" fmla="*/ 393 w 48875"/>
                  <a:gd name="connsiteY18" fmla="*/ 63055 h 769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48875" h="76962">
                    <a:moveTo>
                      <a:pt x="393" y="63055"/>
                    </a:moveTo>
                    <a:cubicBezTo>
                      <a:pt x="-560" y="59341"/>
                      <a:pt x="203" y="55150"/>
                      <a:pt x="2869" y="50483"/>
                    </a:cubicBezTo>
                    <a:lnTo>
                      <a:pt x="19157" y="21336"/>
                    </a:lnTo>
                    <a:lnTo>
                      <a:pt x="12490" y="17621"/>
                    </a:lnTo>
                    <a:lnTo>
                      <a:pt x="18204" y="7429"/>
                    </a:lnTo>
                    <a:lnTo>
                      <a:pt x="25539" y="11525"/>
                    </a:lnTo>
                    <a:lnTo>
                      <a:pt x="32873" y="0"/>
                    </a:lnTo>
                    <a:lnTo>
                      <a:pt x="45636" y="5810"/>
                    </a:lnTo>
                    <a:lnTo>
                      <a:pt x="38397" y="18669"/>
                    </a:lnTo>
                    <a:lnTo>
                      <a:pt x="48875" y="24575"/>
                    </a:lnTo>
                    <a:lnTo>
                      <a:pt x="43160" y="34766"/>
                    </a:lnTo>
                    <a:lnTo>
                      <a:pt x="32683" y="28861"/>
                    </a:lnTo>
                    <a:lnTo>
                      <a:pt x="18395" y="54293"/>
                    </a:lnTo>
                    <a:cubicBezTo>
                      <a:pt x="17157" y="56579"/>
                      <a:pt x="16585" y="58484"/>
                      <a:pt x="16776" y="60008"/>
                    </a:cubicBezTo>
                    <a:cubicBezTo>
                      <a:pt x="16966" y="61531"/>
                      <a:pt x="18014" y="62770"/>
                      <a:pt x="19824" y="63818"/>
                    </a:cubicBezTo>
                    <a:cubicBezTo>
                      <a:pt x="21252" y="64579"/>
                      <a:pt x="22967" y="65342"/>
                      <a:pt x="25158" y="66008"/>
                    </a:cubicBezTo>
                    <a:lnTo>
                      <a:pt x="20396" y="76962"/>
                    </a:lnTo>
                    <a:cubicBezTo>
                      <a:pt x="16109" y="75914"/>
                      <a:pt x="12109" y="74390"/>
                      <a:pt x="8394" y="72295"/>
                    </a:cubicBezTo>
                    <a:cubicBezTo>
                      <a:pt x="4012" y="69818"/>
                      <a:pt x="1346" y="66770"/>
                      <a:pt x="393" y="63055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04" name="Freeform: Shape 237">
                <a:extLst>
                  <a:ext uri="{FF2B5EF4-FFF2-40B4-BE49-F238E27FC236}">
                    <a16:creationId xmlns:a16="http://schemas.microsoft.com/office/drawing/2014/main" id="{30CF1BA9-3365-7DC8-BD04-1EF32EFE3A16}"/>
                  </a:ext>
                </a:extLst>
              </p:cNvPr>
              <p:cNvSpPr/>
              <p:nvPr/>
            </p:nvSpPr>
            <p:spPr>
              <a:xfrm>
                <a:off x="6567935" y="4064921"/>
                <a:ext cx="63821" cy="70928"/>
              </a:xfrm>
              <a:custGeom>
                <a:avLst/>
                <a:gdLst>
                  <a:gd name="connsiteX0" fmla="*/ 2220 w 63821"/>
                  <a:gd name="connsiteY0" fmla="*/ 46640 h 70928"/>
                  <a:gd name="connsiteX1" fmla="*/ 29 w 63821"/>
                  <a:gd name="connsiteY1" fmla="*/ 37877 h 70928"/>
                  <a:gd name="connsiteX2" fmla="*/ 3267 w 63821"/>
                  <a:gd name="connsiteY2" fmla="*/ 28352 h 70928"/>
                  <a:gd name="connsiteX3" fmla="*/ 16602 w 63821"/>
                  <a:gd name="connsiteY3" fmla="*/ 19494 h 70928"/>
                  <a:gd name="connsiteX4" fmla="*/ 33842 w 63821"/>
                  <a:gd name="connsiteY4" fmla="*/ 24828 h 70928"/>
                  <a:gd name="connsiteX5" fmla="*/ 44987 w 63821"/>
                  <a:gd name="connsiteY5" fmla="*/ 31590 h 70928"/>
                  <a:gd name="connsiteX6" fmla="*/ 46511 w 63821"/>
                  <a:gd name="connsiteY6" fmla="*/ 29114 h 70928"/>
                  <a:gd name="connsiteX7" fmla="*/ 48416 w 63821"/>
                  <a:gd name="connsiteY7" fmla="*/ 21208 h 70928"/>
                  <a:gd name="connsiteX8" fmla="*/ 43463 w 63821"/>
                  <a:gd name="connsiteY8" fmla="*/ 15398 h 70928"/>
                  <a:gd name="connsiteX9" fmla="*/ 25842 w 63821"/>
                  <a:gd name="connsiteY9" fmla="*/ 12826 h 70928"/>
                  <a:gd name="connsiteX10" fmla="*/ 24794 w 63821"/>
                  <a:gd name="connsiteY10" fmla="*/ 539 h 70928"/>
                  <a:gd name="connsiteX11" fmla="*/ 50702 w 63821"/>
                  <a:gd name="connsiteY11" fmla="*/ 5587 h 70928"/>
                  <a:gd name="connsiteX12" fmla="*/ 63084 w 63821"/>
                  <a:gd name="connsiteY12" fmla="*/ 20065 h 70928"/>
                  <a:gd name="connsiteX13" fmla="*/ 59941 w 63821"/>
                  <a:gd name="connsiteY13" fmla="*/ 37020 h 70928"/>
                  <a:gd name="connsiteX14" fmla="*/ 48130 w 63821"/>
                  <a:gd name="connsiteY14" fmla="*/ 55689 h 70928"/>
                  <a:gd name="connsiteX15" fmla="*/ 38986 w 63821"/>
                  <a:gd name="connsiteY15" fmla="*/ 70929 h 70928"/>
                  <a:gd name="connsiteX16" fmla="*/ 26413 w 63821"/>
                  <a:gd name="connsiteY16" fmla="*/ 62928 h 70928"/>
                  <a:gd name="connsiteX17" fmla="*/ 30604 w 63821"/>
                  <a:gd name="connsiteY17" fmla="*/ 55594 h 70928"/>
                  <a:gd name="connsiteX18" fmla="*/ 30318 w 63821"/>
                  <a:gd name="connsiteY18" fmla="*/ 55403 h 70928"/>
                  <a:gd name="connsiteX19" fmla="*/ 20031 w 63821"/>
                  <a:gd name="connsiteY19" fmla="*/ 57308 h 70928"/>
                  <a:gd name="connsiteX20" fmla="*/ 9363 w 63821"/>
                  <a:gd name="connsiteY20" fmla="*/ 53498 h 70928"/>
                  <a:gd name="connsiteX21" fmla="*/ 2220 w 63821"/>
                  <a:gd name="connsiteY21" fmla="*/ 46450 h 70928"/>
                  <a:gd name="connsiteX22" fmla="*/ 26698 w 63821"/>
                  <a:gd name="connsiteY22" fmla="*/ 48450 h 70928"/>
                  <a:gd name="connsiteX23" fmla="*/ 33271 w 63821"/>
                  <a:gd name="connsiteY23" fmla="*/ 46926 h 70928"/>
                  <a:gd name="connsiteX24" fmla="*/ 38033 w 63821"/>
                  <a:gd name="connsiteY24" fmla="*/ 42449 h 70928"/>
                  <a:gd name="connsiteX25" fmla="*/ 39653 w 63821"/>
                  <a:gd name="connsiteY25" fmla="*/ 39877 h 70928"/>
                  <a:gd name="connsiteX26" fmla="*/ 32795 w 63821"/>
                  <a:gd name="connsiteY26" fmla="*/ 35591 h 70928"/>
                  <a:gd name="connsiteX27" fmla="*/ 26698 w 63821"/>
                  <a:gd name="connsiteY27" fmla="*/ 32638 h 70928"/>
                  <a:gd name="connsiteX28" fmla="*/ 21936 w 63821"/>
                  <a:gd name="connsiteY28" fmla="*/ 32353 h 70928"/>
                  <a:gd name="connsiteX29" fmla="*/ 17745 w 63821"/>
                  <a:gd name="connsiteY29" fmla="*/ 35972 h 70928"/>
                  <a:gd name="connsiteX30" fmla="*/ 16412 w 63821"/>
                  <a:gd name="connsiteY30" fmla="*/ 41782 h 70928"/>
                  <a:gd name="connsiteX31" fmla="*/ 19841 w 63821"/>
                  <a:gd name="connsiteY31" fmla="*/ 46259 h 70928"/>
                  <a:gd name="connsiteX32" fmla="*/ 26604 w 63821"/>
                  <a:gd name="connsiteY32" fmla="*/ 48355 h 709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63821" h="70928">
                    <a:moveTo>
                      <a:pt x="2220" y="46640"/>
                    </a:moveTo>
                    <a:cubicBezTo>
                      <a:pt x="600" y="43973"/>
                      <a:pt x="-162" y="41020"/>
                      <a:pt x="29" y="37877"/>
                    </a:cubicBezTo>
                    <a:cubicBezTo>
                      <a:pt x="124" y="34734"/>
                      <a:pt x="1267" y="31590"/>
                      <a:pt x="3267" y="28352"/>
                    </a:cubicBezTo>
                    <a:cubicBezTo>
                      <a:pt x="6887" y="22732"/>
                      <a:pt x="11268" y="19780"/>
                      <a:pt x="16602" y="19494"/>
                    </a:cubicBezTo>
                    <a:cubicBezTo>
                      <a:pt x="21936" y="19208"/>
                      <a:pt x="27651" y="21018"/>
                      <a:pt x="33842" y="24828"/>
                    </a:cubicBezTo>
                    <a:lnTo>
                      <a:pt x="44987" y="31590"/>
                    </a:lnTo>
                    <a:lnTo>
                      <a:pt x="46511" y="29114"/>
                    </a:lnTo>
                    <a:cubicBezTo>
                      <a:pt x="48511" y="25971"/>
                      <a:pt x="49083" y="23399"/>
                      <a:pt x="48416" y="21208"/>
                    </a:cubicBezTo>
                    <a:cubicBezTo>
                      <a:pt x="47749" y="19018"/>
                      <a:pt x="46034" y="17113"/>
                      <a:pt x="43463" y="15398"/>
                    </a:cubicBezTo>
                    <a:cubicBezTo>
                      <a:pt x="38986" y="12540"/>
                      <a:pt x="33081" y="11683"/>
                      <a:pt x="25842" y="12826"/>
                    </a:cubicBezTo>
                    <a:lnTo>
                      <a:pt x="24794" y="539"/>
                    </a:lnTo>
                    <a:cubicBezTo>
                      <a:pt x="34319" y="-985"/>
                      <a:pt x="42986" y="730"/>
                      <a:pt x="50702" y="5587"/>
                    </a:cubicBezTo>
                    <a:cubicBezTo>
                      <a:pt x="57369" y="9778"/>
                      <a:pt x="61465" y="14636"/>
                      <a:pt x="63084" y="20065"/>
                    </a:cubicBezTo>
                    <a:cubicBezTo>
                      <a:pt x="64704" y="25495"/>
                      <a:pt x="63656" y="31210"/>
                      <a:pt x="59941" y="37020"/>
                    </a:cubicBezTo>
                    <a:lnTo>
                      <a:pt x="48130" y="55689"/>
                    </a:lnTo>
                    <a:cubicBezTo>
                      <a:pt x="44606" y="61309"/>
                      <a:pt x="41557" y="66357"/>
                      <a:pt x="38986" y="70929"/>
                    </a:cubicBezTo>
                    <a:lnTo>
                      <a:pt x="26413" y="62928"/>
                    </a:lnTo>
                    <a:cubicBezTo>
                      <a:pt x="27651" y="60547"/>
                      <a:pt x="28985" y="58070"/>
                      <a:pt x="30604" y="55594"/>
                    </a:cubicBezTo>
                    <a:lnTo>
                      <a:pt x="30318" y="55403"/>
                    </a:lnTo>
                    <a:cubicBezTo>
                      <a:pt x="26984" y="56927"/>
                      <a:pt x="23556" y="57594"/>
                      <a:pt x="20031" y="57308"/>
                    </a:cubicBezTo>
                    <a:cubicBezTo>
                      <a:pt x="16507" y="57022"/>
                      <a:pt x="12888" y="55689"/>
                      <a:pt x="9363" y="53498"/>
                    </a:cubicBezTo>
                    <a:cubicBezTo>
                      <a:pt x="6220" y="51498"/>
                      <a:pt x="3839" y="49117"/>
                      <a:pt x="2220" y="46450"/>
                    </a:cubicBezTo>
                    <a:close/>
                    <a:moveTo>
                      <a:pt x="26698" y="48450"/>
                    </a:moveTo>
                    <a:cubicBezTo>
                      <a:pt x="29080" y="48450"/>
                      <a:pt x="31271" y="47973"/>
                      <a:pt x="33271" y="46926"/>
                    </a:cubicBezTo>
                    <a:cubicBezTo>
                      <a:pt x="35271" y="45878"/>
                      <a:pt x="36890" y="44354"/>
                      <a:pt x="38033" y="42449"/>
                    </a:cubicBezTo>
                    <a:lnTo>
                      <a:pt x="39653" y="39877"/>
                    </a:lnTo>
                    <a:lnTo>
                      <a:pt x="32795" y="35591"/>
                    </a:lnTo>
                    <a:cubicBezTo>
                      <a:pt x="30413" y="34257"/>
                      <a:pt x="28318" y="33305"/>
                      <a:pt x="26698" y="32638"/>
                    </a:cubicBezTo>
                    <a:cubicBezTo>
                      <a:pt x="25079" y="31972"/>
                      <a:pt x="23460" y="31972"/>
                      <a:pt x="21936" y="32353"/>
                    </a:cubicBezTo>
                    <a:cubicBezTo>
                      <a:pt x="20412" y="32734"/>
                      <a:pt x="18983" y="33972"/>
                      <a:pt x="17745" y="35972"/>
                    </a:cubicBezTo>
                    <a:cubicBezTo>
                      <a:pt x="16412" y="38068"/>
                      <a:pt x="16031" y="39973"/>
                      <a:pt x="16412" y="41782"/>
                    </a:cubicBezTo>
                    <a:cubicBezTo>
                      <a:pt x="16793" y="43592"/>
                      <a:pt x="18031" y="45021"/>
                      <a:pt x="19841" y="46259"/>
                    </a:cubicBezTo>
                    <a:cubicBezTo>
                      <a:pt x="22031" y="47593"/>
                      <a:pt x="24317" y="48355"/>
                      <a:pt x="26604" y="48355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05" name="Freeform: Shape 238">
                <a:extLst>
                  <a:ext uri="{FF2B5EF4-FFF2-40B4-BE49-F238E27FC236}">
                    <a16:creationId xmlns:a16="http://schemas.microsoft.com/office/drawing/2014/main" id="{8B3980E1-6F2C-EFC5-504C-1D08E50FF545}"/>
                  </a:ext>
                </a:extLst>
              </p:cNvPr>
              <p:cNvSpPr/>
              <p:nvPr/>
            </p:nvSpPr>
            <p:spPr>
              <a:xfrm>
                <a:off x="6618065" y="4076776"/>
                <a:ext cx="60207" cy="76504"/>
              </a:xfrm>
              <a:custGeom>
                <a:avLst/>
                <a:gdLst>
                  <a:gd name="connsiteX0" fmla="*/ 34957 w 60207"/>
                  <a:gd name="connsiteY0" fmla="*/ 18211 h 76504"/>
                  <a:gd name="connsiteX1" fmla="*/ 47720 w 60207"/>
                  <a:gd name="connsiteY1" fmla="*/ 27260 h 76504"/>
                  <a:gd name="connsiteX2" fmla="*/ 12764 w 60207"/>
                  <a:gd name="connsiteY2" fmla="*/ 76504 h 76504"/>
                  <a:gd name="connsiteX3" fmla="*/ 0 w 60207"/>
                  <a:gd name="connsiteY3" fmla="*/ 67455 h 76504"/>
                  <a:gd name="connsiteX4" fmla="*/ 34957 w 60207"/>
                  <a:gd name="connsiteY4" fmla="*/ 18211 h 76504"/>
                  <a:gd name="connsiteX5" fmla="*/ 42196 w 60207"/>
                  <a:gd name="connsiteY5" fmla="*/ 10591 h 76504"/>
                  <a:gd name="connsiteX6" fmla="*/ 44005 w 60207"/>
                  <a:gd name="connsiteY6" fmla="*/ 4019 h 76504"/>
                  <a:gd name="connsiteX7" fmla="*/ 49625 w 60207"/>
                  <a:gd name="connsiteY7" fmla="*/ 113 h 76504"/>
                  <a:gd name="connsiteX8" fmla="*/ 56292 w 60207"/>
                  <a:gd name="connsiteY8" fmla="*/ 1923 h 76504"/>
                  <a:gd name="connsiteX9" fmla="*/ 60103 w 60207"/>
                  <a:gd name="connsiteY9" fmla="*/ 7543 h 76504"/>
                  <a:gd name="connsiteX10" fmla="*/ 58293 w 60207"/>
                  <a:gd name="connsiteY10" fmla="*/ 14115 h 76504"/>
                  <a:gd name="connsiteX11" fmla="*/ 52674 w 60207"/>
                  <a:gd name="connsiteY11" fmla="*/ 17925 h 76504"/>
                  <a:gd name="connsiteX12" fmla="*/ 46196 w 60207"/>
                  <a:gd name="connsiteY12" fmla="*/ 16211 h 76504"/>
                  <a:gd name="connsiteX13" fmla="*/ 42291 w 60207"/>
                  <a:gd name="connsiteY13" fmla="*/ 10496 h 765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0207" h="76504">
                    <a:moveTo>
                      <a:pt x="34957" y="18211"/>
                    </a:moveTo>
                    <a:lnTo>
                      <a:pt x="47720" y="27260"/>
                    </a:lnTo>
                    <a:lnTo>
                      <a:pt x="12764" y="76504"/>
                    </a:lnTo>
                    <a:lnTo>
                      <a:pt x="0" y="67455"/>
                    </a:lnTo>
                    <a:lnTo>
                      <a:pt x="34957" y="18211"/>
                    </a:lnTo>
                    <a:close/>
                    <a:moveTo>
                      <a:pt x="42196" y="10591"/>
                    </a:moveTo>
                    <a:cubicBezTo>
                      <a:pt x="41815" y="8400"/>
                      <a:pt x="42482" y="6210"/>
                      <a:pt x="44005" y="4019"/>
                    </a:cubicBezTo>
                    <a:cubicBezTo>
                      <a:pt x="45625" y="1828"/>
                      <a:pt x="47434" y="495"/>
                      <a:pt x="49625" y="113"/>
                    </a:cubicBezTo>
                    <a:cubicBezTo>
                      <a:pt x="51816" y="-267"/>
                      <a:pt x="54007" y="304"/>
                      <a:pt x="56292" y="1923"/>
                    </a:cubicBezTo>
                    <a:cubicBezTo>
                      <a:pt x="58484" y="3447"/>
                      <a:pt x="59722" y="5352"/>
                      <a:pt x="60103" y="7543"/>
                    </a:cubicBezTo>
                    <a:cubicBezTo>
                      <a:pt x="60484" y="9734"/>
                      <a:pt x="59817" y="11925"/>
                      <a:pt x="58293" y="14115"/>
                    </a:cubicBezTo>
                    <a:cubicBezTo>
                      <a:pt x="56769" y="16306"/>
                      <a:pt x="54864" y="17544"/>
                      <a:pt x="52674" y="17925"/>
                    </a:cubicBezTo>
                    <a:cubicBezTo>
                      <a:pt x="50482" y="18306"/>
                      <a:pt x="48292" y="17735"/>
                      <a:pt x="46196" y="16211"/>
                    </a:cubicBezTo>
                    <a:cubicBezTo>
                      <a:pt x="43910" y="14592"/>
                      <a:pt x="42672" y="12687"/>
                      <a:pt x="42291" y="10496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06" name="Freeform: Shape 239">
                <a:extLst>
                  <a:ext uri="{FF2B5EF4-FFF2-40B4-BE49-F238E27FC236}">
                    <a16:creationId xmlns:a16="http://schemas.microsoft.com/office/drawing/2014/main" id="{BF04FD1C-40E0-2EAD-0728-0399AD00E4E8}"/>
                  </a:ext>
                </a:extLst>
              </p:cNvPr>
              <p:cNvSpPr/>
              <p:nvPr/>
            </p:nvSpPr>
            <p:spPr>
              <a:xfrm>
                <a:off x="6643211" y="4114323"/>
                <a:ext cx="73535" cy="81629"/>
              </a:xfrm>
              <a:custGeom>
                <a:avLst/>
                <a:gdLst>
                  <a:gd name="connsiteX0" fmla="*/ 29051 w 73535"/>
                  <a:gd name="connsiteY0" fmla="*/ 10763 h 81629"/>
                  <a:gd name="connsiteX1" fmla="*/ 33909 w 73535"/>
                  <a:gd name="connsiteY1" fmla="*/ 4477 h 81629"/>
                  <a:gd name="connsiteX2" fmla="*/ 37147 w 73535"/>
                  <a:gd name="connsiteY2" fmla="*/ 0 h 81629"/>
                  <a:gd name="connsiteX3" fmla="*/ 48863 w 73535"/>
                  <a:gd name="connsiteY3" fmla="*/ 9334 h 81629"/>
                  <a:gd name="connsiteX4" fmla="*/ 46196 w 73535"/>
                  <a:gd name="connsiteY4" fmla="*/ 13525 h 81629"/>
                  <a:gd name="connsiteX5" fmla="*/ 42767 w 73535"/>
                  <a:gd name="connsiteY5" fmla="*/ 18288 h 81629"/>
                  <a:gd name="connsiteX6" fmla="*/ 42958 w 73535"/>
                  <a:gd name="connsiteY6" fmla="*/ 18288 h 81629"/>
                  <a:gd name="connsiteX7" fmla="*/ 54864 w 73535"/>
                  <a:gd name="connsiteY7" fmla="*/ 16192 h 81629"/>
                  <a:gd name="connsiteX8" fmla="*/ 65627 w 73535"/>
                  <a:gd name="connsiteY8" fmla="*/ 20955 h 81629"/>
                  <a:gd name="connsiteX9" fmla="*/ 73533 w 73535"/>
                  <a:gd name="connsiteY9" fmla="*/ 35338 h 81629"/>
                  <a:gd name="connsiteX10" fmla="*/ 66675 w 73535"/>
                  <a:gd name="connsiteY10" fmla="*/ 51625 h 81629"/>
                  <a:gd name="connsiteX11" fmla="*/ 42863 w 73535"/>
                  <a:gd name="connsiteY11" fmla="*/ 81629 h 81629"/>
                  <a:gd name="connsiteX12" fmla="*/ 30575 w 73535"/>
                  <a:gd name="connsiteY12" fmla="*/ 71914 h 81629"/>
                  <a:gd name="connsiteX13" fmla="*/ 51625 w 73535"/>
                  <a:gd name="connsiteY13" fmla="*/ 45434 h 81629"/>
                  <a:gd name="connsiteX14" fmla="*/ 56388 w 73535"/>
                  <a:gd name="connsiteY14" fmla="*/ 35719 h 81629"/>
                  <a:gd name="connsiteX15" fmla="*/ 52578 w 73535"/>
                  <a:gd name="connsiteY15" fmla="*/ 27908 h 81629"/>
                  <a:gd name="connsiteX16" fmla="*/ 46006 w 73535"/>
                  <a:gd name="connsiteY16" fmla="*/ 25241 h 81629"/>
                  <a:gd name="connsiteX17" fmla="*/ 38862 w 73535"/>
                  <a:gd name="connsiteY17" fmla="*/ 26670 h 81629"/>
                  <a:gd name="connsiteX18" fmla="*/ 32385 w 73535"/>
                  <a:gd name="connsiteY18" fmla="*/ 32004 h 81629"/>
                  <a:gd name="connsiteX19" fmla="*/ 12287 w 73535"/>
                  <a:gd name="connsiteY19" fmla="*/ 57340 h 81629"/>
                  <a:gd name="connsiteX20" fmla="*/ 0 w 73535"/>
                  <a:gd name="connsiteY20" fmla="*/ 47625 h 81629"/>
                  <a:gd name="connsiteX21" fmla="*/ 29146 w 73535"/>
                  <a:gd name="connsiteY21" fmla="*/ 10954 h 816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73535" h="81629">
                    <a:moveTo>
                      <a:pt x="29051" y="10763"/>
                    </a:moveTo>
                    <a:cubicBezTo>
                      <a:pt x="30670" y="8763"/>
                      <a:pt x="32290" y="6667"/>
                      <a:pt x="33909" y="4477"/>
                    </a:cubicBezTo>
                    <a:cubicBezTo>
                      <a:pt x="35528" y="2286"/>
                      <a:pt x="36576" y="762"/>
                      <a:pt x="37147" y="0"/>
                    </a:cubicBezTo>
                    <a:lnTo>
                      <a:pt x="48863" y="9334"/>
                    </a:lnTo>
                    <a:cubicBezTo>
                      <a:pt x="48482" y="10096"/>
                      <a:pt x="47530" y="11430"/>
                      <a:pt x="46196" y="13525"/>
                    </a:cubicBezTo>
                    <a:cubicBezTo>
                      <a:pt x="44768" y="15526"/>
                      <a:pt x="43625" y="17145"/>
                      <a:pt x="42767" y="18288"/>
                    </a:cubicBezTo>
                    <a:lnTo>
                      <a:pt x="42958" y="18288"/>
                    </a:lnTo>
                    <a:cubicBezTo>
                      <a:pt x="47149" y="16478"/>
                      <a:pt x="51149" y="15811"/>
                      <a:pt x="54864" y="16192"/>
                    </a:cubicBezTo>
                    <a:cubicBezTo>
                      <a:pt x="58578" y="16669"/>
                      <a:pt x="62198" y="18192"/>
                      <a:pt x="65627" y="20955"/>
                    </a:cubicBezTo>
                    <a:cubicBezTo>
                      <a:pt x="71056" y="25241"/>
                      <a:pt x="73628" y="30004"/>
                      <a:pt x="73533" y="35338"/>
                    </a:cubicBezTo>
                    <a:cubicBezTo>
                      <a:pt x="73437" y="40576"/>
                      <a:pt x="71151" y="46006"/>
                      <a:pt x="66675" y="51625"/>
                    </a:cubicBezTo>
                    <a:lnTo>
                      <a:pt x="42863" y="81629"/>
                    </a:lnTo>
                    <a:lnTo>
                      <a:pt x="30575" y="71914"/>
                    </a:lnTo>
                    <a:lnTo>
                      <a:pt x="51625" y="45434"/>
                    </a:lnTo>
                    <a:cubicBezTo>
                      <a:pt x="54483" y="41910"/>
                      <a:pt x="56007" y="38671"/>
                      <a:pt x="56388" y="35719"/>
                    </a:cubicBezTo>
                    <a:cubicBezTo>
                      <a:pt x="56769" y="32861"/>
                      <a:pt x="55436" y="30194"/>
                      <a:pt x="52578" y="27908"/>
                    </a:cubicBezTo>
                    <a:cubicBezTo>
                      <a:pt x="50578" y="26289"/>
                      <a:pt x="48387" y="25432"/>
                      <a:pt x="46006" y="25241"/>
                    </a:cubicBezTo>
                    <a:cubicBezTo>
                      <a:pt x="43625" y="25051"/>
                      <a:pt x="41243" y="25527"/>
                      <a:pt x="38862" y="26670"/>
                    </a:cubicBezTo>
                    <a:cubicBezTo>
                      <a:pt x="36481" y="27813"/>
                      <a:pt x="34290" y="29623"/>
                      <a:pt x="32385" y="32004"/>
                    </a:cubicBezTo>
                    <a:lnTo>
                      <a:pt x="12287" y="57340"/>
                    </a:lnTo>
                    <a:lnTo>
                      <a:pt x="0" y="47625"/>
                    </a:lnTo>
                    <a:lnTo>
                      <a:pt x="29146" y="10954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07" name="Freeform: Shape 240">
                <a:extLst>
                  <a:ext uri="{FF2B5EF4-FFF2-40B4-BE49-F238E27FC236}">
                    <a16:creationId xmlns:a16="http://schemas.microsoft.com/office/drawing/2014/main" id="{E76B9CA4-86D3-C926-4D56-ECFF6690E1D9}"/>
                  </a:ext>
                </a:extLst>
              </p:cNvPr>
              <p:cNvSpPr/>
              <p:nvPr/>
            </p:nvSpPr>
            <p:spPr>
              <a:xfrm>
                <a:off x="6699406" y="4165949"/>
                <a:ext cx="65563" cy="71913"/>
              </a:xfrm>
              <a:custGeom>
                <a:avLst/>
                <a:gdLst>
                  <a:gd name="connsiteX0" fmla="*/ 1050 w 65563"/>
                  <a:gd name="connsiteY0" fmla="*/ 41338 h 71913"/>
                  <a:gd name="connsiteX1" fmla="*/ 384 w 65563"/>
                  <a:gd name="connsiteY1" fmla="*/ 32290 h 71913"/>
                  <a:gd name="connsiteX2" fmla="*/ 5241 w 65563"/>
                  <a:gd name="connsiteY2" fmla="*/ 23527 h 71913"/>
                  <a:gd name="connsiteX3" fmla="*/ 19910 w 65563"/>
                  <a:gd name="connsiteY3" fmla="*/ 17145 h 71913"/>
                  <a:gd name="connsiteX4" fmla="*/ 35912 w 65563"/>
                  <a:gd name="connsiteY4" fmla="*/ 25432 h 71913"/>
                  <a:gd name="connsiteX5" fmla="*/ 45627 w 65563"/>
                  <a:gd name="connsiteY5" fmla="*/ 34100 h 71913"/>
                  <a:gd name="connsiteX6" fmla="*/ 47627 w 65563"/>
                  <a:gd name="connsiteY6" fmla="*/ 32004 h 71913"/>
                  <a:gd name="connsiteX7" fmla="*/ 50866 w 65563"/>
                  <a:gd name="connsiteY7" fmla="*/ 24479 h 71913"/>
                  <a:gd name="connsiteX8" fmla="*/ 46961 w 65563"/>
                  <a:gd name="connsiteY8" fmla="*/ 17907 h 71913"/>
                  <a:gd name="connsiteX9" fmla="*/ 30006 w 65563"/>
                  <a:gd name="connsiteY9" fmla="*/ 12287 h 71913"/>
                  <a:gd name="connsiteX10" fmla="*/ 31149 w 65563"/>
                  <a:gd name="connsiteY10" fmla="*/ 0 h 71913"/>
                  <a:gd name="connsiteX11" fmla="*/ 55724 w 65563"/>
                  <a:gd name="connsiteY11" fmla="*/ 9525 h 71913"/>
                  <a:gd name="connsiteX12" fmla="*/ 65439 w 65563"/>
                  <a:gd name="connsiteY12" fmla="*/ 26003 h 71913"/>
                  <a:gd name="connsiteX13" fmla="*/ 59343 w 65563"/>
                  <a:gd name="connsiteY13" fmla="*/ 42196 h 71913"/>
                  <a:gd name="connsiteX14" fmla="*/ 44389 w 65563"/>
                  <a:gd name="connsiteY14" fmla="*/ 58484 h 71913"/>
                  <a:gd name="connsiteX15" fmla="*/ 32673 w 65563"/>
                  <a:gd name="connsiteY15" fmla="*/ 71914 h 71913"/>
                  <a:gd name="connsiteX16" fmla="*/ 21719 w 65563"/>
                  <a:gd name="connsiteY16" fmla="*/ 61913 h 71913"/>
                  <a:gd name="connsiteX17" fmla="*/ 27149 w 65563"/>
                  <a:gd name="connsiteY17" fmla="*/ 55436 h 71913"/>
                  <a:gd name="connsiteX18" fmla="*/ 26863 w 65563"/>
                  <a:gd name="connsiteY18" fmla="*/ 55245 h 71913"/>
                  <a:gd name="connsiteX19" fmla="*/ 16385 w 65563"/>
                  <a:gd name="connsiteY19" fmla="*/ 55245 h 71913"/>
                  <a:gd name="connsiteX20" fmla="*/ 6574 w 65563"/>
                  <a:gd name="connsiteY20" fmla="*/ 49625 h 71913"/>
                  <a:gd name="connsiteX21" fmla="*/ 764 w 65563"/>
                  <a:gd name="connsiteY21" fmla="*/ 41434 h 71913"/>
                  <a:gd name="connsiteX22" fmla="*/ 24767 w 65563"/>
                  <a:gd name="connsiteY22" fmla="*/ 47435 h 71913"/>
                  <a:gd name="connsiteX23" fmla="*/ 31530 w 65563"/>
                  <a:gd name="connsiteY23" fmla="*/ 47054 h 71913"/>
                  <a:gd name="connsiteX24" fmla="*/ 37055 w 65563"/>
                  <a:gd name="connsiteY24" fmla="*/ 43529 h 71913"/>
                  <a:gd name="connsiteX25" fmla="*/ 39150 w 65563"/>
                  <a:gd name="connsiteY25" fmla="*/ 41243 h 71913"/>
                  <a:gd name="connsiteX26" fmla="*/ 33150 w 65563"/>
                  <a:gd name="connsiteY26" fmla="*/ 35814 h 71913"/>
                  <a:gd name="connsiteX27" fmla="*/ 27625 w 65563"/>
                  <a:gd name="connsiteY27" fmla="*/ 31909 h 71913"/>
                  <a:gd name="connsiteX28" fmla="*/ 22958 w 65563"/>
                  <a:gd name="connsiteY28" fmla="*/ 30766 h 71913"/>
                  <a:gd name="connsiteX29" fmla="*/ 18195 w 65563"/>
                  <a:gd name="connsiteY29" fmla="*/ 33528 h 71913"/>
                  <a:gd name="connsiteX30" fmla="*/ 15814 w 65563"/>
                  <a:gd name="connsiteY30" fmla="*/ 39053 h 71913"/>
                  <a:gd name="connsiteX31" fmla="*/ 18481 w 65563"/>
                  <a:gd name="connsiteY31" fmla="*/ 44101 h 71913"/>
                  <a:gd name="connsiteX32" fmla="*/ 24767 w 65563"/>
                  <a:gd name="connsiteY32" fmla="*/ 47435 h 719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65563" h="71913">
                    <a:moveTo>
                      <a:pt x="1050" y="41338"/>
                    </a:moveTo>
                    <a:cubicBezTo>
                      <a:pt x="-93" y="38386"/>
                      <a:pt x="-283" y="35433"/>
                      <a:pt x="384" y="32290"/>
                    </a:cubicBezTo>
                    <a:cubicBezTo>
                      <a:pt x="1050" y="29242"/>
                      <a:pt x="2669" y="26289"/>
                      <a:pt x="5241" y="23527"/>
                    </a:cubicBezTo>
                    <a:cubicBezTo>
                      <a:pt x="9813" y="18574"/>
                      <a:pt x="14671" y="16478"/>
                      <a:pt x="19910" y="17145"/>
                    </a:cubicBezTo>
                    <a:cubicBezTo>
                      <a:pt x="25148" y="17812"/>
                      <a:pt x="30482" y="20574"/>
                      <a:pt x="35912" y="25432"/>
                    </a:cubicBezTo>
                    <a:lnTo>
                      <a:pt x="45627" y="34100"/>
                    </a:lnTo>
                    <a:lnTo>
                      <a:pt x="47627" y="32004"/>
                    </a:lnTo>
                    <a:cubicBezTo>
                      <a:pt x="50104" y="29242"/>
                      <a:pt x="51247" y="26765"/>
                      <a:pt x="50866" y="24479"/>
                    </a:cubicBezTo>
                    <a:cubicBezTo>
                      <a:pt x="50485" y="22193"/>
                      <a:pt x="49247" y="20003"/>
                      <a:pt x="46961" y="17907"/>
                    </a:cubicBezTo>
                    <a:cubicBezTo>
                      <a:pt x="43055" y="14288"/>
                      <a:pt x="37436" y="12478"/>
                      <a:pt x="30006" y="12287"/>
                    </a:cubicBezTo>
                    <a:lnTo>
                      <a:pt x="31149" y="0"/>
                    </a:lnTo>
                    <a:cubicBezTo>
                      <a:pt x="40769" y="191"/>
                      <a:pt x="48961" y="3334"/>
                      <a:pt x="55724" y="9525"/>
                    </a:cubicBezTo>
                    <a:cubicBezTo>
                      <a:pt x="61534" y="14859"/>
                      <a:pt x="64773" y="20288"/>
                      <a:pt x="65439" y="26003"/>
                    </a:cubicBezTo>
                    <a:cubicBezTo>
                      <a:pt x="66106" y="31623"/>
                      <a:pt x="64106" y="37052"/>
                      <a:pt x="59343" y="42196"/>
                    </a:cubicBezTo>
                    <a:lnTo>
                      <a:pt x="44389" y="58484"/>
                    </a:lnTo>
                    <a:cubicBezTo>
                      <a:pt x="39912" y="63341"/>
                      <a:pt x="36007" y="67818"/>
                      <a:pt x="32673" y="71914"/>
                    </a:cubicBezTo>
                    <a:lnTo>
                      <a:pt x="21719" y="61913"/>
                    </a:lnTo>
                    <a:cubicBezTo>
                      <a:pt x="23339" y="59817"/>
                      <a:pt x="25148" y="57626"/>
                      <a:pt x="27149" y="55436"/>
                    </a:cubicBezTo>
                    <a:lnTo>
                      <a:pt x="26863" y="55245"/>
                    </a:lnTo>
                    <a:cubicBezTo>
                      <a:pt x="23339" y="56197"/>
                      <a:pt x="19814" y="56197"/>
                      <a:pt x="16385" y="55245"/>
                    </a:cubicBezTo>
                    <a:cubicBezTo>
                      <a:pt x="12957" y="54293"/>
                      <a:pt x="9622" y="52483"/>
                      <a:pt x="6574" y="49625"/>
                    </a:cubicBezTo>
                    <a:cubicBezTo>
                      <a:pt x="3812" y="47149"/>
                      <a:pt x="1907" y="44387"/>
                      <a:pt x="764" y="41434"/>
                    </a:cubicBezTo>
                    <a:close/>
                    <a:moveTo>
                      <a:pt x="24767" y="47435"/>
                    </a:moveTo>
                    <a:cubicBezTo>
                      <a:pt x="27053" y="47911"/>
                      <a:pt x="29339" y="47816"/>
                      <a:pt x="31530" y="47054"/>
                    </a:cubicBezTo>
                    <a:cubicBezTo>
                      <a:pt x="33721" y="46387"/>
                      <a:pt x="35531" y="45148"/>
                      <a:pt x="37055" y="43529"/>
                    </a:cubicBezTo>
                    <a:lnTo>
                      <a:pt x="39150" y="41243"/>
                    </a:lnTo>
                    <a:lnTo>
                      <a:pt x="33150" y="35814"/>
                    </a:lnTo>
                    <a:cubicBezTo>
                      <a:pt x="31054" y="34100"/>
                      <a:pt x="29149" y="32766"/>
                      <a:pt x="27625" y="31909"/>
                    </a:cubicBezTo>
                    <a:cubicBezTo>
                      <a:pt x="26101" y="31052"/>
                      <a:pt x="24577" y="30671"/>
                      <a:pt x="22958" y="30766"/>
                    </a:cubicBezTo>
                    <a:cubicBezTo>
                      <a:pt x="21339" y="30861"/>
                      <a:pt x="19814" y="31813"/>
                      <a:pt x="18195" y="33528"/>
                    </a:cubicBezTo>
                    <a:cubicBezTo>
                      <a:pt x="16576" y="35338"/>
                      <a:pt x="15719" y="37147"/>
                      <a:pt x="15814" y="39053"/>
                    </a:cubicBezTo>
                    <a:cubicBezTo>
                      <a:pt x="15909" y="40862"/>
                      <a:pt x="16766" y="42577"/>
                      <a:pt x="18481" y="44101"/>
                    </a:cubicBezTo>
                    <a:cubicBezTo>
                      <a:pt x="20386" y="45815"/>
                      <a:pt x="22482" y="46958"/>
                      <a:pt x="24767" y="47435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08" name="Freeform: Shape 241">
                <a:extLst>
                  <a:ext uri="{FF2B5EF4-FFF2-40B4-BE49-F238E27FC236}">
                    <a16:creationId xmlns:a16="http://schemas.microsoft.com/office/drawing/2014/main" id="{43BE57DC-4C69-05E8-4BE7-6756AA42D6B2}"/>
                  </a:ext>
                </a:extLst>
              </p:cNvPr>
              <p:cNvSpPr/>
              <p:nvPr/>
            </p:nvSpPr>
            <p:spPr>
              <a:xfrm>
                <a:off x="6741604" y="4190333"/>
                <a:ext cx="74890" cy="89290"/>
              </a:xfrm>
              <a:custGeom>
                <a:avLst/>
                <a:gdLst>
                  <a:gd name="connsiteX0" fmla="*/ 17145 w 74890"/>
                  <a:gd name="connsiteY0" fmla="*/ 72962 h 89290"/>
                  <a:gd name="connsiteX1" fmla="*/ 17240 w 74890"/>
                  <a:gd name="connsiteY1" fmla="*/ 62389 h 89290"/>
                  <a:gd name="connsiteX2" fmla="*/ 17240 w 74890"/>
                  <a:gd name="connsiteY2" fmla="*/ 62389 h 89290"/>
                  <a:gd name="connsiteX3" fmla="*/ 13430 w 74890"/>
                  <a:gd name="connsiteY3" fmla="*/ 65532 h 89290"/>
                  <a:gd name="connsiteX4" fmla="*/ 10477 w 74890"/>
                  <a:gd name="connsiteY4" fmla="*/ 67628 h 89290"/>
                  <a:gd name="connsiteX5" fmla="*/ 0 w 74890"/>
                  <a:gd name="connsiteY5" fmla="*/ 56579 h 89290"/>
                  <a:gd name="connsiteX6" fmla="*/ 10382 w 74890"/>
                  <a:gd name="connsiteY6" fmla="*/ 47435 h 89290"/>
                  <a:gd name="connsiteX7" fmla="*/ 60579 w 74890"/>
                  <a:gd name="connsiteY7" fmla="*/ 0 h 89290"/>
                  <a:gd name="connsiteX8" fmla="*/ 71342 w 74890"/>
                  <a:gd name="connsiteY8" fmla="*/ 11430 h 89290"/>
                  <a:gd name="connsiteX9" fmla="*/ 54483 w 74890"/>
                  <a:gd name="connsiteY9" fmla="*/ 27337 h 89290"/>
                  <a:gd name="connsiteX10" fmla="*/ 50672 w 74890"/>
                  <a:gd name="connsiteY10" fmla="*/ 30861 h 89290"/>
                  <a:gd name="connsiteX11" fmla="*/ 48101 w 74890"/>
                  <a:gd name="connsiteY11" fmla="*/ 33052 h 89290"/>
                  <a:gd name="connsiteX12" fmla="*/ 48291 w 74890"/>
                  <a:gd name="connsiteY12" fmla="*/ 33242 h 89290"/>
                  <a:gd name="connsiteX13" fmla="*/ 59436 w 74890"/>
                  <a:gd name="connsiteY13" fmla="*/ 33528 h 89290"/>
                  <a:gd name="connsiteX14" fmla="*/ 69056 w 74890"/>
                  <a:gd name="connsiteY14" fmla="*/ 40005 h 89290"/>
                  <a:gd name="connsiteX15" fmla="*/ 74771 w 74890"/>
                  <a:gd name="connsiteY15" fmla="*/ 51816 h 89290"/>
                  <a:gd name="connsiteX16" fmla="*/ 72104 w 74890"/>
                  <a:gd name="connsiteY16" fmla="*/ 65056 h 89290"/>
                  <a:gd name="connsiteX17" fmla="*/ 62198 w 74890"/>
                  <a:gd name="connsiteY17" fmla="*/ 78010 h 89290"/>
                  <a:gd name="connsiteX18" fmla="*/ 48387 w 74890"/>
                  <a:gd name="connsiteY18" fmla="*/ 87249 h 89290"/>
                  <a:gd name="connsiteX19" fmla="*/ 34671 w 74890"/>
                  <a:gd name="connsiteY19" fmla="*/ 88963 h 89290"/>
                  <a:gd name="connsiteX20" fmla="*/ 22860 w 74890"/>
                  <a:gd name="connsiteY20" fmla="*/ 82296 h 89290"/>
                  <a:gd name="connsiteX21" fmla="*/ 17335 w 74890"/>
                  <a:gd name="connsiteY21" fmla="*/ 72962 h 89290"/>
                  <a:gd name="connsiteX22" fmla="*/ 38005 w 74890"/>
                  <a:gd name="connsiteY22" fmla="*/ 73438 h 89290"/>
                  <a:gd name="connsiteX23" fmla="*/ 50863 w 74890"/>
                  <a:gd name="connsiteY23" fmla="*/ 66104 h 89290"/>
                  <a:gd name="connsiteX24" fmla="*/ 58674 w 74890"/>
                  <a:gd name="connsiteY24" fmla="*/ 54197 h 89290"/>
                  <a:gd name="connsiteX25" fmla="*/ 55816 w 74890"/>
                  <a:gd name="connsiteY25" fmla="*/ 44291 h 89290"/>
                  <a:gd name="connsiteX26" fmla="*/ 46005 w 74890"/>
                  <a:gd name="connsiteY26" fmla="*/ 40386 h 89290"/>
                  <a:gd name="connsiteX27" fmla="*/ 32765 w 74890"/>
                  <a:gd name="connsiteY27" fmla="*/ 47530 h 89290"/>
                  <a:gd name="connsiteX28" fmla="*/ 26098 w 74890"/>
                  <a:gd name="connsiteY28" fmla="*/ 56483 h 89290"/>
                  <a:gd name="connsiteX29" fmla="*/ 25146 w 74890"/>
                  <a:gd name="connsiteY29" fmla="*/ 64103 h 89290"/>
                  <a:gd name="connsiteX30" fmla="*/ 28384 w 74890"/>
                  <a:gd name="connsiteY30" fmla="*/ 70104 h 89290"/>
                  <a:gd name="connsiteX31" fmla="*/ 38100 w 74890"/>
                  <a:gd name="connsiteY31" fmla="*/ 73438 h 89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74890" h="89290">
                    <a:moveTo>
                      <a:pt x="17145" y="72962"/>
                    </a:moveTo>
                    <a:cubicBezTo>
                      <a:pt x="16002" y="69533"/>
                      <a:pt x="16097" y="66008"/>
                      <a:pt x="17240" y="62389"/>
                    </a:cubicBezTo>
                    <a:lnTo>
                      <a:pt x="17240" y="62389"/>
                    </a:lnTo>
                    <a:cubicBezTo>
                      <a:pt x="16192" y="63246"/>
                      <a:pt x="14954" y="64389"/>
                      <a:pt x="13430" y="65532"/>
                    </a:cubicBezTo>
                    <a:cubicBezTo>
                      <a:pt x="11906" y="66675"/>
                      <a:pt x="10953" y="67437"/>
                      <a:pt x="10477" y="67628"/>
                    </a:cubicBezTo>
                    <a:lnTo>
                      <a:pt x="0" y="56579"/>
                    </a:lnTo>
                    <a:cubicBezTo>
                      <a:pt x="2762" y="54388"/>
                      <a:pt x="6191" y="51340"/>
                      <a:pt x="10382" y="47435"/>
                    </a:cubicBezTo>
                    <a:lnTo>
                      <a:pt x="60579" y="0"/>
                    </a:lnTo>
                    <a:lnTo>
                      <a:pt x="71342" y="11430"/>
                    </a:lnTo>
                    <a:lnTo>
                      <a:pt x="54483" y="27337"/>
                    </a:lnTo>
                    <a:cubicBezTo>
                      <a:pt x="53244" y="28480"/>
                      <a:pt x="52006" y="29718"/>
                      <a:pt x="50672" y="30861"/>
                    </a:cubicBezTo>
                    <a:cubicBezTo>
                      <a:pt x="49339" y="32004"/>
                      <a:pt x="48482" y="32766"/>
                      <a:pt x="48101" y="33052"/>
                    </a:cubicBezTo>
                    <a:lnTo>
                      <a:pt x="48291" y="33242"/>
                    </a:lnTo>
                    <a:cubicBezTo>
                      <a:pt x="52197" y="32195"/>
                      <a:pt x="55912" y="32290"/>
                      <a:pt x="59436" y="33528"/>
                    </a:cubicBezTo>
                    <a:cubicBezTo>
                      <a:pt x="62960" y="34766"/>
                      <a:pt x="66198" y="36957"/>
                      <a:pt x="69056" y="40005"/>
                    </a:cubicBezTo>
                    <a:cubicBezTo>
                      <a:pt x="72390" y="43529"/>
                      <a:pt x="74295" y="47530"/>
                      <a:pt x="74771" y="51816"/>
                    </a:cubicBezTo>
                    <a:cubicBezTo>
                      <a:pt x="75247" y="56102"/>
                      <a:pt x="74295" y="60579"/>
                      <a:pt x="72104" y="65056"/>
                    </a:cubicBezTo>
                    <a:cubicBezTo>
                      <a:pt x="69913" y="69533"/>
                      <a:pt x="66580" y="73914"/>
                      <a:pt x="62198" y="78010"/>
                    </a:cubicBezTo>
                    <a:cubicBezTo>
                      <a:pt x="57721" y="82296"/>
                      <a:pt x="53054" y="85344"/>
                      <a:pt x="48387" y="87249"/>
                    </a:cubicBezTo>
                    <a:cubicBezTo>
                      <a:pt x="43624" y="89154"/>
                      <a:pt x="39148" y="89726"/>
                      <a:pt x="34671" y="88963"/>
                    </a:cubicBezTo>
                    <a:cubicBezTo>
                      <a:pt x="30194" y="88202"/>
                      <a:pt x="26289" y="86011"/>
                      <a:pt x="22860" y="82296"/>
                    </a:cubicBezTo>
                    <a:cubicBezTo>
                      <a:pt x="20288" y="79534"/>
                      <a:pt x="18383" y="76391"/>
                      <a:pt x="17335" y="72962"/>
                    </a:cubicBezTo>
                    <a:close/>
                    <a:moveTo>
                      <a:pt x="38005" y="73438"/>
                    </a:moveTo>
                    <a:cubicBezTo>
                      <a:pt x="41910" y="72962"/>
                      <a:pt x="46196" y="70485"/>
                      <a:pt x="50863" y="66104"/>
                    </a:cubicBezTo>
                    <a:cubicBezTo>
                      <a:pt x="55245" y="61913"/>
                      <a:pt x="57816" y="58007"/>
                      <a:pt x="58674" y="54197"/>
                    </a:cubicBezTo>
                    <a:cubicBezTo>
                      <a:pt x="59436" y="50387"/>
                      <a:pt x="58483" y="47149"/>
                      <a:pt x="55816" y="44291"/>
                    </a:cubicBezTo>
                    <a:cubicBezTo>
                      <a:pt x="53244" y="41529"/>
                      <a:pt x="49911" y="40196"/>
                      <a:pt x="46005" y="40386"/>
                    </a:cubicBezTo>
                    <a:cubicBezTo>
                      <a:pt x="42100" y="40481"/>
                      <a:pt x="37623" y="42863"/>
                      <a:pt x="32765" y="47530"/>
                    </a:cubicBezTo>
                    <a:cubicBezTo>
                      <a:pt x="29432" y="50673"/>
                      <a:pt x="27241" y="53626"/>
                      <a:pt x="26098" y="56483"/>
                    </a:cubicBezTo>
                    <a:cubicBezTo>
                      <a:pt x="24955" y="59341"/>
                      <a:pt x="24669" y="61817"/>
                      <a:pt x="25146" y="64103"/>
                    </a:cubicBezTo>
                    <a:cubicBezTo>
                      <a:pt x="25622" y="66389"/>
                      <a:pt x="26765" y="68389"/>
                      <a:pt x="28384" y="70104"/>
                    </a:cubicBezTo>
                    <a:cubicBezTo>
                      <a:pt x="30956" y="72866"/>
                      <a:pt x="34194" y="74009"/>
                      <a:pt x="38100" y="73438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09" name="Freeform: Shape 242">
                <a:extLst>
                  <a:ext uri="{FF2B5EF4-FFF2-40B4-BE49-F238E27FC236}">
                    <a16:creationId xmlns:a16="http://schemas.microsoft.com/office/drawing/2014/main" id="{BD8F08EC-1E78-97A8-D2F1-90BF8DB8699E}"/>
                  </a:ext>
                </a:extLst>
              </p:cNvPr>
              <p:cNvSpPr/>
              <p:nvPr/>
            </p:nvSpPr>
            <p:spPr>
              <a:xfrm>
                <a:off x="6793649" y="4244435"/>
                <a:ext cx="68351" cy="72295"/>
              </a:xfrm>
              <a:custGeom>
                <a:avLst/>
                <a:gdLst>
                  <a:gd name="connsiteX0" fmla="*/ 57 w 68351"/>
                  <a:gd name="connsiteY0" fmla="*/ 54293 h 72295"/>
                  <a:gd name="connsiteX1" fmla="*/ 6058 w 68351"/>
                  <a:gd name="connsiteY1" fmla="*/ 44006 h 72295"/>
                  <a:gd name="connsiteX2" fmla="*/ 58255 w 68351"/>
                  <a:gd name="connsiteY2" fmla="*/ 0 h 72295"/>
                  <a:gd name="connsiteX3" fmla="*/ 68351 w 68351"/>
                  <a:gd name="connsiteY3" fmla="*/ 12002 h 72295"/>
                  <a:gd name="connsiteX4" fmla="*/ 19202 w 68351"/>
                  <a:gd name="connsiteY4" fmla="*/ 53531 h 72295"/>
                  <a:gd name="connsiteX5" fmla="*/ 16345 w 68351"/>
                  <a:gd name="connsiteY5" fmla="*/ 56483 h 72295"/>
                  <a:gd name="connsiteX6" fmla="*/ 15773 w 68351"/>
                  <a:gd name="connsiteY6" fmla="*/ 59055 h 72295"/>
                  <a:gd name="connsiteX7" fmla="*/ 17488 w 68351"/>
                  <a:gd name="connsiteY7" fmla="*/ 62008 h 72295"/>
                  <a:gd name="connsiteX8" fmla="*/ 19583 w 68351"/>
                  <a:gd name="connsiteY8" fmla="*/ 64008 h 72295"/>
                  <a:gd name="connsiteX9" fmla="*/ 10725 w 68351"/>
                  <a:gd name="connsiteY9" fmla="*/ 72295 h 72295"/>
                  <a:gd name="connsiteX10" fmla="*/ 4724 w 68351"/>
                  <a:gd name="connsiteY10" fmla="*/ 66485 h 72295"/>
                  <a:gd name="connsiteX11" fmla="*/ 57 w 68351"/>
                  <a:gd name="connsiteY11" fmla="*/ 54483 h 722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68351" h="72295">
                    <a:moveTo>
                      <a:pt x="57" y="54293"/>
                    </a:moveTo>
                    <a:cubicBezTo>
                      <a:pt x="438" y="50483"/>
                      <a:pt x="2534" y="47054"/>
                      <a:pt x="6058" y="44006"/>
                    </a:cubicBezTo>
                    <a:lnTo>
                      <a:pt x="58255" y="0"/>
                    </a:lnTo>
                    <a:lnTo>
                      <a:pt x="68351" y="12002"/>
                    </a:lnTo>
                    <a:lnTo>
                      <a:pt x="19202" y="53531"/>
                    </a:lnTo>
                    <a:cubicBezTo>
                      <a:pt x="17869" y="54674"/>
                      <a:pt x="16916" y="55626"/>
                      <a:pt x="16345" y="56483"/>
                    </a:cubicBezTo>
                    <a:cubicBezTo>
                      <a:pt x="15773" y="57341"/>
                      <a:pt x="15583" y="58103"/>
                      <a:pt x="15773" y="59055"/>
                    </a:cubicBezTo>
                    <a:cubicBezTo>
                      <a:pt x="15964" y="59912"/>
                      <a:pt x="16535" y="60865"/>
                      <a:pt x="17488" y="62008"/>
                    </a:cubicBezTo>
                    <a:cubicBezTo>
                      <a:pt x="18059" y="62675"/>
                      <a:pt x="18726" y="63341"/>
                      <a:pt x="19583" y="64008"/>
                    </a:cubicBezTo>
                    <a:lnTo>
                      <a:pt x="10725" y="72295"/>
                    </a:lnTo>
                    <a:cubicBezTo>
                      <a:pt x="8630" y="70580"/>
                      <a:pt x="6629" y="68675"/>
                      <a:pt x="4724" y="66485"/>
                    </a:cubicBezTo>
                    <a:cubicBezTo>
                      <a:pt x="1200" y="62294"/>
                      <a:pt x="-324" y="58293"/>
                      <a:pt x="57" y="54483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10" name="Freeform: Shape 243">
                <a:extLst>
                  <a:ext uri="{FF2B5EF4-FFF2-40B4-BE49-F238E27FC236}">
                    <a16:creationId xmlns:a16="http://schemas.microsoft.com/office/drawing/2014/main" id="{FBF51A23-D45A-27C3-8812-E94CFC321B50}"/>
                  </a:ext>
                </a:extLst>
              </p:cNvPr>
              <p:cNvSpPr/>
              <p:nvPr/>
            </p:nvSpPr>
            <p:spPr>
              <a:xfrm>
                <a:off x="6817613" y="4294214"/>
                <a:ext cx="62435" cy="64330"/>
              </a:xfrm>
              <a:custGeom>
                <a:avLst/>
                <a:gdLst>
                  <a:gd name="connsiteX0" fmla="*/ 191 w 62435"/>
                  <a:gd name="connsiteY0" fmla="*/ 28230 h 64330"/>
                  <a:gd name="connsiteX1" fmla="*/ 14288 w 62435"/>
                  <a:gd name="connsiteY1" fmla="*/ 7847 h 64330"/>
                  <a:gd name="connsiteX2" fmla="*/ 30576 w 62435"/>
                  <a:gd name="connsiteY2" fmla="*/ 322 h 64330"/>
                  <a:gd name="connsiteX3" fmla="*/ 45054 w 62435"/>
                  <a:gd name="connsiteY3" fmla="*/ 2227 h 64330"/>
                  <a:gd name="connsiteX4" fmla="*/ 56389 w 62435"/>
                  <a:gd name="connsiteY4" fmla="*/ 11657 h 64330"/>
                  <a:gd name="connsiteX5" fmla="*/ 62389 w 62435"/>
                  <a:gd name="connsiteY5" fmla="*/ 26135 h 64330"/>
                  <a:gd name="connsiteX6" fmla="*/ 59341 w 62435"/>
                  <a:gd name="connsiteY6" fmla="*/ 39470 h 64330"/>
                  <a:gd name="connsiteX7" fmla="*/ 49340 w 62435"/>
                  <a:gd name="connsiteY7" fmla="*/ 50519 h 64330"/>
                  <a:gd name="connsiteX8" fmla="*/ 44102 w 62435"/>
                  <a:gd name="connsiteY8" fmla="*/ 54043 h 64330"/>
                  <a:gd name="connsiteX9" fmla="*/ 20861 w 62435"/>
                  <a:gd name="connsiteY9" fmla="*/ 23468 h 64330"/>
                  <a:gd name="connsiteX10" fmla="*/ 14002 w 62435"/>
                  <a:gd name="connsiteY10" fmla="*/ 32898 h 64330"/>
                  <a:gd name="connsiteX11" fmla="*/ 17050 w 62435"/>
                  <a:gd name="connsiteY11" fmla="*/ 43661 h 64330"/>
                  <a:gd name="connsiteX12" fmla="*/ 21051 w 62435"/>
                  <a:gd name="connsiteY12" fmla="*/ 47852 h 64330"/>
                  <a:gd name="connsiteX13" fmla="*/ 25718 w 62435"/>
                  <a:gd name="connsiteY13" fmla="*/ 50614 h 64330"/>
                  <a:gd name="connsiteX14" fmla="*/ 32481 w 62435"/>
                  <a:gd name="connsiteY14" fmla="*/ 53091 h 64330"/>
                  <a:gd name="connsiteX15" fmla="*/ 28194 w 62435"/>
                  <a:gd name="connsiteY15" fmla="*/ 64330 h 64330"/>
                  <a:gd name="connsiteX16" fmla="*/ 16765 w 62435"/>
                  <a:gd name="connsiteY16" fmla="*/ 59568 h 64330"/>
                  <a:gd name="connsiteX17" fmla="*/ 7049 w 62435"/>
                  <a:gd name="connsiteY17" fmla="*/ 50328 h 64330"/>
                  <a:gd name="connsiteX18" fmla="*/ 286 w 62435"/>
                  <a:gd name="connsiteY18" fmla="*/ 28326 h 64330"/>
                  <a:gd name="connsiteX19" fmla="*/ 43625 w 62435"/>
                  <a:gd name="connsiteY19" fmla="*/ 35755 h 64330"/>
                  <a:gd name="connsiteX20" fmla="*/ 49721 w 62435"/>
                  <a:gd name="connsiteY20" fmla="*/ 27183 h 64330"/>
                  <a:gd name="connsiteX21" fmla="*/ 47150 w 62435"/>
                  <a:gd name="connsiteY21" fmla="*/ 18420 h 64330"/>
                  <a:gd name="connsiteX22" fmla="*/ 39434 w 62435"/>
                  <a:gd name="connsiteY22" fmla="*/ 13657 h 64330"/>
                  <a:gd name="connsiteX23" fmla="*/ 29433 w 62435"/>
                  <a:gd name="connsiteY23" fmla="*/ 16991 h 64330"/>
                  <a:gd name="connsiteX24" fmla="*/ 43625 w 62435"/>
                  <a:gd name="connsiteY24" fmla="*/ 35660 h 643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62435" h="64330">
                    <a:moveTo>
                      <a:pt x="191" y="28230"/>
                    </a:moveTo>
                    <a:cubicBezTo>
                      <a:pt x="1239" y="20992"/>
                      <a:pt x="5906" y="14134"/>
                      <a:pt x="14288" y="7847"/>
                    </a:cubicBezTo>
                    <a:cubicBezTo>
                      <a:pt x="19813" y="3656"/>
                      <a:pt x="25242" y="1084"/>
                      <a:pt x="30576" y="322"/>
                    </a:cubicBezTo>
                    <a:cubicBezTo>
                      <a:pt x="35815" y="-440"/>
                      <a:pt x="40673" y="132"/>
                      <a:pt x="45054" y="2227"/>
                    </a:cubicBezTo>
                    <a:cubicBezTo>
                      <a:pt x="49436" y="4323"/>
                      <a:pt x="53245" y="7466"/>
                      <a:pt x="56389" y="11657"/>
                    </a:cubicBezTo>
                    <a:cubicBezTo>
                      <a:pt x="60103" y="16515"/>
                      <a:pt x="62104" y="21372"/>
                      <a:pt x="62389" y="26135"/>
                    </a:cubicBezTo>
                    <a:cubicBezTo>
                      <a:pt x="62675" y="30897"/>
                      <a:pt x="61627" y="35374"/>
                      <a:pt x="59341" y="39470"/>
                    </a:cubicBezTo>
                    <a:cubicBezTo>
                      <a:pt x="56960" y="43566"/>
                      <a:pt x="53627" y="47280"/>
                      <a:pt x="49340" y="50519"/>
                    </a:cubicBezTo>
                    <a:cubicBezTo>
                      <a:pt x="47626" y="51757"/>
                      <a:pt x="45911" y="52995"/>
                      <a:pt x="44102" y="54043"/>
                    </a:cubicBezTo>
                    <a:lnTo>
                      <a:pt x="20861" y="23468"/>
                    </a:lnTo>
                    <a:cubicBezTo>
                      <a:pt x="17146" y="26326"/>
                      <a:pt x="14860" y="29469"/>
                      <a:pt x="14002" y="32898"/>
                    </a:cubicBezTo>
                    <a:cubicBezTo>
                      <a:pt x="13145" y="36327"/>
                      <a:pt x="14193" y="39946"/>
                      <a:pt x="17050" y="43661"/>
                    </a:cubicBezTo>
                    <a:cubicBezTo>
                      <a:pt x="18289" y="45376"/>
                      <a:pt x="19718" y="46709"/>
                      <a:pt x="21051" y="47852"/>
                    </a:cubicBezTo>
                    <a:cubicBezTo>
                      <a:pt x="22480" y="48900"/>
                      <a:pt x="24004" y="49852"/>
                      <a:pt x="25718" y="50614"/>
                    </a:cubicBezTo>
                    <a:cubicBezTo>
                      <a:pt x="27433" y="51376"/>
                      <a:pt x="29623" y="52234"/>
                      <a:pt x="32481" y="53091"/>
                    </a:cubicBezTo>
                    <a:lnTo>
                      <a:pt x="28194" y="64330"/>
                    </a:lnTo>
                    <a:cubicBezTo>
                      <a:pt x="23909" y="63187"/>
                      <a:pt x="20098" y="61568"/>
                      <a:pt x="16765" y="59568"/>
                    </a:cubicBezTo>
                    <a:cubicBezTo>
                      <a:pt x="13431" y="57568"/>
                      <a:pt x="10193" y="54424"/>
                      <a:pt x="7049" y="50328"/>
                    </a:cubicBezTo>
                    <a:cubicBezTo>
                      <a:pt x="1429" y="42899"/>
                      <a:pt x="-857" y="35660"/>
                      <a:pt x="286" y="28326"/>
                    </a:cubicBezTo>
                    <a:close/>
                    <a:moveTo>
                      <a:pt x="43625" y="35755"/>
                    </a:moveTo>
                    <a:cubicBezTo>
                      <a:pt x="47150" y="32898"/>
                      <a:pt x="49149" y="30040"/>
                      <a:pt x="49721" y="27183"/>
                    </a:cubicBezTo>
                    <a:cubicBezTo>
                      <a:pt x="50292" y="24325"/>
                      <a:pt x="49436" y="21372"/>
                      <a:pt x="47150" y="18420"/>
                    </a:cubicBezTo>
                    <a:cubicBezTo>
                      <a:pt x="45054" y="15658"/>
                      <a:pt x="42482" y="14038"/>
                      <a:pt x="39434" y="13657"/>
                    </a:cubicBezTo>
                    <a:cubicBezTo>
                      <a:pt x="36386" y="13276"/>
                      <a:pt x="33052" y="14419"/>
                      <a:pt x="29433" y="16991"/>
                    </a:cubicBezTo>
                    <a:lnTo>
                      <a:pt x="43625" y="35660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35" name="Graphic 2">
              <a:extLst>
                <a:ext uri="{FF2B5EF4-FFF2-40B4-BE49-F238E27FC236}">
                  <a16:creationId xmlns:a16="http://schemas.microsoft.com/office/drawing/2014/main" id="{9C169170-B37A-BA7E-7B3B-8CE66FC2EC41}"/>
                </a:ext>
              </a:extLst>
            </p:cNvPr>
            <p:cNvGrpSpPr/>
            <p:nvPr/>
          </p:nvGrpSpPr>
          <p:grpSpPr>
            <a:xfrm>
              <a:off x="6804195" y="2424292"/>
              <a:ext cx="1566536" cy="303644"/>
              <a:chOff x="5510117" y="3184588"/>
              <a:chExt cx="1178528" cy="221265"/>
            </a:xfrm>
            <a:solidFill>
              <a:srgbClr val="231F20"/>
            </a:solidFill>
          </p:grpSpPr>
          <p:sp>
            <p:nvSpPr>
              <p:cNvPr id="348" name="Freeform: Shape 181">
                <a:extLst>
                  <a:ext uri="{FF2B5EF4-FFF2-40B4-BE49-F238E27FC236}">
                    <a16:creationId xmlns:a16="http://schemas.microsoft.com/office/drawing/2014/main" id="{FA19812E-78B4-340F-695B-7D0884780D52}"/>
                  </a:ext>
                </a:extLst>
              </p:cNvPr>
              <p:cNvSpPr/>
              <p:nvPr/>
            </p:nvSpPr>
            <p:spPr>
              <a:xfrm>
                <a:off x="5562028" y="3187541"/>
                <a:ext cx="64960" cy="80962"/>
              </a:xfrm>
              <a:custGeom>
                <a:avLst/>
                <a:gdLst>
                  <a:gd name="connsiteX0" fmla="*/ 0 w 64960"/>
                  <a:gd name="connsiteY0" fmla="*/ 67532 h 80962"/>
                  <a:gd name="connsiteX1" fmla="*/ 10573 w 64960"/>
                  <a:gd name="connsiteY1" fmla="*/ 56960 h 80962"/>
                  <a:gd name="connsiteX2" fmla="*/ 16383 w 64960"/>
                  <a:gd name="connsiteY2" fmla="*/ 62294 h 80962"/>
                  <a:gd name="connsiteX3" fmla="*/ 23336 w 64960"/>
                  <a:gd name="connsiteY3" fmla="*/ 65913 h 80962"/>
                  <a:gd name="connsiteX4" fmla="*/ 32575 w 64960"/>
                  <a:gd name="connsiteY4" fmla="*/ 67342 h 80962"/>
                  <a:gd name="connsiteX5" fmla="*/ 44577 w 64960"/>
                  <a:gd name="connsiteY5" fmla="*/ 64961 h 80962"/>
                  <a:gd name="connsiteX6" fmla="*/ 48768 w 64960"/>
                  <a:gd name="connsiteY6" fmla="*/ 58007 h 80962"/>
                  <a:gd name="connsiteX7" fmla="*/ 46577 w 64960"/>
                  <a:gd name="connsiteY7" fmla="*/ 52483 h 80962"/>
                  <a:gd name="connsiteX8" fmla="*/ 41053 w 64960"/>
                  <a:gd name="connsiteY8" fmla="*/ 49244 h 80962"/>
                  <a:gd name="connsiteX9" fmla="*/ 31813 w 64960"/>
                  <a:gd name="connsiteY9" fmla="*/ 46768 h 80962"/>
                  <a:gd name="connsiteX10" fmla="*/ 28670 w 64960"/>
                  <a:gd name="connsiteY10" fmla="*/ 46006 h 80962"/>
                  <a:gd name="connsiteX11" fmla="*/ 15430 w 64960"/>
                  <a:gd name="connsiteY11" fmla="*/ 41624 h 80962"/>
                  <a:gd name="connsiteX12" fmla="*/ 6477 w 64960"/>
                  <a:gd name="connsiteY12" fmla="*/ 34481 h 80962"/>
                  <a:gd name="connsiteX13" fmla="*/ 2953 w 64960"/>
                  <a:gd name="connsiteY13" fmla="*/ 22289 h 80962"/>
                  <a:gd name="connsiteX14" fmla="*/ 6763 w 64960"/>
                  <a:gd name="connsiteY14" fmla="*/ 10097 h 80962"/>
                  <a:gd name="connsiteX15" fmla="*/ 17431 w 64960"/>
                  <a:gd name="connsiteY15" fmla="*/ 2572 h 80962"/>
                  <a:gd name="connsiteX16" fmla="*/ 33147 w 64960"/>
                  <a:gd name="connsiteY16" fmla="*/ 0 h 80962"/>
                  <a:gd name="connsiteX17" fmla="*/ 49530 w 64960"/>
                  <a:gd name="connsiteY17" fmla="*/ 2667 h 80962"/>
                  <a:gd name="connsiteX18" fmla="*/ 62294 w 64960"/>
                  <a:gd name="connsiteY18" fmla="*/ 10954 h 80962"/>
                  <a:gd name="connsiteX19" fmla="*/ 52673 w 64960"/>
                  <a:gd name="connsiteY19" fmla="*/ 21336 h 80962"/>
                  <a:gd name="connsiteX20" fmla="*/ 43529 w 64960"/>
                  <a:gd name="connsiteY20" fmla="*/ 15240 h 80962"/>
                  <a:gd name="connsiteX21" fmla="*/ 32575 w 64960"/>
                  <a:gd name="connsiteY21" fmla="*/ 13049 h 80962"/>
                  <a:gd name="connsiteX22" fmla="*/ 22098 w 64960"/>
                  <a:gd name="connsiteY22" fmla="*/ 15335 h 80962"/>
                  <a:gd name="connsiteX23" fmla="*/ 18955 w 64960"/>
                  <a:gd name="connsiteY23" fmla="*/ 21241 h 80962"/>
                  <a:gd name="connsiteX24" fmla="*/ 20860 w 64960"/>
                  <a:gd name="connsiteY24" fmla="*/ 26479 h 80962"/>
                  <a:gd name="connsiteX25" fmla="*/ 25908 w 64960"/>
                  <a:gd name="connsiteY25" fmla="*/ 29528 h 80962"/>
                  <a:gd name="connsiteX26" fmla="*/ 35052 w 64960"/>
                  <a:gd name="connsiteY26" fmla="*/ 32004 h 80962"/>
                  <a:gd name="connsiteX27" fmla="*/ 36290 w 64960"/>
                  <a:gd name="connsiteY27" fmla="*/ 32290 h 80962"/>
                  <a:gd name="connsiteX28" fmla="*/ 51435 w 64960"/>
                  <a:gd name="connsiteY28" fmla="*/ 36767 h 80962"/>
                  <a:gd name="connsiteX29" fmla="*/ 61055 w 64960"/>
                  <a:gd name="connsiteY29" fmla="*/ 43815 h 80962"/>
                  <a:gd name="connsiteX30" fmla="*/ 64961 w 64960"/>
                  <a:gd name="connsiteY30" fmla="*/ 57055 h 80962"/>
                  <a:gd name="connsiteX31" fmla="*/ 61436 w 64960"/>
                  <a:gd name="connsiteY31" fmla="*/ 69628 h 80962"/>
                  <a:gd name="connsiteX32" fmla="*/ 50673 w 64960"/>
                  <a:gd name="connsiteY32" fmla="*/ 78010 h 80962"/>
                  <a:gd name="connsiteX33" fmla="*/ 32385 w 64960"/>
                  <a:gd name="connsiteY33" fmla="*/ 80963 h 80962"/>
                  <a:gd name="connsiteX34" fmla="*/ 286 w 64960"/>
                  <a:gd name="connsiteY34" fmla="*/ 67532 h 809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64960" h="80962">
                    <a:moveTo>
                      <a:pt x="0" y="67532"/>
                    </a:moveTo>
                    <a:lnTo>
                      <a:pt x="10573" y="56960"/>
                    </a:lnTo>
                    <a:cubicBezTo>
                      <a:pt x="12478" y="59055"/>
                      <a:pt x="14478" y="60865"/>
                      <a:pt x="16383" y="62294"/>
                    </a:cubicBezTo>
                    <a:cubicBezTo>
                      <a:pt x="18288" y="63722"/>
                      <a:pt x="20669" y="64961"/>
                      <a:pt x="23336" y="65913"/>
                    </a:cubicBezTo>
                    <a:cubicBezTo>
                      <a:pt x="26003" y="66866"/>
                      <a:pt x="29051" y="67342"/>
                      <a:pt x="32575" y="67342"/>
                    </a:cubicBezTo>
                    <a:cubicBezTo>
                      <a:pt x="37814" y="67342"/>
                      <a:pt x="41815" y="66580"/>
                      <a:pt x="44577" y="64961"/>
                    </a:cubicBezTo>
                    <a:cubicBezTo>
                      <a:pt x="47339" y="63341"/>
                      <a:pt x="48768" y="61055"/>
                      <a:pt x="48768" y="58007"/>
                    </a:cubicBezTo>
                    <a:cubicBezTo>
                      <a:pt x="48768" y="55721"/>
                      <a:pt x="48006" y="53912"/>
                      <a:pt x="46577" y="52483"/>
                    </a:cubicBezTo>
                    <a:cubicBezTo>
                      <a:pt x="45148" y="51054"/>
                      <a:pt x="43244" y="50006"/>
                      <a:pt x="41053" y="49244"/>
                    </a:cubicBezTo>
                    <a:cubicBezTo>
                      <a:pt x="38862" y="48482"/>
                      <a:pt x="35719" y="47625"/>
                      <a:pt x="31813" y="46768"/>
                    </a:cubicBezTo>
                    <a:cubicBezTo>
                      <a:pt x="30385" y="46482"/>
                      <a:pt x="29337" y="46196"/>
                      <a:pt x="28670" y="46006"/>
                    </a:cubicBezTo>
                    <a:cubicBezTo>
                      <a:pt x="23431" y="44768"/>
                      <a:pt x="19050" y="43244"/>
                      <a:pt x="15430" y="41624"/>
                    </a:cubicBezTo>
                    <a:cubicBezTo>
                      <a:pt x="11811" y="40005"/>
                      <a:pt x="8858" y="37624"/>
                      <a:pt x="6477" y="34481"/>
                    </a:cubicBezTo>
                    <a:cubicBezTo>
                      <a:pt x="4096" y="31337"/>
                      <a:pt x="2953" y="27337"/>
                      <a:pt x="2953" y="22289"/>
                    </a:cubicBezTo>
                    <a:cubicBezTo>
                      <a:pt x="2953" y="17240"/>
                      <a:pt x="4191" y="13430"/>
                      <a:pt x="6763" y="10097"/>
                    </a:cubicBezTo>
                    <a:cubicBezTo>
                      <a:pt x="9335" y="6763"/>
                      <a:pt x="12859" y="4191"/>
                      <a:pt x="17431" y="2572"/>
                    </a:cubicBezTo>
                    <a:cubicBezTo>
                      <a:pt x="22003" y="953"/>
                      <a:pt x="27241" y="0"/>
                      <a:pt x="33147" y="0"/>
                    </a:cubicBezTo>
                    <a:cubicBezTo>
                      <a:pt x="39053" y="0"/>
                      <a:pt x="44768" y="857"/>
                      <a:pt x="49530" y="2667"/>
                    </a:cubicBezTo>
                    <a:cubicBezTo>
                      <a:pt x="54293" y="4477"/>
                      <a:pt x="58483" y="7239"/>
                      <a:pt x="62294" y="10954"/>
                    </a:cubicBezTo>
                    <a:lnTo>
                      <a:pt x="52673" y="21336"/>
                    </a:lnTo>
                    <a:cubicBezTo>
                      <a:pt x="49816" y="18669"/>
                      <a:pt x="46768" y="16669"/>
                      <a:pt x="43529" y="15240"/>
                    </a:cubicBezTo>
                    <a:cubicBezTo>
                      <a:pt x="40291" y="13811"/>
                      <a:pt x="36671" y="13049"/>
                      <a:pt x="32575" y="13049"/>
                    </a:cubicBezTo>
                    <a:cubicBezTo>
                      <a:pt x="27718" y="13049"/>
                      <a:pt x="24289" y="13811"/>
                      <a:pt x="22098" y="15335"/>
                    </a:cubicBezTo>
                    <a:cubicBezTo>
                      <a:pt x="19907" y="16859"/>
                      <a:pt x="18955" y="18860"/>
                      <a:pt x="18955" y="21241"/>
                    </a:cubicBezTo>
                    <a:cubicBezTo>
                      <a:pt x="18955" y="23432"/>
                      <a:pt x="19621" y="25146"/>
                      <a:pt x="20860" y="26479"/>
                    </a:cubicBezTo>
                    <a:cubicBezTo>
                      <a:pt x="22098" y="27813"/>
                      <a:pt x="23813" y="28766"/>
                      <a:pt x="25908" y="29528"/>
                    </a:cubicBezTo>
                    <a:cubicBezTo>
                      <a:pt x="28004" y="30290"/>
                      <a:pt x="31052" y="31052"/>
                      <a:pt x="35052" y="32004"/>
                    </a:cubicBezTo>
                    <a:lnTo>
                      <a:pt x="36290" y="32290"/>
                    </a:lnTo>
                    <a:cubicBezTo>
                      <a:pt x="42577" y="33719"/>
                      <a:pt x="47625" y="35243"/>
                      <a:pt x="51435" y="36767"/>
                    </a:cubicBezTo>
                    <a:cubicBezTo>
                      <a:pt x="55245" y="38291"/>
                      <a:pt x="58483" y="40672"/>
                      <a:pt x="61055" y="43815"/>
                    </a:cubicBezTo>
                    <a:cubicBezTo>
                      <a:pt x="63627" y="46958"/>
                      <a:pt x="64961" y="51435"/>
                      <a:pt x="64961" y="57055"/>
                    </a:cubicBezTo>
                    <a:cubicBezTo>
                      <a:pt x="64961" y="61817"/>
                      <a:pt x="63818" y="66008"/>
                      <a:pt x="61436" y="69628"/>
                    </a:cubicBezTo>
                    <a:cubicBezTo>
                      <a:pt x="59055" y="73247"/>
                      <a:pt x="55531" y="76010"/>
                      <a:pt x="50673" y="78010"/>
                    </a:cubicBezTo>
                    <a:cubicBezTo>
                      <a:pt x="45815" y="80010"/>
                      <a:pt x="39719" y="80963"/>
                      <a:pt x="32385" y="80963"/>
                    </a:cubicBezTo>
                    <a:cubicBezTo>
                      <a:pt x="18479" y="80963"/>
                      <a:pt x="7715" y="76486"/>
                      <a:pt x="286" y="67532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49" name="Freeform: Shape 182">
                <a:extLst>
                  <a:ext uri="{FF2B5EF4-FFF2-40B4-BE49-F238E27FC236}">
                    <a16:creationId xmlns:a16="http://schemas.microsoft.com/office/drawing/2014/main" id="{A0D19696-0001-7E93-7A31-31E732D9694A}"/>
                  </a:ext>
                </a:extLst>
              </p:cNvPr>
              <p:cNvSpPr/>
              <p:nvPr/>
            </p:nvSpPr>
            <p:spPr>
              <a:xfrm>
                <a:off x="5637657" y="3205829"/>
                <a:ext cx="58292" cy="85343"/>
              </a:xfrm>
              <a:custGeom>
                <a:avLst/>
                <a:gdLst>
                  <a:gd name="connsiteX0" fmla="*/ 476 w 58292"/>
                  <a:gd name="connsiteY0" fmla="*/ 15049 h 85343"/>
                  <a:gd name="connsiteX1" fmla="*/ 0 w 58292"/>
                  <a:gd name="connsiteY1" fmla="*/ 1238 h 85343"/>
                  <a:gd name="connsiteX2" fmla="*/ 15240 w 58292"/>
                  <a:gd name="connsiteY2" fmla="*/ 1238 h 85343"/>
                  <a:gd name="connsiteX3" fmla="*/ 15716 w 58292"/>
                  <a:gd name="connsiteY3" fmla="*/ 4763 h 85343"/>
                  <a:gd name="connsiteX4" fmla="*/ 15907 w 58292"/>
                  <a:gd name="connsiteY4" fmla="*/ 9906 h 85343"/>
                  <a:gd name="connsiteX5" fmla="*/ 16097 w 58292"/>
                  <a:gd name="connsiteY5" fmla="*/ 9906 h 85343"/>
                  <a:gd name="connsiteX6" fmla="*/ 35338 w 58292"/>
                  <a:gd name="connsiteY6" fmla="*/ 0 h 85343"/>
                  <a:gd name="connsiteX7" fmla="*/ 47815 w 58292"/>
                  <a:gd name="connsiteY7" fmla="*/ 4000 h 85343"/>
                  <a:gd name="connsiteX8" fmla="*/ 55626 w 58292"/>
                  <a:gd name="connsiteY8" fmla="*/ 14954 h 85343"/>
                  <a:gd name="connsiteX9" fmla="*/ 58293 w 58292"/>
                  <a:gd name="connsiteY9" fmla="*/ 31051 h 85343"/>
                  <a:gd name="connsiteX10" fmla="*/ 55436 w 58292"/>
                  <a:gd name="connsiteY10" fmla="*/ 47530 h 85343"/>
                  <a:gd name="connsiteX11" fmla="*/ 47054 w 58292"/>
                  <a:gd name="connsiteY11" fmla="*/ 58674 h 85343"/>
                  <a:gd name="connsiteX12" fmla="*/ 34004 w 58292"/>
                  <a:gd name="connsiteY12" fmla="*/ 62674 h 85343"/>
                  <a:gd name="connsiteX13" fmla="*/ 23622 w 58292"/>
                  <a:gd name="connsiteY13" fmla="*/ 60388 h 85343"/>
                  <a:gd name="connsiteX14" fmla="*/ 16192 w 58292"/>
                  <a:gd name="connsiteY14" fmla="*/ 53054 h 85343"/>
                  <a:gd name="connsiteX15" fmla="*/ 15812 w 58292"/>
                  <a:gd name="connsiteY15" fmla="*/ 53054 h 85343"/>
                  <a:gd name="connsiteX16" fmla="*/ 16002 w 58292"/>
                  <a:gd name="connsiteY16" fmla="*/ 56674 h 85343"/>
                  <a:gd name="connsiteX17" fmla="*/ 16097 w 58292"/>
                  <a:gd name="connsiteY17" fmla="*/ 62103 h 85343"/>
                  <a:gd name="connsiteX18" fmla="*/ 16097 w 58292"/>
                  <a:gd name="connsiteY18" fmla="*/ 85344 h 85343"/>
                  <a:gd name="connsiteX19" fmla="*/ 381 w 58292"/>
                  <a:gd name="connsiteY19" fmla="*/ 85344 h 85343"/>
                  <a:gd name="connsiteX20" fmla="*/ 381 w 58292"/>
                  <a:gd name="connsiteY20" fmla="*/ 15049 h 85343"/>
                  <a:gd name="connsiteX21" fmla="*/ 38481 w 58292"/>
                  <a:gd name="connsiteY21" fmla="*/ 45529 h 85343"/>
                  <a:gd name="connsiteX22" fmla="*/ 41910 w 58292"/>
                  <a:gd name="connsiteY22" fmla="*/ 31051 h 85343"/>
                  <a:gd name="connsiteX23" fmla="*/ 38576 w 58292"/>
                  <a:gd name="connsiteY23" fmla="*/ 17240 h 85343"/>
                  <a:gd name="connsiteX24" fmla="*/ 29432 w 58292"/>
                  <a:gd name="connsiteY24" fmla="*/ 12573 h 85343"/>
                  <a:gd name="connsiteX25" fmla="*/ 22860 w 58292"/>
                  <a:gd name="connsiteY25" fmla="*/ 14383 h 85343"/>
                  <a:gd name="connsiteX26" fmla="*/ 17907 w 58292"/>
                  <a:gd name="connsiteY26" fmla="*/ 20383 h 85343"/>
                  <a:gd name="connsiteX27" fmla="*/ 15907 w 58292"/>
                  <a:gd name="connsiteY27" fmla="*/ 31528 h 85343"/>
                  <a:gd name="connsiteX28" fmla="*/ 17812 w 58292"/>
                  <a:gd name="connsiteY28" fmla="*/ 42481 h 85343"/>
                  <a:gd name="connsiteX29" fmla="*/ 22765 w 58292"/>
                  <a:gd name="connsiteY29" fmla="*/ 48482 h 85343"/>
                  <a:gd name="connsiteX30" fmla="*/ 29242 w 58292"/>
                  <a:gd name="connsiteY30" fmla="*/ 50292 h 85343"/>
                  <a:gd name="connsiteX31" fmla="*/ 38386 w 58292"/>
                  <a:gd name="connsiteY31" fmla="*/ 45529 h 853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58292" h="85343">
                    <a:moveTo>
                      <a:pt x="476" y="15049"/>
                    </a:moveTo>
                    <a:cubicBezTo>
                      <a:pt x="476" y="9334"/>
                      <a:pt x="286" y="4763"/>
                      <a:pt x="0" y="1238"/>
                    </a:cubicBezTo>
                    <a:lnTo>
                      <a:pt x="15240" y="1238"/>
                    </a:lnTo>
                    <a:cubicBezTo>
                      <a:pt x="15240" y="1238"/>
                      <a:pt x="15526" y="2762"/>
                      <a:pt x="15716" y="4763"/>
                    </a:cubicBezTo>
                    <a:cubicBezTo>
                      <a:pt x="15907" y="6763"/>
                      <a:pt x="15907" y="8477"/>
                      <a:pt x="15907" y="9906"/>
                    </a:cubicBezTo>
                    <a:lnTo>
                      <a:pt x="16097" y="9906"/>
                    </a:lnTo>
                    <a:cubicBezTo>
                      <a:pt x="20098" y="3238"/>
                      <a:pt x="26479" y="0"/>
                      <a:pt x="35338" y="0"/>
                    </a:cubicBezTo>
                    <a:cubicBezTo>
                      <a:pt x="40196" y="0"/>
                      <a:pt x="44387" y="1333"/>
                      <a:pt x="47815" y="4000"/>
                    </a:cubicBezTo>
                    <a:cubicBezTo>
                      <a:pt x="51245" y="6667"/>
                      <a:pt x="53816" y="10287"/>
                      <a:pt x="55626" y="14954"/>
                    </a:cubicBezTo>
                    <a:cubicBezTo>
                      <a:pt x="57436" y="19621"/>
                      <a:pt x="58293" y="24955"/>
                      <a:pt x="58293" y="31051"/>
                    </a:cubicBezTo>
                    <a:cubicBezTo>
                      <a:pt x="58293" y="37147"/>
                      <a:pt x="57340" y="42672"/>
                      <a:pt x="55436" y="47530"/>
                    </a:cubicBezTo>
                    <a:cubicBezTo>
                      <a:pt x="53530" y="52388"/>
                      <a:pt x="50768" y="56007"/>
                      <a:pt x="47054" y="58674"/>
                    </a:cubicBezTo>
                    <a:cubicBezTo>
                      <a:pt x="43339" y="61341"/>
                      <a:pt x="39053" y="62674"/>
                      <a:pt x="34004" y="62674"/>
                    </a:cubicBezTo>
                    <a:cubicBezTo>
                      <a:pt x="30289" y="62674"/>
                      <a:pt x="26861" y="61913"/>
                      <a:pt x="23622" y="60388"/>
                    </a:cubicBezTo>
                    <a:cubicBezTo>
                      <a:pt x="20383" y="58864"/>
                      <a:pt x="18002" y="56388"/>
                      <a:pt x="16192" y="53054"/>
                    </a:cubicBezTo>
                    <a:lnTo>
                      <a:pt x="15812" y="53054"/>
                    </a:lnTo>
                    <a:cubicBezTo>
                      <a:pt x="15812" y="53054"/>
                      <a:pt x="16002" y="54673"/>
                      <a:pt x="16002" y="56674"/>
                    </a:cubicBezTo>
                    <a:cubicBezTo>
                      <a:pt x="16002" y="58674"/>
                      <a:pt x="16097" y="60484"/>
                      <a:pt x="16097" y="62103"/>
                    </a:cubicBezTo>
                    <a:lnTo>
                      <a:pt x="16097" y="85344"/>
                    </a:lnTo>
                    <a:lnTo>
                      <a:pt x="381" y="85344"/>
                    </a:lnTo>
                    <a:lnTo>
                      <a:pt x="381" y="15049"/>
                    </a:lnTo>
                    <a:close/>
                    <a:moveTo>
                      <a:pt x="38481" y="45529"/>
                    </a:moveTo>
                    <a:cubicBezTo>
                      <a:pt x="40767" y="42386"/>
                      <a:pt x="41910" y="37528"/>
                      <a:pt x="41910" y="31051"/>
                    </a:cubicBezTo>
                    <a:cubicBezTo>
                      <a:pt x="41910" y="24955"/>
                      <a:pt x="40767" y="20383"/>
                      <a:pt x="38576" y="17240"/>
                    </a:cubicBezTo>
                    <a:cubicBezTo>
                      <a:pt x="36386" y="14097"/>
                      <a:pt x="33338" y="12573"/>
                      <a:pt x="29432" y="12573"/>
                    </a:cubicBezTo>
                    <a:cubicBezTo>
                      <a:pt x="27051" y="12573"/>
                      <a:pt x="24860" y="13144"/>
                      <a:pt x="22860" y="14383"/>
                    </a:cubicBezTo>
                    <a:cubicBezTo>
                      <a:pt x="20860" y="15621"/>
                      <a:pt x="19145" y="17621"/>
                      <a:pt x="17907" y="20383"/>
                    </a:cubicBezTo>
                    <a:cubicBezTo>
                      <a:pt x="16669" y="23146"/>
                      <a:pt x="15907" y="26956"/>
                      <a:pt x="15907" y="31528"/>
                    </a:cubicBezTo>
                    <a:cubicBezTo>
                      <a:pt x="15907" y="36100"/>
                      <a:pt x="16573" y="39719"/>
                      <a:pt x="17812" y="42481"/>
                    </a:cubicBezTo>
                    <a:cubicBezTo>
                      <a:pt x="19050" y="45244"/>
                      <a:pt x="20764" y="47244"/>
                      <a:pt x="22765" y="48482"/>
                    </a:cubicBezTo>
                    <a:cubicBezTo>
                      <a:pt x="24765" y="49720"/>
                      <a:pt x="26956" y="50292"/>
                      <a:pt x="29242" y="50292"/>
                    </a:cubicBezTo>
                    <a:cubicBezTo>
                      <a:pt x="33052" y="50292"/>
                      <a:pt x="36100" y="48673"/>
                      <a:pt x="38386" y="45529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50" name="Freeform: Shape 183">
                <a:extLst>
                  <a:ext uri="{FF2B5EF4-FFF2-40B4-BE49-F238E27FC236}">
                    <a16:creationId xmlns:a16="http://schemas.microsoft.com/office/drawing/2014/main" id="{03A2959C-4B5B-DFE8-929F-771616E7EB53}"/>
                  </a:ext>
                </a:extLst>
              </p:cNvPr>
              <p:cNvSpPr/>
              <p:nvPr/>
            </p:nvSpPr>
            <p:spPr>
              <a:xfrm>
                <a:off x="5705093" y="3205924"/>
                <a:ext cx="55245" cy="62769"/>
              </a:xfrm>
              <a:custGeom>
                <a:avLst/>
                <a:gdLst>
                  <a:gd name="connsiteX0" fmla="*/ 7715 w 55245"/>
                  <a:gd name="connsiteY0" fmla="*/ 54769 h 62769"/>
                  <a:gd name="connsiteX1" fmla="*/ 0 w 55245"/>
                  <a:gd name="connsiteY1" fmla="*/ 31242 h 62769"/>
                  <a:gd name="connsiteX2" fmla="*/ 3810 w 55245"/>
                  <a:gd name="connsiteY2" fmla="*/ 13716 h 62769"/>
                  <a:gd name="connsiteX3" fmla="*/ 14097 w 55245"/>
                  <a:gd name="connsiteY3" fmla="*/ 3334 h 62769"/>
                  <a:gd name="connsiteX4" fmla="*/ 28480 w 55245"/>
                  <a:gd name="connsiteY4" fmla="*/ 0 h 62769"/>
                  <a:gd name="connsiteX5" fmla="*/ 43720 w 55245"/>
                  <a:gd name="connsiteY5" fmla="*/ 4000 h 62769"/>
                  <a:gd name="connsiteX6" fmla="*/ 52483 w 55245"/>
                  <a:gd name="connsiteY6" fmla="*/ 14478 h 62769"/>
                  <a:gd name="connsiteX7" fmla="*/ 55245 w 55245"/>
                  <a:gd name="connsiteY7" fmla="*/ 29146 h 62769"/>
                  <a:gd name="connsiteX8" fmla="*/ 54864 w 55245"/>
                  <a:gd name="connsiteY8" fmla="*/ 35433 h 62769"/>
                  <a:gd name="connsiteX9" fmla="*/ 16478 w 55245"/>
                  <a:gd name="connsiteY9" fmla="*/ 35433 h 62769"/>
                  <a:gd name="connsiteX10" fmla="*/ 19812 w 55245"/>
                  <a:gd name="connsiteY10" fmla="*/ 46577 h 62769"/>
                  <a:gd name="connsiteX11" fmla="*/ 30194 w 55245"/>
                  <a:gd name="connsiteY11" fmla="*/ 50673 h 62769"/>
                  <a:gd name="connsiteX12" fmla="*/ 35909 w 55245"/>
                  <a:gd name="connsiteY12" fmla="*/ 50006 h 62769"/>
                  <a:gd name="connsiteX13" fmla="*/ 40958 w 55245"/>
                  <a:gd name="connsiteY13" fmla="*/ 48006 h 62769"/>
                  <a:gd name="connsiteX14" fmla="*/ 46958 w 55245"/>
                  <a:gd name="connsiteY14" fmla="*/ 44196 h 62769"/>
                  <a:gd name="connsiteX15" fmla="*/ 53340 w 55245"/>
                  <a:gd name="connsiteY15" fmla="*/ 54388 h 62769"/>
                  <a:gd name="connsiteX16" fmla="*/ 42672 w 55245"/>
                  <a:gd name="connsiteY16" fmla="*/ 60579 h 62769"/>
                  <a:gd name="connsiteX17" fmla="*/ 29432 w 55245"/>
                  <a:gd name="connsiteY17" fmla="*/ 62770 h 62769"/>
                  <a:gd name="connsiteX18" fmla="*/ 7811 w 55245"/>
                  <a:gd name="connsiteY18" fmla="*/ 54864 h 62769"/>
                  <a:gd name="connsiteX19" fmla="*/ 40005 w 55245"/>
                  <a:gd name="connsiteY19" fmla="*/ 24765 h 62769"/>
                  <a:gd name="connsiteX20" fmla="*/ 36862 w 55245"/>
                  <a:gd name="connsiteY20" fmla="*/ 14764 h 62769"/>
                  <a:gd name="connsiteX21" fmla="*/ 28385 w 55245"/>
                  <a:gd name="connsiteY21" fmla="*/ 11525 h 62769"/>
                  <a:gd name="connsiteX22" fmla="*/ 20003 w 55245"/>
                  <a:gd name="connsiteY22" fmla="*/ 14764 h 62769"/>
                  <a:gd name="connsiteX23" fmla="*/ 16669 w 55245"/>
                  <a:gd name="connsiteY23" fmla="*/ 24765 h 62769"/>
                  <a:gd name="connsiteX24" fmla="*/ 40100 w 55245"/>
                  <a:gd name="connsiteY24" fmla="*/ 24765 h 627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55245" h="62769">
                    <a:moveTo>
                      <a:pt x="7715" y="54769"/>
                    </a:moveTo>
                    <a:cubicBezTo>
                      <a:pt x="2572" y="49530"/>
                      <a:pt x="0" y="41624"/>
                      <a:pt x="0" y="31242"/>
                    </a:cubicBezTo>
                    <a:cubicBezTo>
                      <a:pt x="0" y="24289"/>
                      <a:pt x="1238" y="18383"/>
                      <a:pt x="3810" y="13716"/>
                    </a:cubicBezTo>
                    <a:cubicBezTo>
                      <a:pt x="6382" y="9049"/>
                      <a:pt x="9811" y="5620"/>
                      <a:pt x="14097" y="3334"/>
                    </a:cubicBezTo>
                    <a:cubicBezTo>
                      <a:pt x="18383" y="1048"/>
                      <a:pt x="23146" y="0"/>
                      <a:pt x="28480" y="0"/>
                    </a:cubicBezTo>
                    <a:cubicBezTo>
                      <a:pt x="34576" y="0"/>
                      <a:pt x="39719" y="1333"/>
                      <a:pt x="43720" y="4000"/>
                    </a:cubicBezTo>
                    <a:cubicBezTo>
                      <a:pt x="47720" y="6667"/>
                      <a:pt x="50673" y="10192"/>
                      <a:pt x="52483" y="14478"/>
                    </a:cubicBezTo>
                    <a:cubicBezTo>
                      <a:pt x="54293" y="18764"/>
                      <a:pt x="55245" y="23717"/>
                      <a:pt x="55245" y="29146"/>
                    </a:cubicBezTo>
                    <a:cubicBezTo>
                      <a:pt x="55245" y="31242"/>
                      <a:pt x="55150" y="33338"/>
                      <a:pt x="54864" y="35433"/>
                    </a:cubicBezTo>
                    <a:lnTo>
                      <a:pt x="16478" y="35433"/>
                    </a:lnTo>
                    <a:cubicBezTo>
                      <a:pt x="16478" y="40100"/>
                      <a:pt x="17621" y="43815"/>
                      <a:pt x="19812" y="46577"/>
                    </a:cubicBezTo>
                    <a:cubicBezTo>
                      <a:pt x="22003" y="49339"/>
                      <a:pt x="25527" y="50673"/>
                      <a:pt x="30194" y="50673"/>
                    </a:cubicBezTo>
                    <a:cubicBezTo>
                      <a:pt x="32290" y="50673"/>
                      <a:pt x="34195" y="50483"/>
                      <a:pt x="35909" y="50006"/>
                    </a:cubicBezTo>
                    <a:cubicBezTo>
                      <a:pt x="37624" y="49530"/>
                      <a:pt x="39338" y="48863"/>
                      <a:pt x="40958" y="48006"/>
                    </a:cubicBezTo>
                    <a:cubicBezTo>
                      <a:pt x="42577" y="47149"/>
                      <a:pt x="44577" y="45815"/>
                      <a:pt x="46958" y="44196"/>
                    </a:cubicBezTo>
                    <a:lnTo>
                      <a:pt x="53340" y="54388"/>
                    </a:lnTo>
                    <a:cubicBezTo>
                      <a:pt x="49816" y="57055"/>
                      <a:pt x="46196" y="59150"/>
                      <a:pt x="42672" y="60579"/>
                    </a:cubicBezTo>
                    <a:cubicBezTo>
                      <a:pt x="39148" y="62008"/>
                      <a:pt x="34671" y="62770"/>
                      <a:pt x="29432" y="62770"/>
                    </a:cubicBezTo>
                    <a:cubicBezTo>
                      <a:pt x="20193" y="62770"/>
                      <a:pt x="12954" y="60103"/>
                      <a:pt x="7811" y="54864"/>
                    </a:cubicBezTo>
                    <a:close/>
                    <a:moveTo>
                      <a:pt x="40005" y="24765"/>
                    </a:moveTo>
                    <a:cubicBezTo>
                      <a:pt x="39815" y="20193"/>
                      <a:pt x="38767" y="16859"/>
                      <a:pt x="36862" y="14764"/>
                    </a:cubicBezTo>
                    <a:cubicBezTo>
                      <a:pt x="34957" y="12668"/>
                      <a:pt x="32099" y="11525"/>
                      <a:pt x="28385" y="11525"/>
                    </a:cubicBezTo>
                    <a:cubicBezTo>
                      <a:pt x="24670" y="11525"/>
                      <a:pt x="22098" y="12573"/>
                      <a:pt x="20003" y="14764"/>
                    </a:cubicBezTo>
                    <a:cubicBezTo>
                      <a:pt x="17907" y="16954"/>
                      <a:pt x="16764" y="20288"/>
                      <a:pt x="16669" y="24765"/>
                    </a:cubicBezTo>
                    <a:lnTo>
                      <a:pt x="40100" y="24765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51" name="Freeform: Shape 184">
                <a:extLst>
                  <a:ext uri="{FF2B5EF4-FFF2-40B4-BE49-F238E27FC236}">
                    <a16:creationId xmlns:a16="http://schemas.microsoft.com/office/drawing/2014/main" id="{96591695-A88A-ADE8-CA8F-CD3840DB37CF}"/>
                  </a:ext>
                </a:extLst>
              </p:cNvPr>
              <p:cNvSpPr/>
              <p:nvPr/>
            </p:nvSpPr>
            <p:spPr>
              <a:xfrm>
                <a:off x="5771768" y="3205924"/>
                <a:ext cx="55149" cy="61721"/>
              </a:xfrm>
              <a:custGeom>
                <a:avLst/>
                <a:gdLst>
                  <a:gd name="connsiteX0" fmla="*/ 381 w 55149"/>
                  <a:gd name="connsiteY0" fmla="*/ 14668 h 61721"/>
                  <a:gd name="connsiteX1" fmla="*/ 286 w 55149"/>
                  <a:gd name="connsiteY1" fmla="*/ 6763 h 61721"/>
                  <a:gd name="connsiteX2" fmla="*/ 0 w 55149"/>
                  <a:gd name="connsiteY2" fmla="*/ 1238 h 61721"/>
                  <a:gd name="connsiteX3" fmla="*/ 14954 w 55149"/>
                  <a:gd name="connsiteY3" fmla="*/ 1238 h 61721"/>
                  <a:gd name="connsiteX4" fmla="*/ 15430 w 55149"/>
                  <a:gd name="connsiteY4" fmla="*/ 6191 h 61721"/>
                  <a:gd name="connsiteX5" fmla="*/ 15716 w 55149"/>
                  <a:gd name="connsiteY5" fmla="*/ 12097 h 61721"/>
                  <a:gd name="connsiteX6" fmla="*/ 15907 w 55149"/>
                  <a:gd name="connsiteY6" fmla="*/ 12097 h 61721"/>
                  <a:gd name="connsiteX7" fmla="*/ 23908 w 55149"/>
                  <a:gd name="connsiteY7" fmla="*/ 2953 h 61721"/>
                  <a:gd name="connsiteX8" fmla="*/ 35338 w 55149"/>
                  <a:gd name="connsiteY8" fmla="*/ 0 h 61721"/>
                  <a:gd name="connsiteX9" fmla="*/ 50387 w 55149"/>
                  <a:gd name="connsiteY9" fmla="*/ 6382 h 61721"/>
                  <a:gd name="connsiteX10" fmla="*/ 55150 w 55149"/>
                  <a:gd name="connsiteY10" fmla="*/ 23336 h 61721"/>
                  <a:gd name="connsiteX11" fmla="*/ 55150 w 55149"/>
                  <a:gd name="connsiteY11" fmla="*/ 61627 h 61721"/>
                  <a:gd name="connsiteX12" fmla="*/ 39529 w 55149"/>
                  <a:gd name="connsiteY12" fmla="*/ 61627 h 61721"/>
                  <a:gd name="connsiteX13" fmla="*/ 39529 w 55149"/>
                  <a:gd name="connsiteY13" fmla="*/ 27813 h 61721"/>
                  <a:gd name="connsiteX14" fmla="*/ 37243 w 55149"/>
                  <a:gd name="connsiteY14" fmla="*/ 17240 h 61721"/>
                  <a:gd name="connsiteX15" fmla="*/ 29337 w 55149"/>
                  <a:gd name="connsiteY15" fmla="*/ 13525 h 61721"/>
                  <a:gd name="connsiteX16" fmla="*/ 22574 w 55149"/>
                  <a:gd name="connsiteY16" fmla="*/ 15526 h 61721"/>
                  <a:gd name="connsiteX17" fmla="*/ 17812 w 55149"/>
                  <a:gd name="connsiteY17" fmla="*/ 21146 h 61721"/>
                  <a:gd name="connsiteX18" fmla="*/ 16097 w 55149"/>
                  <a:gd name="connsiteY18" fmla="*/ 29337 h 61721"/>
                  <a:gd name="connsiteX19" fmla="*/ 16097 w 55149"/>
                  <a:gd name="connsiteY19" fmla="*/ 61722 h 61721"/>
                  <a:gd name="connsiteX20" fmla="*/ 381 w 55149"/>
                  <a:gd name="connsiteY20" fmla="*/ 61722 h 61721"/>
                  <a:gd name="connsiteX21" fmla="*/ 381 w 55149"/>
                  <a:gd name="connsiteY21" fmla="*/ 14859 h 617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55149" h="61721">
                    <a:moveTo>
                      <a:pt x="381" y="14668"/>
                    </a:moveTo>
                    <a:cubicBezTo>
                      <a:pt x="381" y="12097"/>
                      <a:pt x="381" y="9430"/>
                      <a:pt x="286" y="6763"/>
                    </a:cubicBezTo>
                    <a:cubicBezTo>
                      <a:pt x="191" y="4096"/>
                      <a:pt x="95" y="2191"/>
                      <a:pt x="0" y="1238"/>
                    </a:cubicBezTo>
                    <a:lnTo>
                      <a:pt x="14954" y="1238"/>
                    </a:lnTo>
                    <a:cubicBezTo>
                      <a:pt x="15145" y="2096"/>
                      <a:pt x="15240" y="3715"/>
                      <a:pt x="15430" y="6191"/>
                    </a:cubicBezTo>
                    <a:cubicBezTo>
                      <a:pt x="15621" y="8668"/>
                      <a:pt x="15716" y="10668"/>
                      <a:pt x="15716" y="12097"/>
                    </a:cubicBezTo>
                    <a:lnTo>
                      <a:pt x="15907" y="12097"/>
                    </a:lnTo>
                    <a:cubicBezTo>
                      <a:pt x="18002" y="8001"/>
                      <a:pt x="20669" y="4953"/>
                      <a:pt x="23908" y="2953"/>
                    </a:cubicBezTo>
                    <a:cubicBezTo>
                      <a:pt x="27146" y="952"/>
                      <a:pt x="30956" y="0"/>
                      <a:pt x="35338" y="0"/>
                    </a:cubicBezTo>
                    <a:cubicBezTo>
                      <a:pt x="42196" y="0"/>
                      <a:pt x="47244" y="2096"/>
                      <a:pt x="50387" y="6382"/>
                    </a:cubicBezTo>
                    <a:cubicBezTo>
                      <a:pt x="53530" y="10668"/>
                      <a:pt x="55150" y="16288"/>
                      <a:pt x="55150" y="23336"/>
                    </a:cubicBezTo>
                    <a:lnTo>
                      <a:pt x="55150" y="61627"/>
                    </a:lnTo>
                    <a:lnTo>
                      <a:pt x="39529" y="61627"/>
                    </a:lnTo>
                    <a:lnTo>
                      <a:pt x="39529" y="27813"/>
                    </a:lnTo>
                    <a:cubicBezTo>
                      <a:pt x="39529" y="23241"/>
                      <a:pt x="38767" y="19717"/>
                      <a:pt x="37243" y="17240"/>
                    </a:cubicBezTo>
                    <a:cubicBezTo>
                      <a:pt x="35719" y="14764"/>
                      <a:pt x="33052" y="13525"/>
                      <a:pt x="29337" y="13525"/>
                    </a:cubicBezTo>
                    <a:cubicBezTo>
                      <a:pt x="26765" y="13525"/>
                      <a:pt x="24575" y="14192"/>
                      <a:pt x="22574" y="15526"/>
                    </a:cubicBezTo>
                    <a:cubicBezTo>
                      <a:pt x="20574" y="16859"/>
                      <a:pt x="18955" y="18669"/>
                      <a:pt x="17812" y="21146"/>
                    </a:cubicBezTo>
                    <a:cubicBezTo>
                      <a:pt x="16669" y="23622"/>
                      <a:pt x="16097" y="26289"/>
                      <a:pt x="16097" y="29337"/>
                    </a:cubicBezTo>
                    <a:lnTo>
                      <a:pt x="16097" y="61722"/>
                    </a:lnTo>
                    <a:lnTo>
                      <a:pt x="381" y="61722"/>
                    </a:lnTo>
                    <a:lnTo>
                      <a:pt x="381" y="14859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52" name="Freeform: Shape 185">
                <a:extLst>
                  <a:ext uri="{FF2B5EF4-FFF2-40B4-BE49-F238E27FC236}">
                    <a16:creationId xmlns:a16="http://schemas.microsoft.com/office/drawing/2014/main" id="{55707DAB-2E43-199B-0B4F-EB19DBF61A48}"/>
                  </a:ext>
                </a:extLst>
              </p:cNvPr>
              <p:cNvSpPr/>
              <p:nvPr/>
            </p:nvSpPr>
            <p:spPr>
              <a:xfrm>
                <a:off x="5838729" y="3184588"/>
                <a:ext cx="58197" cy="84010"/>
              </a:xfrm>
              <a:custGeom>
                <a:avLst/>
                <a:gdLst>
                  <a:gd name="connsiteX0" fmla="*/ 10763 w 58197"/>
                  <a:gd name="connsiteY0" fmla="*/ 80010 h 84010"/>
                  <a:gd name="connsiteX1" fmla="*/ 2667 w 58197"/>
                  <a:gd name="connsiteY1" fmla="*/ 68961 h 84010"/>
                  <a:gd name="connsiteX2" fmla="*/ 0 w 58197"/>
                  <a:gd name="connsiteY2" fmla="*/ 52673 h 84010"/>
                  <a:gd name="connsiteX3" fmla="*/ 2858 w 58197"/>
                  <a:gd name="connsiteY3" fmla="*/ 36386 h 84010"/>
                  <a:gd name="connsiteX4" fmla="*/ 11335 w 58197"/>
                  <a:gd name="connsiteY4" fmla="*/ 25337 h 84010"/>
                  <a:gd name="connsiteX5" fmla="*/ 25051 w 58197"/>
                  <a:gd name="connsiteY5" fmla="*/ 21336 h 84010"/>
                  <a:gd name="connsiteX6" fmla="*/ 35052 w 58197"/>
                  <a:gd name="connsiteY6" fmla="*/ 23717 h 84010"/>
                  <a:gd name="connsiteX7" fmla="*/ 42101 w 58197"/>
                  <a:gd name="connsiteY7" fmla="*/ 30861 h 84010"/>
                  <a:gd name="connsiteX8" fmla="*/ 42196 w 58197"/>
                  <a:gd name="connsiteY8" fmla="*/ 30861 h 84010"/>
                  <a:gd name="connsiteX9" fmla="*/ 42196 w 58197"/>
                  <a:gd name="connsiteY9" fmla="*/ 28194 h 84010"/>
                  <a:gd name="connsiteX10" fmla="*/ 42196 w 58197"/>
                  <a:gd name="connsiteY10" fmla="*/ 22003 h 84010"/>
                  <a:gd name="connsiteX11" fmla="*/ 42196 w 58197"/>
                  <a:gd name="connsiteY11" fmla="*/ 0 h 84010"/>
                  <a:gd name="connsiteX12" fmla="*/ 57817 w 58197"/>
                  <a:gd name="connsiteY12" fmla="*/ 0 h 84010"/>
                  <a:gd name="connsiteX13" fmla="*/ 57817 w 58197"/>
                  <a:gd name="connsiteY13" fmla="*/ 69723 h 84010"/>
                  <a:gd name="connsiteX14" fmla="*/ 57912 w 58197"/>
                  <a:gd name="connsiteY14" fmla="*/ 76962 h 84010"/>
                  <a:gd name="connsiteX15" fmla="*/ 58103 w 58197"/>
                  <a:gd name="connsiteY15" fmla="*/ 81058 h 84010"/>
                  <a:gd name="connsiteX16" fmla="*/ 58198 w 58197"/>
                  <a:gd name="connsiteY16" fmla="*/ 82867 h 84010"/>
                  <a:gd name="connsiteX17" fmla="*/ 43053 w 58197"/>
                  <a:gd name="connsiteY17" fmla="*/ 82867 h 84010"/>
                  <a:gd name="connsiteX18" fmla="*/ 42482 w 58197"/>
                  <a:gd name="connsiteY18" fmla="*/ 79153 h 84010"/>
                  <a:gd name="connsiteX19" fmla="*/ 42196 w 58197"/>
                  <a:gd name="connsiteY19" fmla="*/ 74200 h 84010"/>
                  <a:gd name="connsiteX20" fmla="*/ 42005 w 58197"/>
                  <a:gd name="connsiteY20" fmla="*/ 74200 h 84010"/>
                  <a:gd name="connsiteX21" fmla="*/ 34766 w 58197"/>
                  <a:gd name="connsiteY21" fmla="*/ 81629 h 84010"/>
                  <a:gd name="connsiteX22" fmla="*/ 23908 w 58197"/>
                  <a:gd name="connsiteY22" fmla="*/ 84011 h 84010"/>
                  <a:gd name="connsiteX23" fmla="*/ 10859 w 58197"/>
                  <a:gd name="connsiteY23" fmla="*/ 80010 h 84010"/>
                  <a:gd name="connsiteX24" fmla="*/ 35338 w 58197"/>
                  <a:gd name="connsiteY24" fmla="*/ 69723 h 84010"/>
                  <a:gd name="connsiteX25" fmla="*/ 40386 w 58197"/>
                  <a:gd name="connsiteY25" fmla="*/ 63627 h 84010"/>
                  <a:gd name="connsiteX26" fmla="*/ 42386 w 58197"/>
                  <a:gd name="connsiteY26" fmla="*/ 52388 h 84010"/>
                  <a:gd name="connsiteX27" fmla="*/ 38481 w 58197"/>
                  <a:gd name="connsiteY27" fmla="*/ 38005 h 84010"/>
                  <a:gd name="connsiteX28" fmla="*/ 28956 w 58197"/>
                  <a:gd name="connsiteY28" fmla="*/ 33719 h 84010"/>
                  <a:gd name="connsiteX29" fmla="*/ 19812 w 58197"/>
                  <a:gd name="connsiteY29" fmla="*/ 38386 h 84010"/>
                  <a:gd name="connsiteX30" fmla="*/ 16383 w 58197"/>
                  <a:gd name="connsiteY30" fmla="*/ 52673 h 84010"/>
                  <a:gd name="connsiteX31" fmla="*/ 19717 w 58197"/>
                  <a:gd name="connsiteY31" fmla="*/ 66675 h 84010"/>
                  <a:gd name="connsiteX32" fmla="*/ 28861 w 58197"/>
                  <a:gd name="connsiteY32" fmla="*/ 71533 h 84010"/>
                  <a:gd name="connsiteX33" fmla="*/ 35433 w 58197"/>
                  <a:gd name="connsiteY33" fmla="*/ 69723 h 84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58197" h="84010">
                    <a:moveTo>
                      <a:pt x="10763" y="80010"/>
                    </a:moveTo>
                    <a:cubicBezTo>
                      <a:pt x="7144" y="77343"/>
                      <a:pt x="4477" y="73628"/>
                      <a:pt x="2667" y="68961"/>
                    </a:cubicBezTo>
                    <a:cubicBezTo>
                      <a:pt x="857" y="64294"/>
                      <a:pt x="0" y="58865"/>
                      <a:pt x="0" y="52673"/>
                    </a:cubicBezTo>
                    <a:cubicBezTo>
                      <a:pt x="0" y="46482"/>
                      <a:pt x="953" y="41148"/>
                      <a:pt x="2858" y="36386"/>
                    </a:cubicBezTo>
                    <a:cubicBezTo>
                      <a:pt x="4763" y="31623"/>
                      <a:pt x="7620" y="28004"/>
                      <a:pt x="11335" y="25337"/>
                    </a:cubicBezTo>
                    <a:cubicBezTo>
                      <a:pt x="15050" y="22670"/>
                      <a:pt x="19621" y="21336"/>
                      <a:pt x="25051" y="21336"/>
                    </a:cubicBezTo>
                    <a:cubicBezTo>
                      <a:pt x="28670" y="21336"/>
                      <a:pt x="31909" y="22098"/>
                      <a:pt x="35052" y="23717"/>
                    </a:cubicBezTo>
                    <a:cubicBezTo>
                      <a:pt x="38195" y="25337"/>
                      <a:pt x="40481" y="27623"/>
                      <a:pt x="42101" y="30861"/>
                    </a:cubicBezTo>
                    <a:lnTo>
                      <a:pt x="42196" y="30861"/>
                    </a:lnTo>
                    <a:cubicBezTo>
                      <a:pt x="42196" y="29908"/>
                      <a:pt x="42196" y="29051"/>
                      <a:pt x="42196" y="28194"/>
                    </a:cubicBezTo>
                    <a:lnTo>
                      <a:pt x="42196" y="22003"/>
                    </a:lnTo>
                    <a:cubicBezTo>
                      <a:pt x="42196" y="22003"/>
                      <a:pt x="42196" y="0"/>
                      <a:pt x="42196" y="0"/>
                    </a:cubicBezTo>
                    <a:lnTo>
                      <a:pt x="57817" y="0"/>
                    </a:lnTo>
                    <a:lnTo>
                      <a:pt x="57817" y="69723"/>
                    </a:lnTo>
                    <a:cubicBezTo>
                      <a:pt x="57817" y="72295"/>
                      <a:pt x="57817" y="74676"/>
                      <a:pt x="57912" y="76962"/>
                    </a:cubicBezTo>
                    <a:cubicBezTo>
                      <a:pt x="58007" y="79248"/>
                      <a:pt x="58103" y="80582"/>
                      <a:pt x="58103" y="81058"/>
                    </a:cubicBezTo>
                    <a:cubicBezTo>
                      <a:pt x="58103" y="82010"/>
                      <a:pt x="58198" y="82677"/>
                      <a:pt x="58198" y="82867"/>
                    </a:cubicBezTo>
                    <a:lnTo>
                      <a:pt x="43053" y="82867"/>
                    </a:lnTo>
                    <a:cubicBezTo>
                      <a:pt x="42863" y="82391"/>
                      <a:pt x="42672" y="81153"/>
                      <a:pt x="42482" y="79153"/>
                    </a:cubicBezTo>
                    <a:cubicBezTo>
                      <a:pt x="42291" y="77153"/>
                      <a:pt x="42196" y="75533"/>
                      <a:pt x="42196" y="74200"/>
                    </a:cubicBezTo>
                    <a:lnTo>
                      <a:pt x="42005" y="74200"/>
                    </a:lnTo>
                    <a:cubicBezTo>
                      <a:pt x="40291" y="77533"/>
                      <a:pt x="37910" y="80010"/>
                      <a:pt x="34766" y="81629"/>
                    </a:cubicBezTo>
                    <a:cubicBezTo>
                      <a:pt x="31623" y="83249"/>
                      <a:pt x="28004" y="84011"/>
                      <a:pt x="23908" y="84011"/>
                    </a:cubicBezTo>
                    <a:cubicBezTo>
                      <a:pt x="18764" y="84011"/>
                      <a:pt x="14383" y="82677"/>
                      <a:pt x="10859" y="80010"/>
                    </a:cubicBezTo>
                    <a:close/>
                    <a:moveTo>
                      <a:pt x="35338" y="69723"/>
                    </a:moveTo>
                    <a:cubicBezTo>
                      <a:pt x="37338" y="68485"/>
                      <a:pt x="39053" y="66485"/>
                      <a:pt x="40386" y="63627"/>
                    </a:cubicBezTo>
                    <a:cubicBezTo>
                      <a:pt x="41720" y="60770"/>
                      <a:pt x="42386" y="57055"/>
                      <a:pt x="42386" y="52388"/>
                    </a:cubicBezTo>
                    <a:cubicBezTo>
                      <a:pt x="42386" y="45720"/>
                      <a:pt x="41053" y="40862"/>
                      <a:pt x="38481" y="38005"/>
                    </a:cubicBezTo>
                    <a:cubicBezTo>
                      <a:pt x="35909" y="35147"/>
                      <a:pt x="32766" y="33719"/>
                      <a:pt x="28956" y="33719"/>
                    </a:cubicBezTo>
                    <a:cubicBezTo>
                      <a:pt x="25146" y="33719"/>
                      <a:pt x="22098" y="35242"/>
                      <a:pt x="19812" y="38386"/>
                    </a:cubicBezTo>
                    <a:cubicBezTo>
                      <a:pt x="17526" y="41529"/>
                      <a:pt x="16383" y="46292"/>
                      <a:pt x="16383" y="52673"/>
                    </a:cubicBezTo>
                    <a:cubicBezTo>
                      <a:pt x="16383" y="59055"/>
                      <a:pt x="17526" y="63437"/>
                      <a:pt x="19717" y="66675"/>
                    </a:cubicBezTo>
                    <a:cubicBezTo>
                      <a:pt x="21908" y="69913"/>
                      <a:pt x="24955" y="71533"/>
                      <a:pt x="28861" y="71533"/>
                    </a:cubicBezTo>
                    <a:cubicBezTo>
                      <a:pt x="31147" y="71533"/>
                      <a:pt x="33338" y="70961"/>
                      <a:pt x="35433" y="69723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53" name="Freeform: Shape 186">
                <a:extLst>
                  <a:ext uri="{FF2B5EF4-FFF2-40B4-BE49-F238E27FC236}">
                    <a16:creationId xmlns:a16="http://schemas.microsoft.com/office/drawing/2014/main" id="{D13F3679-D3F6-D20A-6E1B-463A3E4214D7}"/>
                  </a:ext>
                </a:extLst>
              </p:cNvPr>
              <p:cNvSpPr/>
              <p:nvPr/>
            </p:nvSpPr>
            <p:spPr>
              <a:xfrm>
                <a:off x="5943790" y="3205924"/>
                <a:ext cx="87058" cy="61721"/>
              </a:xfrm>
              <a:custGeom>
                <a:avLst/>
                <a:gdLst>
                  <a:gd name="connsiteX0" fmla="*/ 381 w 87058"/>
                  <a:gd name="connsiteY0" fmla="*/ 14668 h 61721"/>
                  <a:gd name="connsiteX1" fmla="*/ 286 w 87058"/>
                  <a:gd name="connsiteY1" fmla="*/ 6763 h 61721"/>
                  <a:gd name="connsiteX2" fmla="*/ 0 w 87058"/>
                  <a:gd name="connsiteY2" fmla="*/ 1238 h 61721"/>
                  <a:gd name="connsiteX3" fmla="*/ 14954 w 87058"/>
                  <a:gd name="connsiteY3" fmla="*/ 1238 h 61721"/>
                  <a:gd name="connsiteX4" fmla="*/ 15431 w 87058"/>
                  <a:gd name="connsiteY4" fmla="*/ 6191 h 61721"/>
                  <a:gd name="connsiteX5" fmla="*/ 15716 w 87058"/>
                  <a:gd name="connsiteY5" fmla="*/ 12097 h 61721"/>
                  <a:gd name="connsiteX6" fmla="*/ 15907 w 87058"/>
                  <a:gd name="connsiteY6" fmla="*/ 12097 h 61721"/>
                  <a:gd name="connsiteX7" fmla="*/ 23146 w 87058"/>
                  <a:gd name="connsiteY7" fmla="*/ 2953 h 61721"/>
                  <a:gd name="connsiteX8" fmla="*/ 33528 w 87058"/>
                  <a:gd name="connsiteY8" fmla="*/ 0 h 61721"/>
                  <a:gd name="connsiteX9" fmla="*/ 44577 w 87058"/>
                  <a:gd name="connsiteY9" fmla="*/ 3143 h 61721"/>
                  <a:gd name="connsiteX10" fmla="*/ 50292 w 87058"/>
                  <a:gd name="connsiteY10" fmla="*/ 12192 h 61721"/>
                  <a:gd name="connsiteX11" fmla="*/ 50673 w 87058"/>
                  <a:gd name="connsiteY11" fmla="*/ 12192 h 61721"/>
                  <a:gd name="connsiteX12" fmla="*/ 58103 w 87058"/>
                  <a:gd name="connsiteY12" fmla="*/ 2858 h 61721"/>
                  <a:gd name="connsiteX13" fmla="*/ 68961 w 87058"/>
                  <a:gd name="connsiteY13" fmla="*/ 95 h 61721"/>
                  <a:gd name="connsiteX14" fmla="*/ 82677 w 87058"/>
                  <a:gd name="connsiteY14" fmla="*/ 6477 h 61721"/>
                  <a:gd name="connsiteX15" fmla="*/ 87059 w 87058"/>
                  <a:gd name="connsiteY15" fmla="*/ 23431 h 61721"/>
                  <a:gd name="connsiteX16" fmla="*/ 87059 w 87058"/>
                  <a:gd name="connsiteY16" fmla="*/ 61722 h 61721"/>
                  <a:gd name="connsiteX17" fmla="*/ 71533 w 87058"/>
                  <a:gd name="connsiteY17" fmla="*/ 61722 h 61721"/>
                  <a:gd name="connsiteX18" fmla="*/ 71533 w 87058"/>
                  <a:gd name="connsiteY18" fmla="*/ 27908 h 61721"/>
                  <a:gd name="connsiteX19" fmla="*/ 69533 w 87058"/>
                  <a:gd name="connsiteY19" fmla="*/ 17431 h 61721"/>
                  <a:gd name="connsiteX20" fmla="*/ 62865 w 87058"/>
                  <a:gd name="connsiteY20" fmla="*/ 13716 h 61721"/>
                  <a:gd name="connsiteX21" fmla="*/ 57245 w 87058"/>
                  <a:gd name="connsiteY21" fmla="*/ 15621 h 61721"/>
                  <a:gd name="connsiteX22" fmla="*/ 53245 w 87058"/>
                  <a:gd name="connsiteY22" fmla="*/ 20860 h 61721"/>
                  <a:gd name="connsiteX23" fmla="*/ 51626 w 87058"/>
                  <a:gd name="connsiteY23" fmla="*/ 28575 h 61721"/>
                  <a:gd name="connsiteX24" fmla="*/ 51626 w 87058"/>
                  <a:gd name="connsiteY24" fmla="*/ 61722 h 61721"/>
                  <a:gd name="connsiteX25" fmla="*/ 36100 w 87058"/>
                  <a:gd name="connsiteY25" fmla="*/ 61722 h 61721"/>
                  <a:gd name="connsiteX26" fmla="*/ 36100 w 87058"/>
                  <a:gd name="connsiteY26" fmla="*/ 27908 h 61721"/>
                  <a:gd name="connsiteX27" fmla="*/ 34100 w 87058"/>
                  <a:gd name="connsiteY27" fmla="*/ 17431 h 61721"/>
                  <a:gd name="connsiteX28" fmla="*/ 27432 w 87058"/>
                  <a:gd name="connsiteY28" fmla="*/ 13716 h 61721"/>
                  <a:gd name="connsiteX29" fmla="*/ 21717 w 87058"/>
                  <a:gd name="connsiteY29" fmla="*/ 15716 h 61721"/>
                  <a:gd name="connsiteX30" fmla="*/ 17717 w 87058"/>
                  <a:gd name="connsiteY30" fmla="*/ 21241 h 61721"/>
                  <a:gd name="connsiteX31" fmla="*/ 16288 w 87058"/>
                  <a:gd name="connsiteY31" fmla="*/ 29337 h 61721"/>
                  <a:gd name="connsiteX32" fmla="*/ 16288 w 87058"/>
                  <a:gd name="connsiteY32" fmla="*/ 61722 h 61721"/>
                  <a:gd name="connsiteX33" fmla="*/ 571 w 87058"/>
                  <a:gd name="connsiteY33" fmla="*/ 61722 h 61721"/>
                  <a:gd name="connsiteX34" fmla="*/ 571 w 87058"/>
                  <a:gd name="connsiteY34" fmla="*/ 14859 h 617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87058" h="61721">
                    <a:moveTo>
                      <a:pt x="381" y="14668"/>
                    </a:moveTo>
                    <a:cubicBezTo>
                      <a:pt x="381" y="12097"/>
                      <a:pt x="381" y="9430"/>
                      <a:pt x="286" y="6763"/>
                    </a:cubicBezTo>
                    <a:cubicBezTo>
                      <a:pt x="191" y="4096"/>
                      <a:pt x="95" y="2191"/>
                      <a:pt x="0" y="1238"/>
                    </a:cubicBezTo>
                    <a:lnTo>
                      <a:pt x="14954" y="1238"/>
                    </a:lnTo>
                    <a:cubicBezTo>
                      <a:pt x="15145" y="2096"/>
                      <a:pt x="15240" y="3715"/>
                      <a:pt x="15431" y="6191"/>
                    </a:cubicBezTo>
                    <a:cubicBezTo>
                      <a:pt x="15621" y="8668"/>
                      <a:pt x="15716" y="10668"/>
                      <a:pt x="15716" y="12097"/>
                    </a:cubicBezTo>
                    <a:lnTo>
                      <a:pt x="15907" y="12097"/>
                    </a:lnTo>
                    <a:cubicBezTo>
                      <a:pt x="17812" y="8001"/>
                      <a:pt x="20193" y="4953"/>
                      <a:pt x="23146" y="2953"/>
                    </a:cubicBezTo>
                    <a:cubicBezTo>
                      <a:pt x="26099" y="952"/>
                      <a:pt x="29528" y="0"/>
                      <a:pt x="33528" y="0"/>
                    </a:cubicBezTo>
                    <a:cubicBezTo>
                      <a:pt x="38100" y="0"/>
                      <a:pt x="41720" y="1048"/>
                      <a:pt x="44577" y="3143"/>
                    </a:cubicBezTo>
                    <a:cubicBezTo>
                      <a:pt x="47435" y="5239"/>
                      <a:pt x="49340" y="8192"/>
                      <a:pt x="50292" y="12192"/>
                    </a:cubicBezTo>
                    <a:lnTo>
                      <a:pt x="50673" y="12192"/>
                    </a:lnTo>
                    <a:cubicBezTo>
                      <a:pt x="52673" y="7810"/>
                      <a:pt x="55245" y="4667"/>
                      <a:pt x="58103" y="2858"/>
                    </a:cubicBezTo>
                    <a:cubicBezTo>
                      <a:pt x="60960" y="1048"/>
                      <a:pt x="64675" y="95"/>
                      <a:pt x="68961" y="95"/>
                    </a:cubicBezTo>
                    <a:cubicBezTo>
                      <a:pt x="75248" y="95"/>
                      <a:pt x="79820" y="2191"/>
                      <a:pt x="82677" y="6477"/>
                    </a:cubicBezTo>
                    <a:cubicBezTo>
                      <a:pt x="85535" y="10763"/>
                      <a:pt x="87059" y="16383"/>
                      <a:pt x="87059" y="23431"/>
                    </a:cubicBezTo>
                    <a:lnTo>
                      <a:pt x="87059" y="61722"/>
                    </a:lnTo>
                    <a:lnTo>
                      <a:pt x="71533" y="61722"/>
                    </a:lnTo>
                    <a:lnTo>
                      <a:pt x="71533" y="27908"/>
                    </a:lnTo>
                    <a:cubicBezTo>
                      <a:pt x="71533" y="23336"/>
                      <a:pt x="70866" y="19907"/>
                      <a:pt x="69533" y="17431"/>
                    </a:cubicBezTo>
                    <a:cubicBezTo>
                      <a:pt x="68199" y="14954"/>
                      <a:pt x="66008" y="13716"/>
                      <a:pt x="62865" y="13716"/>
                    </a:cubicBezTo>
                    <a:cubicBezTo>
                      <a:pt x="60770" y="13716"/>
                      <a:pt x="58865" y="14383"/>
                      <a:pt x="57245" y="15621"/>
                    </a:cubicBezTo>
                    <a:cubicBezTo>
                      <a:pt x="55626" y="16859"/>
                      <a:pt x="54197" y="18574"/>
                      <a:pt x="53245" y="20860"/>
                    </a:cubicBezTo>
                    <a:cubicBezTo>
                      <a:pt x="52292" y="23146"/>
                      <a:pt x="51721" y="25717"/>
                      <a:pt x="51626" y="28575"/>
                    </a:cubicBezTo>
                    <a:lnTo>
                      <a:pt x="51626" y="61722"/>
                    </a:lnTo>
                    <a:lnTo>
                      <a:pt x="36100" y="61722"/>
                    </a:lnTo>
                    <a:lnTo>
                      <a:pt x="36100" y="27908"/>
                    </a:lnTo>
                    <a:cubicBezTo>
                      <a:pt x="36100" y="23336"/>
                      <a:pt x="35433" y="19907"/>
                      <a:pt x="34100" y="17431"/>
                    </a:cubicBezTo>
                    <a:cubicBezTo>
                      <a:pt x="32766" y="14954"/>
                      <a:pt x="30575" y="13716"/>
                      <a:pt x="27432" y="13716"/>
                    </a:cubicBezTo>
                    <a:cubicBezTo>
                      <a:pt x="25337" y="13716"/>
                      <a:pt x="23432" y="14383"/>
                      <a:pt x="21717" y="15716"/>
                    </a:cubicBezTo>
                    <a:cubicBezTo>
                      <a:pt x="20003" y="17050"/>
                      <a:pt x="18669" y="18859"/>
                      <a:pt x="17717" y="21241"/>
                    </a:cubicBezTo>
                    <a:cubicBezTo>
                      <a:pt x="16764" y="23622"/>
                      <a:pt x="16288" y="26289"/>
                      <a:pt x="16288" y="29337"/>
                    </a:cubicBezTo>
                    <a:lnTo>
                      <a:pt x="16288" y="61722"/>
                    </a:lnTo>
                    <a:lnTo>
                      <a:pt x="571" y="61722"/>
                    </a:lnTo>
                    <a:lnTo>
                      <a:pt x="571" y="14859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54" name="Freeform: Shape 187">
                <a:extLst>
                  <a:ext uri="{FF2B5EF4-FFF2-40B4-BE49-F238E27FC236}">
                    <a16:creationId xmlns:a16="http://schemas.microsoft.com/office/drawing/2014/main" id="{20443BC3-D18E-870D-BFB2-8BA42B8DE212}"/>
                  </a:ext>
                </a:extLst>
              </p:cNvPr>
              <p:cNvSpPr/>
              <p:nvPr/>
            </p:nvSpPr>
            <p:spPr>
              <a:xfrm>
                <a:off x="6041421" y="3206019"/>
                <a:ext cx="53149" cy="62674"/>
              </a:xfrm>
              <a:custGeom>
                <a:avLst/>
                <a:gdLst>
                  <a:gd name="connsiteX0" fmla="*/ 8954 w 53149"/>
                  <a:gd name="connsiteY0" fmla="*/ 60388 h 62674"/>
                  <a:gd name="connsiteX1" fmla="*/ 2381 w 53149"/>
                  <a:gd name="connsiteY1" fmla="*/ 54197 h 62674"/>
                  <a:gd name="connsiteX2" fmla="*/ 0 w 53149"/>
                  <a:gd name="connsiteY2" fmla="*/ 44387 h 62674"/>
                  <a:gd name="connsiteX3" fmla="*/ 6477 w 53149"/>
                  <a:gd name="connsiteY3" fmla="*/ 29813 h 62674"/>
                  <a:gd name="connsiteX4" fmla="*/ 23908 w 53149"/>
                  <a:gd name="connsiteY4" fmla="*/ 25051 h 62674"/>
                  <a:gd name="connsiteX5" fmla="*/ 36957 w 53149"/>
                  <a:gd name="connsiteY5" fmla="*/ 24860 h 62674"/>
                  <a:gd name="connsiteX6" fmla="*/ 36957 w 53149"/>
                  <a:gd name="connsiteY6" fmla="*/ 22003 h 62674"/>
                  <a:gd name="connsiteX7" fmla="*/ 34290 w 53149"/>
                  <a:gd name="connsiteY7" fmla="*/ 14288 h 62674"/>
                  <a:gd name="connsiteX8" fmla="*/ 27051 w 53149"/>
                  <a:gd name="connsiteY8" fmla="*/ 12097 h 62674"/>
                  <a:gd name="connsiteX9" fmla="*/ 10763 w 53149"/>
                  <a:gd name="connsiteY9" fmla="*/ 19431 h 62674"/>
                  <a:gd name="connsiteX10" fmla="*/ 3334 w 53149"/>
                  <a:gd name="connsiteY10" fmla="*/ 9620 h 62674"/>
                  <a:gd name="connsiteX11" fmla="*/ 27908 w 53149"/>
                  <a:gd name="connsiteY11" fmla="*/ 0 h 62674"/>
                  <a:gd name="connsiteX12" fmla="*/ 46196 w 53149"/>
                  <a:gd name="connsiteY12" fmla="*/ 5620 h 62674"/>
                  <a:gd name="connsiteX13" fmla="*/ 52673 w 53149"/>
                  <a:gd name="connsiteY13" fmla="*/ 21622 h 62674"/>
                  <a:gd name="connsiteX14" fmla="*/ 52673 w 53149"/>
                  <a:gd name="connsiteY14" fmla="*/ 43720 h 62674"/>
                  <a:gd name="connsiteX15" fmla="*/ 53150 w 53149"/>
                  <a:gd name="connsiteY15" fmla="*/ 61532 h 62674"/>
                  <a:gd name="connsiteX16" fmla="*/ 38291 w 53149"/>
                  <a:gd name="connsiteY16" fmla="*/ 61532 h 62674"/>
                  <a:gd name="connsiteX17" fmla="*/ 37910 w 53149"/>
                  <a:gd name="connsiteY17" fmla="*/ 53054 h 62674"/>
                  <a:gd name="connsiteX18" fmla="*/ 37529 w 53149"/>
                  <a:gd name="connsiteY18" fmla="*/ 53054 h 62674"/>
                  <a:gd name="connsiteX19" fmla="*/ 29813 w 53149"/>
                  <a:gd name="connsiteY19" fmla="*/ 60198 h 62674"/>
                  <a:gd name="connsiteX20" fmla="*/ 18764 w 53149"/>
                  <a:gd name="connsiteY20" fmla="*/ 62675 h 62674"/>
                  <a:gd name="connsiteX21" fmla="*/ 8954 w 53149"/>
                  <a:gd name="connsiteY21" fmla="*/ 60579 h 62674"/>
                  <a:gd name="connsiteX22" fmla="*/ 30575 w 53149"/>
                  <a:gd name="connsiteY22" fmla="*/ 48768 h 62674"/>
                  <a:gd name="connsiteX23" fmla="*/ 35338 w 53149"/>
                  <a:gd name="connsiteY23" fmla="*/ 43910 h 62674"/>
                  <a:gd name="connsiteX24" fmla="*/ 37052 w 53149"/>
                  <a:gd name="connsiteY24" fmla="*/ 37529 h 62674"/>
                  <a:gd name="connsiteX25" fmla="*/ 37052 w 53149"/>
                  <a:gd name="connsiteY25" fmla="*/ 34481 h 62674"/>
                  <a:gd name="connsiteX26" fmla="*/ 28956 w 53149"/>
                  <a:gd name="connsiteY26" fmla="*/ 34481 h 62674"/>
                  <a:gd name="connsiteX27" fmla="*/ 22288 w 53149"/>
                  <a:gd name="connsiteY27" fmla="*/ 35433 h 62674"/>
                  <a:gd name="connsiteX28" fmla="*/ 18098 w 53149"/>
                  <a:gd name="connsiteY28" fmla="*/ 37814 h 62674"/>
                  <a:gd name="connsiteX29" fmla="*/ 16478 w 53149"/>
                  <a:gd name="connsiteY29" fmla="*/ 43053 h 62674"/>
                  <a:gd name="connsiteX30" fmla="*/ 18479 w 53149"/>
                  <a:gd name="connsiteY30" fmla="*/ 48673 h 62674"/>
                  <a:gd name="connsiteX31" fmla="*/ 23813 w 53149"/>
                  <a:gd name="connsiteY31" fmla="*/ 50578 h 62674"/>
                  <a:gd name="connsiteX32" fmla="*/ 30671 w 53149"/>
                  <a:gd name="connsiteY32" fmla="*/ 48768 h 62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53149" h="62674">
                    <a:moveTo>
                      <a:pt x="8954" y="60388"/>
                    </a:moveTo>
                    <a:cubicBezTo>
                      <a:pt x="6191" y="58960"/>
                      <a:pt x="4001" y="56864"/>
                      <a:pt x="2381" y="54197"/>
                    </a:cubicBezTo>
                    <a:cubicBezTo>
                      <a:pt x="762" y="51530"/>
                      <a:pt x="0" y="48196"/>
                      <a:pt x="0" y="44387"/>
                    </a:cubicBezTo>
                    <a:cubicBezTo>
                      <a:pt x="0" y="37719"/>
                      <a:pt x="2191" y="32861"/>
                      <a:pt x="6477" y="29813"/>
                    </a:cubicBezTo>
                    <a:cubicBezTo>
                      <a:pt x="10763" y="26765"/>
                      <a:pt x="16574" y="25241"/>
                      <a:pt x="23908" y="25051"/>
                    </a:cubicBezTo>
                    <a:lnTo>
                      <a:pt x="36957" y="24860"/>
                    </a:lnTo>
                    <a:lnTo>
                      <a:pt x="36957" y="22003"/>
                    </a:lnTo>
                    <a:cubicBezTo>
                      <a:pt x="36957" y="18288"/>
                      <a:pt x="36100" y="15716"/>
                      <a:pt x="34290" y="14288"/>
                    </a:cubicBezTo>
                    <a:cubicBezTo>
                      <a:pt x="32480" y="12859"/>
                      <a:pt x="30099" y="12097"/>
                      <a:pt x="27051" y="12097"/>
                    </a:cubicBezTo>
                    <a:cubicBezTo>
                      <a:pt x="21717" y="12097"/>
                      <a:pt x="16288" y="14573"/>
                      <a:pt x="10763" y="19431"/>
                    </a:cubicBezTo>
                    <a:lnTo>
                      <a:pt x="3334" y="9620"/>
                    </a:lnTo>
                    <a:cubicBezTo>
                      <a:pt x="10573" y="3238"/>
                      <a:pt x="18764" y="0"/>
                      <a:pt x="27908" y="0"/>
                    </a:cubicBezTo>
                    <a:cubicBezTo>
                      <a:pt x="35719" y="0"/>
                      <a:pt x="41815" y="1905"/>
                      <a:pt x="46196" y="5620"/>
                    </a:cubicBezTo>
                    <a:cubicBezTo>
                      <a:pt x="50578" y="9335"/>
                      <a:pt x="52673" y="14669"/>
                      <a:pt x="52673" y="21622"/>
                    </a:cubicBezTo>
                    <a:lnTo>
                      <a:pt x="52673" y="43720"/>
                    </a:lnTo>
                    <a:cubicBezTo>
                      <a:pt x="52673" y="50387"/>
                      <a:pt x="52864" y="56293"/>
                      <a:pt x="53150" y="61532"/>
                    </a:cubicBezTo>
                    <a:lnTo>
                      <a:pt x="38291" y="61532"/>
                    </a:lnTo>
                    <a:cubicBezTo>
                      <a:pt x="38005" y="58865"/>
                      <a:pt x="37910" y="56102"/>
                      <a:pt x="37910" y="53054"/>
                    </a:cubicBezTo>
                    <a:lnTo>
                      <a:pt x="37529" y="53054"/>
                    </a:lnTo>
                    <a:cubicBezTo>
                      <a:pt x="35528" y="56102"/>
                      <a:pt x="32957" y="58483"/>
                      <a:pt x="29813" y="60198"/>
                    </a:cubicBezTo>
                    <a:cubicBezTo>
                      <a:pt x="26670" y="61913"/>
                      <a:pt x="22955" y="62675"/>
                      <a:pt x="18764" y="62675"/>
                    </a:cubicBezTo>
                    <a:cubicBezTo>
                      <a:pt x="15050" y="62675"/>
                      <a:pt x="11811" y="62008"/>
                      <a:pt x="8954" y="60579"/>
                    </a:cubicBezTo>
                    <a:close/>
                    <a:moveTo>
                      <a:pt x="30575" y="48768"/>
                    </a:moveTo>
                    <a:cubicBezTo>
                      <a:pt x="32576" y="47530"/>
                      <a:pt x="34195" y="45911"/>
                      <a:pt x="35338" y="43910"/>
                    </a:cubicBezTo>
                    <a:cubicBezTo>
                      <a:pt x="36481" y="41910"/>
                      <a:pt x="37052" y="39815"/>
                      <a:pt x="37052" y="37529"/>
                    </a:cubicBezTo>
                    <a:lnTo>
                      <a:pt x="37052" y="34481"/>
                    </a:lnTo>
                    <a:lnTo>
                      <a:pt x="28956" y="34481"/>
                    </a:lnTo>
                    <a:cubicBezTo>
                      <a:pt x="26194" y="34766"/>
                      <a:pt x="24003" y="35052"/>
                      <a:pt x="22288" y="35433"/>
                    </a:cubicBezTo>
                    <a:cubicBezTo>
                      <a:pt x="20574" y="35814"/>
                      <a:pt x="19145" y="36576"/>
                      <a:pt x="18098" y="37814"/>
                    </a:cubicBezTo>
                    <a:cubicBezTo>
                      <a:pt x="17050" y="39053"/>
                      <a:pt x="16478" y="40767"/>
                      <a:pt x="16478" y="43053"/>
                    </a:cubicBezTo>
                    <a:cubicBezTo>
                      <a:pt x="16478" y="45339"/>
                      <a:pt x="17145" y="47339"/>
                      <a:pt x="18479" y="48673"/>
                    </a:cubicBezTo>
                    <a:cubicBezTo>
                      <a:pt x="19812" y="50006"/>
                      <a:pt x="21622" y="50578"/>
                      <a:pt x="23813" y="50578"/>
                    </a:cubicBezTo>
                    <a:cubicBezTo>
                      <a:pt x="26384" y="50578"/>
                      <a:pt x="28670" y="50006"/>
                      <a:pt x="30671" y="48768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55" name="Freeform: Shape 188">
                <a:extLst>
                  <a:ext uri="{FF2B5EF4-FFF2-40B4-BE49-F238E27FC236}">
                    <a16:creationId xmlns:a16="http://schemas.microsoft.com/office/drawing/2014/main" id="{421BD2AB-8B91-A40E-0584-7625279799B4}"/>
                  </a:ext>
                </a:extLst>
              </p:cNvPr>
              <p:cNvSpPr/>
              <p:nvPr/>
            </p:nvSpPr>
            <p:spPr>
              <a:xfrm>
                <a:off x="6109049" y="3205924"/>
                <a:ext cx="55149" cy="61721"/>
              </a:xfrm>
              <a:custGeom>
                <a:avLst/>
                <a:gdLst>
                  <a:gd name="connsiteX0" fmla="*/ 381 w 55149"/>
                  <a:gd name="connsiteY0" fmla="*/ 14668 h 61721"/>
                  <a:gd name="connsiteX1" fmla="*/ 286 w 55149"/>
                  <a:gd name="connsiteY1" fmla="*/ 6763 h 61721"/>
                  <a:gd name="connsiteX2" fmla="*/ 0 w 55149"/>
                  <a:gd name="connsiteY2" fmla="*/ 1238 h 61721"/>
                  <a:gd name="connsiteX3" fmla="*/ 14954 w 55149"/>
                  <a:gd name="connsiteY3" fmla="*/ 1238 h 61721"/>
                  <a:gd name="connsiteX4" fmla="*/ 15430 w 55149"/>
                  <a:gd name="connsiteY4" fmla="*/ 6191 h 61721"/>
                  <a:gd name="connsiteX5" fmla="*/ 15716 w 55149"/>
                  <a:gd name="connsiteY5" fmla="*/ 12097 h 61721"/>
                  <a:gd name="connsiteX6" fmla="*/ 15907 w 55149"/>
                  <a:gd name="connsiteY6" fmla="*/ 12097 h 61721"/>
                  <a:gd name="connsiteX7" fmla="*/ 23908 w 55149"/>
                  <a:gd name="connsiteY7" fmla="*/ 2953 h 61721"/>
                  <a:gd name="connsiteX8" fmla="*/ 35338 w 55149"/>
                  <a:gd name="connsiteY8" fmla="*/ 0 h 61721"/>
                  <a:gd name="connsiteX9" fmla="*/ 50387 w 55149"/>
                  <a:gd name="connsiteY9" fmla="*/ 6382 h 61721"/>
                  <a:gd name="connsiteX10" fmla="*/ 55150 w 55149"/>
                  <a:gd name="connsiteY10" fmla="*/ 23336 h 61721"/>
                  <a:gd name="connsiteX11" fmla="*/ 55150 w 55149"/>
                  <a:gd name="connsiteY11" fmla="*/ 61627 h 61721"/>
                  <a:gd name="connsiteX12" fmla="*/ 39529 w 55149"/>
                  <a:gd name="connsiteY12" fmla="*/ 61627 h 61721"/>
                  <a:gd name="connsiteX13" fmla="*/ 39529 w 55149"/>
                  <a:gd name="connsiteY13" fmla="*/ 27813 h 61721"/>
                  <a:gd name="connsiteX14" fmla="*/ 37243 w 55149"/>
                  <a:gd name="connsiteY14" fmla="*/ 17240 h 61721"/>
                  <a:gd name="connsiteX15" fmla="*/ 29337 w 55149"/>
                  <a:gd name="connsiteY15" fmla="*/ 13525 h 61721"/>
                  <a:gd name="connsiteX16" fmla="*/ 22574 w 55149"/>
                  <a:gd name="connsiteY16" fmla="*/ 15526 h 61721"/>
                  <a:gd name="connsiteX17" fmla="*/ 17812 w 55149"/>
                  <a:gd name="connsiteY17" fmla="*/ 21146 h 61721"/>
                  <a:gd name="connsiteX18" fmla="*/ 16097 w 55149"/>
                  <a:gd name="connsiteY18" fmla="*/ 29337 h 61721"/>
                  <a:gd name="connsiteX19" fmla="*/ 16097 w 55149"/>
                  <a:gd name="connsiteY19" fmla="*/ 61722 h 61721"/>
                  <a:gd name="connsiteX20" fmla="*/ 381 w 55149"/>
                  <a:gd name="connsiteY20" fmla="*/ 61722 h 61721"/>
                  <a:gd name="connsiteX21" fmla="*/ 381 w 55149"/>
                  <a:gd name="connsiteY21" fmla="*/ 14859 h 617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55149" h="61721">
                    <a:moveTo>
                      <a:pt x="381" y="14668"/>
                    </a:moveTo>
                    <a:cubicBezTo>
                      <a:pt x="381" y="12097"/>
                      <a:pt x="381" y="9430"/>
                      <a:pt x="286" y="6763"/>
                    </a:cubicBezTo>
                    <a:cubicBezTo>
                      <a:pt x="191" y="4096"/>
                      <a:pt x="95" y="2191"/>
                      <a:pt x="0" y="1238"/>
                    </a:cubicBezTo>
                    <a:lnTo>
                      <a:pt x="14954" y="1238"/>
                    </a:lnTo>
                    <a:cubicBezTo>
                      <a:pt x="15145" y="2096"/>
                      <a:pt x="15240" y="3715"/>
                      <a:pt x="15430" y="6191"/>
                    </a:cubicBezTo>
                    <a:cubicBezTo>
                      <a:pt x="15621" y="8668"/>
                      <a:pt x="15716" y="10668"/>
                      <a:pt x="15716" y="12097"/>
                    </a:cubicBezTo>
                    <a:lnTo>
                      <a:pt x="15907" y="12097"/>
                    </a:lnTo>
                    <a:cubicBezTo>
                      <a:pt x="18002" y="8001"/>
                      <a:pt x="20669" y="4953"/>
                      <a:pt x="23908" y="2953"/>
                    </a:cubicBezTo>
                    <a:cubicBezTo>
                      <a:pt x="27146" y="952"/>
                      <a:pt x="30956" y="0"/>
                      <a:pt x="35338" y="0"/>
                    </a:cubicBezTo>
                    <a:cubicBezTo>
                      <a:pt x="42196" y="0"/>
                      <a:pt x="47244" y="2096"/>
                      <a:pt x="50387" y="6382"/>
                    </a:cubicBezTo>
                    <a:cubicBezTo>
                      <a:pt x="53530" y="10668"/>
                      <a:pt x="55150" y="16288"/>
                      <a:pt x="55150" y="23336"/>
                    </a:cubicBezTo>
                    <a:lnTo>
                      <a:pt x="55150" y="61627"/>
                    </a:lnTo>
                    <a:lnTo>
                      <a:pt x="39529" y="61627"/>
                    </a:lnTo>
                    <a:lnTo>
                      <a:pt x="39529" y="27813"/>
                    </a:lnTo>
                    <a:cubicBezTo>
                      <a:pt x="39529" y="23241"/>
                      <a:pt x="38767" y="19717"/>
                      <a:pt x="37243" y="17240"/>
                    </a:cubicBezTo>
                    <a:cubicBezTo>
                      <a:pt x="35719" y="14764"/>
                      <a:pt x="33052" y="13525"/>
                      <a:pt x="29337" y="13525"/>
                    </a:cubicBezTo>
                    <a:cubicBezTo>
                      <a:pt x="26765" y="13525"/>
                      <a:pt x="24575" y="14192"/>
                      <a:pt x="22574" y="15526"/>
                    </a:cubicBezTo>
                    <a:cubicBezTo>
                      <a:pt x="20574" y="16859"/>
                      <a:pt x="18955" y="18669"/>
                      <a:pt x="17812" y="21146"/>
                    </a:cubicBezTo>
                    <a:cubicBezTo>
                      <a:pt x="16669" y="23622"/>
                      <a:pt x="16097" y="26289"/>
                      <a:pt x="16097" y="29337"/>
                    </a:cubicBezTo>
                    <a:lnTo>
                      <a:pt x="16097" y="61722"/>
                    </a:lnTo>
                    <a:lnTo>
                      <a:pt x="381" y="61722"/>
                    </a:lnTo>
                    <a:lnTo>
                      <a:pt x="381" y="14859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56" name="Freeform: Shape 189">
                <a:extLst>
                  <a:ext uri="{FF2B5EF4-FFF2-40B4-BE49-F238E27FC236}">
                    <a16:creationId xmlns:a16="http://schemas.microsoft.com/office/drawing/2014/main" id="{A91B6E9D-4998-CF91-EE7D-57C6343B0EFC}"/>
                  </a:ext>
                </a:extLst>
              </p:cNvPr>
              <p:cNvSpPr/>
              <p:nvPr/>
            </p:nvSpPr>
            <p:spPr>
              <a:xfrm>
                <a:off x="6174866" y="3206019"/>
                <a:ext cx="53149" cy="62674"/>
              </a:xfrm>
              <a:custGeom>
                <a:avLst/>
                <a:gdLst>
                  <a:gd name="connsiteX0" fmla="*/ 8954 w 53149"/>
                  <a:gd name="connsiteY0" fmla="*/ 60388 h 62674"/>
                  <a:gd name="connsiteX1" fmla="*/ 2381 w 53149"/>
                  <a:gd name="connsiteY1" fmla="*/ 54197 h 62674"/>
                  <a:gd name="connsiteX2" fmla="*/ 0 w 53149"/>
                  <a:gd name="connsiteY2" fmla="*/ 44387 h 62674"/>
                  <a:gd name="connsiteX3" fmla="*/ 6477 w 53149"/>
                  <a:gd name="connsiteY3" fmla="*/ 29813 h 62674"/>
                  <a:gd name="connsiteX4" fmla="*/ 23908 w 53149"/>
                  <a:gd name="connsiteY4" fmla="*/ 25051 h 62674"/>
                  <a:gd name="connsiteX5" fmla="*/ 36957 w 53149"/>
                  <a:gd name="connsiteY5" fmla="*/ 24860 h 62674"/>
                  <a:gd name="connsiteX6" fmla="*/ 36957 w 53149"/>
                  <a:gd name="connsiteY6" fmla="*/ 22003 h 62674"/>
                  <a:gd name="connsiteX7" fmla="*/ 34290 w 53149"/>
                  <a:gd name="connsiteY7" fmla="*/ 14288 h 62674"/>
                  <a:gd name="connsiteX8" fmla="*/ 27051 w 53149"/>
                  <a:gd name="connsiteY8" fmla="*/ 12097 h 62674"/>
                  <a:gd name="connsiteX9" fmla="*/ 10763 w 53149"/>
                  <a:gd name="connsiteY9" fmla="*/ 19431 h 62674"/>
                  <a:gd name="connsiteX10" fmla="*/ 3334 w 53149"/>
                  <a:gd name="connsiteY10" fmla="*/ 9620 h 62674"/>
                  <a:gd name="connsiteX11" fmla="*/ 27908 w 53149"/>
                  <a:gd name="connsiteY11" fmla="*/ 0 h 62674"/>
                  <a:gd name="connsiteX12" fmla="*/ 46196 w 53149"/>
                  <a:gd name="connsiteY12" fmla="*/ 5620 h 62674"/>
                  <a:gd name="connsiteX13" fmla="*/ 52673 w 53149"/>
                  <a:gd name="connsiteY13" fmla="*/ 21622 h 62674"/>
                  <a:gd name="connsiteX14" fmla="*/ 52673 w 53149"/>
                  <a:gd name="connsiteY14" fmla="*/ 43720 h 62674"/>
                  <a:gd name="connsiteX15" fmla="*/ 53149 w 53149"/>
                  <a:gd name="connsiteY15" fmla="*/ 61532 h 62674"/>
                  <a:gd name="connsiteX16" fmla="*/ 38290 w 53149"/>
                  <a:gd name="connsiteY16" fmla="*/ 61532 h 62674"/>
                  <a:gd name="connsiteX17" fmla="*/ 37910 w 53149"/>
                  <a:gd name="connsiteY17" fmla="*/ 53054 h 62674"/>
                  <a:gd name="connsiteX18" fmla="*/ 37529 w 53149"/>
                  <a:gd name="connsiteY18" fmla="*/ 53054 h 62674"/>
                  <a:gd name="connsiteX19" fmla="*/ 29813 w 53149"/>
                  <a:gd name="connsiteY19" fmla="*/ 60198 h 62674"/>
                  <a:gd name="connsiteX20" fmla="*/ 18764 w 53149"/>
                  <a:gd name="connsiteY20" fmla="*/ 62675 h 62674"/>
                  <a:gd name="connsiteX21" fmla="*/ 8954 w 53149"/>
                  <a:gd name="connsiteY21" fmla="*/ 60579 h 62674"/>
                  <a:gd name="connsiteX22" fmla="*/ 30575 w 53149"/>
                  <a:gd name="connsiteY22" fmla="*/ 48768 h 62674"/>
                  <a:gd name="connsiteX23" fmla="*/ 35338 w 53149"/>
                  <a:gd name="connsiteY23" fmla="*/ 43910 h 62674"/>
                  <a:gd name="connsiteX24" fmla="*/ 37052 w 53149"/>
                  <a:gd name="connsiteY24" fmla="*/ 37529 h 62674"/>
                  <a:gd name="connsiteX25" fmla="*/ 37052 w 53149"/>
                  <a:gd name="connsiteY25" fmla="*/ 34481 h 62674"/>
                  <a:gd name="connsiteX26" fmla="*/ 28956 w 53149"/>
                  <a:gd name="connsiteY26" fmla="*/ 34481 h 62674"/>
                  <a:gd name="connsiteX27" fmla="*/ 22288 w 53149"/>
                  <a:gd name="connsiteY27" fmla="*/ 35433 h 62674"/>
                  <a:gd name="connsiteX28" fmla="*/ 18097 w 53149"/>
                  <a:gd name="connsiteY28" fmla="*/ 37814 h 62674"/>
                  <a:gd name="connsiteX29" fmla="*/ 16478 w 53149"/>
                  <a:gd name="connsiteY29" fmla="*/ 43053 h 62674"/>
                  <a:gd name="connsiteX30" fmla="*/ 18479 w 53149"/>
                  <a:gd name="connsiteY30" fmla="*/ 48673 h 62674"/>
                  <a:gd name="connsiteX31" fmla="*/ 23813 w 53149"/>
                  <a:gd name="connsiteY31" fmla="*/ 50578 h 62674"/>
                  <a:gd name="connsiteX32" fmla="*/ 30671 w 53149"/>
                  <a:gd name="connsiteY32" fmla="*/ 48768 h 62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53149" h="62674">
                    <a:moveTo>
                      <a:pt x="8954" y="60388"/>
                    </a:moveTo>
                    <a:cubicBezTo>
                      <a:pt x="6191" y="58960"/>
                      <a:pt x="4001" y="56864"/>
                      <a:pt x="2381" y="54197"/>
                    </a:cubicBezTo>
                    <a:cubicBezTo>
                      <a:pt x="762" y="51530"/>
                      <a:pt x="0" y="48196"/>
                      <a:pt x="0" y="44387"/>
                    </a:cubicBezTo>
                    <a:cubicBezTo>
                      <a:pt x="0" y="37719"/>
                      <a:pt x="2191" y="32861"/>
                      <a:pt x="6477" y="29813"/>
                    </a:cubicBezTo>
                    <a:cubicBezTo>
                      <a:pt x="10763" y="26765"/>
                      <a:pt x="16573" y="25241"/>
                      <a:pt x="23908" y="25051"/>
                    </a:cubicBezTo>
                    <a:lnTo>
                      <a:pt x="36957" y="24860"/>
                    </a:lnTo>
                    <a:lnTo>
                      <a:pt x="36957" y="22003"/>
                    </a:lnTo>
                    <a:cubicBezTo>
                      <a:pt x="36957" y="18288"/>
                      <a:pt x="36100" y="15716"/>
                      <a:pt x="34290" y="14288"/>
                    </a:cubicBezTo>
                    <a:cubicBezTo>
                      <a:pt x="32480" y="12859"/>
                      <a:pt x="30099" y="12097"/>
                      <a:pt x="27051" y="12097"/>
                    </a:cubicBezTo>
                    <a:cubicBezTo>
                      <a:pt x="21717" y="12097"/>
                      <a:pt x="16288" y="14573"/>
                      <a:pt x="10763" y="19431"/>
                    </a:cubicBezTo>
                    <a:lnTo>
                      <a:pt x="3334" y="9620"/>
                    </a:lnTo>
                    <a:cubicBezTo>
                      <a:pt x="10573" y="3238"/>
                      <a:pt x="18764" y="0"/>
                      <a:pt x="27908" y="0"/>
                    </a:cubicBezTo>
                    <a:cubicBezTo>
                      <a:pt x="35719" y="0"/>
                      <a:pt x="41815" y="1905"/>
                      <a:pt x="46196" y="5620"/>
                    </a:cubicBezTo>
                    <a:cubicBezTo>
                      <a:pt x="50578" y="9335"/>
                      <a:pt x="52673" y="14669"/>
                      <a:pt x="52673" y="21622"/>
                    </a:cubicBezTo>
                    <a:lnTo>
                      <a:pt x="52673" y="43720"/>
                    </a:lnTo>
                    <a:cubicBezTo>
                      <a:pt x="52673" y="50387"/>
                      <a:pt x="52864" y="56293"/>
                      <a:pt x="53149" y="61532"/>
                    </a:cubicBezTo>
                    <a:lnTo>
                      <a:pt x="38290" y="61532"/>
                    </a:lnTo>
                    <a:cubicBezTo>
                      <a:pt x="38005" y="58865"/>
                      <a:pt x="37910" y="56102"/>
                      <a:pt x="37910" y="53054"/>
                    </a:cubicBezTo>
                    <a:lnTo>
                      <a:pt x="37529" y="53054"/>
                    </a:lnTo>
                    <a:cubicBezTo>
                      <a:pt x="35528" y="56102"/>
                      <a:pt x="32956" y="58483"/>
                      <a:pt x="29813" y="60198"/>
                    </a:cubicBezTo>
                    <a:cubicBezTo>
                      <a:pt x="26670" y="61913"/>
                      <a:pt x="22955" y="62675"/>
                      <a:pt x="18764" y="62675"/>
                    </a:cubicBezTo>
                    <a:cubicBezTo>
                      <a:pt x="15049" y="62675"/>
                      <a:pt x="11811" y="62008"/>
                      <a:pt x="8954" y="60579"/>
                    </a:cubicBezTo>
                    <a:close/>
                    <a:moveTo>
                      <a:pt x="30575" y="48768"/>
                    </a:moveTo>
                    <a:cubicBezTo>
                      <a:pt x="32576" y="47530"/>
                      <a:pt x="34195" y="45911"/>
                      <a:pt x="35338" y="43910"/>
                    </a:cubicBezTo>
                    <a:cubicBezTo>
                      <a:pt x="36481" y="41910"/>
                      <a:pt x="37052" y="39815"/>
                      <a:pt x="37052" y="37529"/>
                    </a:cubicBezTo>
                    <a:lnTo>
                      <a:pt x="37052" y="34481"/>
                    </a:lnTo>
                    <a:lnTo>
                      <a:pt x="28956" y="34481"/>
                    </a:lnTo>
                    <a:cubicBezTo>
                      <a:pt x="26194" y="34766"/>
                      <a:pt x="24003" y="35052"/>
                      <a:pt x="22288" y="35433"/>
                    </a:cubicBezTo>
                    <a:cubicBezTo>
                      <a:pt x="20574" y="35814"/>
                      <a:pt x="19145" y="36576"/>
                      <a:pt x="18097" y="37814"/>
                    </a:cubicBezTo>
                    <a:cubicBezTo>
                      <a:pt x="17050" y="39053"/>
                      <a:pt x="16478" y="40767"/>
                      <a:pt x="16478" y="43053"/>
                    </a:cubicBezTo>
                    <a:cubicBezTo>
                      <a:pt x="16478" y="45339"/>
                      <a:pt x="17145" y="47339"/>
                      <a:pt x="18479" y="48673"/>
                    </a:cubicBezTo>
                    <a:cubicBezTo>
                      <a:pt x="19812" y="50006"/>
                      <a:pt x="21622" y="50578"/>
                      <a:pt x="23813" y="50578"/>
                    </a:cubicBezTo>
                    <a:cubicBezTo>
                      <a:pt x="26384" y="50578"/>
                      <a:pt x="28670" y="50006"/>
                      <a:pt x="30671" y="48768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57" name="Freeform: Shape 190">
                <a:extLst>
                  <a:ext uri="{FF2B5EF4-FFF2-40B4-BE49-F238E27FC236}">
                    <a16:creationId xmlns:a16="http://schemas.microsoft.com/office/drawing/2014/main" id="{EFDE8B15-2F9F-2855-B70F-200969807F1B}"/>
                  </a:ext>
                </a:extLst>
              </p:cNvPr>
              <p:cNvSpPr/>
              <p:nvPr/>
            </p:nvSpPr>
            <p:spPr>
              <a:xfrm>
                <a:off x="6238303" y="3201447"/>
                <a:ext cx="60769" cy="89725"/>
              </a:xfrm>
              <a:custGeom>
                <a:avLst/>
                <a:gdLst>
                  <a:gd name="connsiteX0" fmla="*/ 48196 w 60769"/>
                  <a:gd name="connsiteY0" fmla="*/ 54292 h 89725"/>
                  <a:gd name="connsiteX1" fmla="*/ 57245 w 60769"/>
                  <a:gd name="connsiteY1" fmla="*/ 59246 h 89725"/>
                  <a:gd name="connsiteX2" fmla="*/ 60770 w 60769"/>
                  <a:gd name="connsiteY2" fmla="*/ 70866 h 89725"/>
                  <a:gd name="connsiteX3" fmla="*/ 53149 w 60769"/>
                  <a:gd name="connsiteY3" fmla="*/ 85058 h 89725"/>
                  <a:gd name="connsiteX4" fmla="*/ 28956 w 60769"/>
                  <a:gd name="connsiteY4" fmla="*/ 89725 h 89725"/>
                  <a:gd name="connsiteX5" fmla="*/ 12192 w 60769"/>
                  <a:gd name="connsiteY5" fmla="*/ 88297 h 89725"/>
                  <a:gd name="connsiteX6" fmla="*/ 2953 w 60769"/>
                  <a:gd name="connsiteY6" fmla="*/ 83629 h 89725"/>
                  <a:gd name="connsiteX7" fmla="*/ 0 w 60769"/>
                  <a:gd name="connsiteY7" fmla="*/ 74867 h 89725"/>
                  <a:gd name="connsiteX8" fmla="*/ 2000 w 60769"/>
                  <a:gd name="connsiteY8" fmla="*/ 68008 h 89725"/>
                  <a:gd name="connsiteX9" fmla="*/ 8001 w 60769"/>
                  <a:gd name="connsiteY9" fmla="*/ 62198 h 89725"/>
                  <a:gd name="connsiteX10" fmla="*/ 4286 w 60769"/>
                  <a:gd name="connsiteY10" fmla="*/ 53626 h 89725"/>
                  <a:gd name="connsiteX11" fmla="*/ 6191 w 60769"/>
                  <a:gd name="connsiteY11" fmla="*/ 46768 h 89725"/>
                  <a:gd name="connsiteX12" fmla="*/ 11621 w 60769"/>
                  <a:gd name="connsiteY12" fmla="*/ 40958 h 89725"/>
                  <a:gd name="connsiteX13" fmla="*/ 5144 w 60769"/>
                  <a:gd name="connsiteY13" fmla="*/ 34290 h 89725"/>
                  <a:gd name="connsiteX14" fmla="*/ 2953 w 60769"/>
                  <a:gd name="connsiteY14" fmla="*/ 24860 h 89725"/>
                  <a:gd name="connsiteX15" fmla="*/ 5524 w 60769"/>
                  <a:gd name="connsiteY15" fmla="*/ 14478 h 89725"/>
                  <a:gd name="connsiteX16" fmla="*/ 13811 w 60769"/>
                  <a:gd name="connsiteY16" fmla="*/ 7239 h 89725"/>
                  <a:gd name="connsiteX17" fmla="*/ 28289 w 60769"/>
                  <a:gd name="connsiteY17" fmla="*/ 4572 h 89725"/>
                  <a:gd name="connsiteX18" fmla="*/ 43720 w 60769"/>
                  <a:gd name="connsiteY18" fmla="*/ 7906 h 89725"/>
                  <a:gd name="connsiteX19" fmla="*/ 50102 w 60769"/>
                  <a:gd name="connsiteY19" fmla="*/ 2000 h 89725"/>
                  <a:gd name="connsiteX20" fmla="*/ 58388 w 60769"/>
                  <a:gd name="connsiteY20" fmla="*/ 0 h 89725"/>
                  <a:gd name="connsiteX21" fmla="*/ 58579 w 60769"/>
                  <a:gd name="connsiteY21" fmla="*/ 0 h 89725"/>
                  <a:gd name="connsiteX22" fmla="*/ 59150 w 60769"/>
                  <a:gd name="connsiteY22" fmla="*/ 12763 h 89725"/>
                  <a:gd name="connsiteX23" fmla="*/ 58960 w 60769"/>
                  <a:gd name="connsiteY23" fmla="*/ 12763 h 89725"/>
                  <a:gd name="connsiteX24" fmla="*/ 50578 w 60769"/>
                  <a:gd name="connsiteY24" fmla="*/ 14002 h 89725"/>
                  <a:gd name="connsiteX25" fmla="*/ 53530 w 60769"/>
                  <a:gd name="connsiteY25" fmla="*/ 24860 h 89725"/>
                  <a:gd name="connsiteX26" fmla="*/ 50863 w 60769"/>
                  <a:gd name="connsiteY26" fmla="*/ 35052 h 89725"/>
                  <a:gd name="connsiteX27" fmla="*/ 42481 w 60769"/>
                  <a:gd name="connsiteY27" fmla="*/ 42196 h 89725"/>
                  <a:gd name="connsiteX28" fmla="*/ 28099 w 60769"/>
                  <a:gd name="connsiteY28" fmla="*/ 44863 h 89725"/>
                  <a:gd name="connsiteX29" fmla="*/ 20479 w 60769"/>
                  <a:gd name="connsiteY29" fmla="*/ 44196 h 89725"/>
                  <a:gd name="connsiteX30" fmla="*/ 18764 w 60769"/>
                  <a:gd name="connsiteY30" fmla="*/ 46292 h 89725"/>
                  <a:gd name="connsiteX31" fmla="*/ 18193 w 60769"/>
                  <a:gd name="connsiteY31" fmla="*/ 48387 h 89725"/>
                  <a:gd name="connsiteX32" fmla="*/ 19336 w 60769"/>
                  <a:gd name="connsiteY32" fmla="*/ 50673 h 89725"/>
                  <a:gd name="connsiteX33" fmla="*/ 22670 w 60769"/>
                  <a:gd name="connsiteY33" fmla="*/ 51721 h 89725"/>
                  <a:gd name="connsiteX34" fmla="*/ 29623 w 60769"/>
                  <a:gd name="connsiteY34" fmla="*/ 52292 h 89725"/>
                  <a:gd name="connsiteX35" fmla="*/ 32385 w 60769"/>
                  <a:gd name="connsiteY35" fmla="*/ 52483 h 89725"/>
                  <a:gd name="connsiteX36" fmla="*/ 48387 w 60769"/>
                  <a:gd name="connsiteY36" fmla="*/ 54292 h 89725"/>
                  <a:gd name="connsiteX37" fmla="*/ 41815 w 60769"/>
                  <a:gd name="connsiteY37" fmla="*/ 77248 h 89725"/>
                  <a:gd name="connsiteX38" fmla="*/ 45815 w 60769"/>
                  <a:gd name="connsiteY38" fmla="*/ 72771 h 89725"/>
                  <a:gd name="connsiteX39" fmla="*/ 44196 w 60769"/>
                  <a:gd name="connsiteY39" fmla="*/ 69437 h 89725"/>
                  <a:gd name="connsiteX40" fmla="*/ 39433 w 60769"/>
                  <a:gd name="connsiteY40" fmla="*/ 67913 h 89725"/>
                  <a:gd name="connsiteX41" fmla="*/ 29432 w 60769"/>
                  <a:gd name="connsiteY41" fmla="*/ 66961 h 89725"/>
                  <a:gd name="connsiteX42" fmla="*/ 27241 w 60769"/>
                  <a:gd name="connsiteY42" fmla="*/ 66770 h 89725"/>
                  <a:gd name="connsiteX43" fmla="*/ 23146 w 60769"/>
                  <a:gd name="connsiteY43" fmla="*/ 66484 h 89725"/>
                  <a:gd name="connsiteX44" fmla="*/ 16764 w 60769"/>
                  <a:gd name="connsiteY44" fmla="*/ 65722 h 89725"/>
                  <a:gd name="connsiteX45" fmla="*/ 14764 w 60769"/>
                  <a:gd name="connsiteY45" fmla="*/ 69056 h 89725"/>
                  <a:gd name="connsiteX46" fmla="*/ 14097 w 60769"/>
                  <a:gd name="connsiteY46" fmla="*/ 72676 h 89725"/>
                  <a:gd name="connsiteX47" fmla="*/ 15716 w 60769"/>
                  <a:gd name="connsiteY47" fmla="*/ 76486 h 89725"/>
                  <a:gd name="connsiteX48" fmla="*/ 20479 w 60769"/>
                  <a:gd name="connsiteY48" fmla="*/ 78200 h 89725"/>
                  <a:gd name="connsiteX49" fmla="*/ 29432 w 60769"/>
                  <a:gd name="connsiteY49" fmla="*/ 78581 h 89725"/>
                  <a:gd name="connsiteX50" fmla="*/ 41815 w 60769"/>
                  <a:gd name="connsiteY50" fmla="*/ 77343 h 89725"/>
                  <a:gd name="connsiteX51" fmla="*/ 20288 w 60769"/>
                  <a:gd name="connsiteY51" fmla="*/ 17717 h 89725"/>
                  <a:gd name="connsiteX52" fmla="*/ 17716 w 60769"/>
                  <a:gd name="connsiteY52" fmla="*/ 24860 h 89725"/>
                  <a:gd name="connsiteX53" fmla="*/ 20288 w 60769"/>
                  <a:gd name="connsiteY53" fmla="*/ 31813 h 89725"/>
                  <a:gd name="connsiteX54" fmla="*/ 27718 w 60769"/>
                  <a:gd name="connsiteY54" fmla="*/ 34290 h 89725"/>
                  <a:gd name="connsiteX55" fmla="*/ 36004 w 60769"/>
                  <a:gd name="connsiteY55" fmla="*/ 31813 h 89725"/>
                  <a:gd name="connsiteX56" fmla="*/ 38481 w 60769"/>
                  <a:gd name="connsiteY56" fmla="*/ 24860 h 89725"/>
                  <a:gd name="connsiteX57" fmla="*/ 35909 w 60769"/>
                  <a:gd name="connsiteY57" fmla="*/ 17717 h 89725"/>
                  <a:gd name="connsiteX58" fmla="*/ 28004 w 60769"/>
                  <a:gd name="connsiteY58" fmla="*/ 15145 h 89725"/>
                  <a:gd name="connsiteX59" fmla="*/ 20193 w 60769"/>
                  <a:gd name="connsiteY59" fmla="*/ 17717 h 89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</a:cxnLst>
                <a:rect l="l" t="t" r="r" b="b"/>
                <a:pathLst>
                  <a:path w="60769" h="89725">
                    <a:moveTo>
                      <a:pt x="48196" y="54292"/>
                    </a:moveTo>
                    <a:cubicBezTo>
                      <a:pt x="51816" y="55054"/>
                      <a:pt x="54864" y="56674"/>
                      <a:pt x="57245" y="59246"/>
                    </a:cubicBezTo>
                    <a:cubicBezTo>
                      <a:pt x="59627" y="61817"/>
                      <a:pt x="60770" y="65627"/>
                      <a:pt x="60770" y="70866"/>
                    </a:cubicBezTo>
                    <a:cubicBezTo>
                      <a:pt x="60770" y="77248"/>
                      <a:pt x="58198" y="82010"/>
                      <a:pt x="53149" y="85058"/>
                    </a:cubicBezTo>
                    <a:cubicBezTo>
                      <a:pt x="48101" y="88106"/>
                      <a:pt x="40005" y="89725"/>
                      <a:pt x="28956" y="89725"/>
                    </a:cubicBezTo>
                    <a:cubicBezTo>
                      <a:pt x="22003" y="89725"/>
                      <a:pt x="16383" y="89249"/>
                      <a:pt x="12192" y="88297"/>
                    </a:cubicBezTo>
                    <a:cubicBezTo>
                      <a:pt x="8001" y="87344"/>
                      <a:pt x="4953" y="85820"/>
                      <a:pt x="2953" y="83629"/>
                    </a:cubicBezTo>
                    <a:cubicBezTo>
                      <a:pt x="953" y="81439"/>
                      <a:pt x="0" y="78581"/>
                      <a:pt x="0" y="74867"/>
                    </a:cubicBezTo>
                    <a:cubicBezTo>
                      <a:pt x="0" y="72295"/>
                      <a:pt x="667" y="70009"/>
                      <a:pt x="2000" y="68008"/>
                    </a:cubicBezTo>
                    <a:cubicBezTo>
                      <a:pt x="3334" y="66008"/>
                      <a:pt x="5334" y="64008"/>
                      <a:pt x="8001" y="62198"/>
                    </a:cubicBezTo>
                    <a:cubicBezTo>
                      <a:pt x="5524" y="60198"/>
                      <a:pt x="4286" y="57341"/>
                      <a:pt x="4286" y="53626"/>
                    </a:cubicBezTo>
                    <a:cubicBezTo>
                      <a:pt x="4286" y="51054"/>
                      <a:pt x="4953" y="48863"/>
                      <a:pt x="6191" y="46768"/>
                    </a:cubicBezTo>
                    <a:cubicBezTo>
                      <a:pt x="7429" y="44672"/>
                      <a:pt x="9239" y="42767"/>
                      <a:pt x="11621" y="40958"/>
                    </a:cubicBezTo>
                    <a:cubicBezTo>
                      <a:pt x="8763" y="39243"/>
                      <a:pt x="6668" y="37052"/>
                      <a:pt x="5144" y="34290"/>
                    </a:cubicBezTo>
                    <a:cubicBezTo>
                      <a:pt x="3620" y="31528"/>
                      <a:pt x="2953" y="28384"/>
                      <a:pt x="2953" y="24860"/>
                    </a:cubicBezTo>
                    <a:cubicBezTo>
                      <a:pt x="2953" y="20955"/>
                      <a:pt x="3810" y="17526"/>
                      <a:pt x="5524" y="14478"/>
                    </a:cubicBezTo>
                    <a:cubicBezTo>
                      <a:pt x="7239" y="11430"/>
                      <a:pt x="10001" y="8954"/>
                      <a:pt x="13811" y="7239"/>
                    </a:cubicBezTo>
                    <a:cubicBezTo>
                      <a:pt x="17621" y="5525"/>
                      <a:pt x="22384" y="4572"/>
                      <a:pt x="28289" y="4572"/>
                    </a:cubicBezTo>
                    <a:cubicBezTo>
                      <a:pt x="34480" y="4572"/>
                      <a:pt x="39624" y="5715"/>
                      <a:pt x="43720" y="7906"/>
                    </a:cubicBezTo>
                    <a:cubicBezTo>
                      <a:pt x="45625" y="5334"/>
                      <a:pt x="47815" y="3334"/>
                      <a:pt x="50102" y="2000"/>
                    </a:cubicBezTo>
                    <a:cubicBezTo>
                      <a:pt x="52388" y="667"/>
                      <a:pt x="55150" y="0"/>
                      <a:pt x="58388" y="0"/>
                    </a:cubicBezTo>
                    <a:lnTo>
                      <a:pt x="58579" y="0"/>
                    </a:lnTo>
                    <a:lnTo>
                      <a:pt x="59150" y="12763"/>
                    </a:lnTo>
                    <a:lnTo>
                      <a:pt x="58960" y="12763"/>
                    </a:lnTo>
                    <a:cubicBezTo>
                      <a:pt x="55721" y="12763"/>
                      <a:pt x="52959" y="13145"/>
                      <a:pt x="50578" y="14002"/>
                    </a:cubicBezTo>
                    <a:cubicBezTo>
                      <a:pt x="52578" y="17145"/>
                      <a:pt x="53530" y="20764"/>
                      <a:pt x="53530" y="24860"/>
                    </a:cubicBezTo>
                    <a:cubicBezTo>
                      <a:pt x="53530" y="28575"/>
                      <a:pt x="52673" y="32004"/>
                      <a:pt x="50863" y="35052"/>
                    </a:cubicBezTo>
                    <a:cubicBezTo>
                      <a:pt x="49054" y="38100"/>
                      <a:pt x="46291" y="40481"/>
                      <a:pt x="42481" y="42196"/>
                    </a:cubicBezTo>
                    <a:cubicBezTo>
                      <a:pt x="38671" y="43910"/>
                      <a:pt x="33814" y="44863"/>
                      <a:pt x="28099" y="44863"/>
                    </a:cubicBezTo>
                    <a:cubicBezTo>
                      <a:pt x="25337" y="44863"/>
                      <a:pt x="22860" y="44672"/>
                      <a:pt x="20479" y="44196"/>
                    </a:cubicBezTo>
                    <a:cubicBezTo>
                      <a:pt x="19717" y="44958"/>
                      <a:pt x="19145" y="45720"/>
                      <a:pt x="18764" y="46292"/>
                    </a:cubicBezTo>
                    <a:cubicBezTo>
                      <a:pt x="18383" y="46863"/>
                      <a:pt x="18193" y="47625"/>
                      <a:pt x="18193" y="48387"/>
                    </a:cubicBezTo>
                    <a:cubicBezTo>
                      <a:pt x="18193" y="49435"/>
                      <a:pt x="18574" y="50197"/>
                      <a:pt x="19336" y="50673"/>
                    </a:cubicBezTo>
                    <a:cubicBezTo>
                      <a:pt x="20098" y="51149"/>
                      <a:pt x="21241" y="51530"/>
                      <a:pt x="22670" y="51721"/>
                    </a:cubicBezTo>
                    <a:cubicBezTo>
                      <a:pt x="24098" y="51911"/>
                      <a:pt x="26479" y="52102"/>
                      <a:pt x="29623" y="52292"/>
                    </a:cubicBezTo>
                    <a:lnTo>
                      <a:pt x="32385" y="52483"/>
                    </a:lnTo>
                    <a:cubicBezTo>
                      <a:pt x="39433" y="52959"/>
                      <a:pt x="44768" y="53530"/>
                      <a:pt x="48387" y="54292"/>
                    </a:cubicBezTo>
                    <a:close/>
                    <a:moveTo>
                      <a:pt x="41815" y="77248"/>
                    </a:moveTo>
                    <a:cubicBezTo>
                      <a:pt x="44482" y="76391"/>
                      <a:pt x="45815" y="74962"/>
                      <a:pt x="45815" y="72771"/>
                    </a:cubicBezTo>
                    <a:cubicBezTo>
                      <a:pt x="45815" y="71247"/>
                      <a:pt x="45244" y="70199"/>
                      <a:pt x="44196" y="69437"/>
                    </a:cubicBezTo>
                    <a:cubicBezTo>
                      <a:pt x="43148" y="68675"/>
                      <a:pt x="41529" y="68199"/>
                      <a:pt x="39433" y="67913"/>
                    </a:cubicBezTo>
                    <a:cubicBezTo>
                      <a:pt x="37338" y="67628"/>
                      <a:pt x="34004" y="67246"/>
                      <a:pt x="29432" y="66961"/>
                    </a:cubicBezTo>
                    <a:lnTo>
                      <a:pt x="27241" y="66770"/>
                    </a:lnTo>
                    <a:cubicBezTo>
                      <a:pt x="27241" y="66770"/>
                      <a:pt x="25527" y="66675"/>
                      <a:pt x="23146" y="66484"/>
                    </a:cubicBezTo>
                    <a:cubicBezTo>
                      <a:pt x="20764" y="66294"/>
                      <a:pt x="18669" y="66008"/>
                      <a:pt x="16764" y="65722"/>
                    </a:cubicBezTo>
                    <a:cubicBezTo>
                      <a:pt x="15907" y="66866"/>
                      <a:pt x="15240" y="67913"/>
                      <a:pt x="14764" y="69056"/>
                    </a:cubicBezTo>
                    <a:cubicBezTo>
                      <a:pt x="14288" y="70199"/>
                      <a:pt x="14097" y="71342"/>
                      <a:pt x="14097" y="72676"/>
                    </a:cubicBezTo>
                    <a:cubicBezTo>
                      <a:pt x="14097" y="74390"/>
                      <a:pt x="14669" y="75629"/>
                      <a:pt x="15716" y="76486"/>
                    </a:cubicBezTo>
                    <a:cubicBezTo>
                      <a:pt x="16764" y="77343"/>
                      <a:pt x="18383" y="77914"/>
                      <a:pt x="20479" y="78200"/>
                    </a:cubicBezTo>
                    <a:cubicBezTo>
                      <a:pt x="22574" y="78486"/>
                      <a:pt x="25622" y="78581"/>
                      <a:pt x="29432" y="78581"/>
                    </a:cubicBezTo>
                    <a:cubicBezTo>
                      <a:pt x="35052" y="78581"/>
                      <a:pt x="39148" y="78200"/>
                      <a:pt x="41815" y="77343"/>
                    </a:cubicBezTo>
                    <a:close/>
                    <a:moveTo>
                      <a:pt x="20288" y="17717"/>
                    </a:moveTo>
                    <a:cubicBezTo>
                      <a:pt x="18574" y="19431"/>
                      <a:pt x="17716" y="21812"/>
                      <a:pt x="17716" y="24860"/>
                    </a:cubicBezTo>
                    <a:cubicBezTo>
                      <a:pt x="17716" y="27908"/>
                      <a:pt x="18574" y="30099"/>
                      <a:pt x="20288" y="31813"/>
                    </a:cubicBezTo>
                    <a:cubicBezTo>
                      <a:pt x="22003" y="33528"/>
                      <a:pt x="24479" y="34290"/>
                      <a:pt x="27718" y="34290"/>
                    </a:cubicBezTo>
                    <a:cubicBezTo>
                      <a:pt x="31623" y="34290"/>
                      <a:pt x="34385" y="33433"/>
                      <a:pt x="36004" y="31813"/>
                    </a:cubicBezTo>
                    <a:cubicBezTo>
                      <a:pt x="37624" y="30194"/>
                      <a:pt x="38481" y="27908"/>
                      <a:pt x="38481" y="24860"/>
                    </a:cubicBezTo>
                    <a:cubicBezTo>
                      <a:pt x="38481" y="21812"/>
                      <a:pt x="37624" y="19431"/>
                      <a:pt x="35909" y="17717"/>
                    </a:cubicBezTo>
                    <a:cubicBezTo>
                      <a:pt x="34195" y="16002"/>
                      <a:pt x="31623" y="15145"/>
                      <a:pt x="28004" y="15145"/>
                    </a:cubicBezTo>
                    <a:cubicBezTo>
                      <a:pt x="24384" y="15145"/>
                      <a:pt x="21907" y="16002"/>
                      <a:pt x="20193" y="17717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58" name="Freeform: Shape 191">
                <a:extLst>
                  <a:ext uri="{FF2B5EF4-FFF2-40B4-BE49-F238E27FC236}">
                    <a16:creationId xmlns:a16="http://schemas.microsoft.com/office/drawing/2014/main" id="{EEFBA319-E34D-6BE5-E788-48E1D5D174E7}"/>
                  </a:ext>
                </a:extLst>
              </p:cNvPr>
              <p:cNvSpPr/>
              <p:nvPr/>
            </p:nvSpPr>
            <p:spPr>
              <a:xfrm>
                <a:off x="6304025" y="3205924"/>
                <a:ext cx="55245" cy="62769"/>
              </a:xfrm>
              <a:custGeom>
                <a:avLst/>
                <a:gdLst>
                  <a:gd name="connsiteX0" fmla="*/ 7715 w 55245"/>
                  <a:gd name="connsiteY0" fmla="*/ 54769 h 62769"/>
                  <a:gd name="connsiteX1" fmla="*/ 0 w 55245"/>
                  <a:gd name="connsiteY1" fmla="*/ 31242 h 62769"/>
                  <a:gd name="connsiteX2" fmla="*/ 3810 w 55245"/>
                  <a:gd name="connsiteY2" fmla="*/ 13716 h 62769"/>
                  <a:gd name="connsiteX3" fmla="*/ 14097 w 55245"/>
                  <a:gd name="connsiteY3" fmla="*/ 3334 h 62769"/>
                  <a:gd name="connsiteX4" fmla="*/ 28480 w 55245"/>
                  <a:gd name="connsiteY4" fmla="*/ 0 h 62769"/>
                  <a:gd name="connsiteX5" fmla="*/ 43720 w 55245"/>
                  <a:gd name="connsiteY5" fmla="*/ 4000 h 62769"/>
                  <a:gd name="connsiteX6" fmla="*/ 52483 w 55245"/>
                  <a:gd name="connsiteY6" fmla="*/ 14478 h 62769"/>
                  <a:gd name="connsiteX7" fmla="*/ 55245 w 55245"/>
                  <a:gd name="connsiteY7" fmla="*/ 29146 h 62769"/>
                  <a:gd name="connsiteX8" fmla="*/ 54864 w 55245"/>
                  <a:gd name="connsiteY8" fmla="*/ 35433 h 62769"/>
                  <a:gd name="connsiteX9" fmla="*/ 16478 w 55245"/>
                  <a:gd name="connsiteY9" fmla="*/ 35433 h 62769"/>
                  <a:gd name="connsiteX10" fmla="*/ 19812 w 55245"/>
                  <a:gd name="connsiteY10" fmla="*/ 46577 h 62769"/>
                  <a:gd name="connsiteX11" fmla="*/ 30194 w 55245"/>
                  <a:gd name="connsiteY11" fmla="*/ 50673 h 62769"/>
                  <a:gd name="connsiteX12" fmla="*/ 35909 w 55245"/>
                  <a:gd name="connsiteY12" fmla="*/ 50006 h 62769"/>
                  <a:gd name="connsiteX13" fmla="*/ 40958 w 55245"/>
                  <a:gd name="connsiteY13" fmla="*/ 48006 h 62769"/>
                  <a:gd name="connsiteX14" fmla="*/ 46958 w 55245"/>
                  <a:gd name="connsiteY14" fmla="*/ 44196 h 62769"/>
                  <a:gd name="connsiteX15" fmla="*/ 53340 w 55245"/>
                  <a:gd name="connsiteY15" fmla="*/ 54388 h 62769"/>
                  <a:gd name="connsiteX16" fmla="*/ 42672 w 55245"/>
                  <a:gd name="connsiteY16" fmla="*/ 60579 h 62769"/>
                  <a:gd name="connsiteX17" fmla="*/ 29432 w 55245"/>
                  <a:gd name="connsiteY17" fmla="*/ 62770 h 62769"/>
                  <a:gd name="connsiteX18" fmla="*/ 7811 w 55245"/>
                  <a:gd name="connsiteY18" fmla="*/ 54864 h 62769"/>
                  <a:gd name="connsiteX19" fmla="*/ 40005 w 55245"/>
                  <a:gd name="connsiteY19" fmla="*/ 24765 h 62769"/>
                  <a:gd name="connsiteX20" fmla="*/ 36862 w 55245"/>
                  <a:gd name="connsiteY20" fmla="*/ 14764 h 62769"/>
                  <a:gd name="connsiteX21" fmla="*/ 28385 w 55245"/>
                  <a:gd name="connsiteY21" fmla="*/ 11525 h 62769"/>
                  <a:gd name="connsiteX22" fmla="*/ 20003 w 55245"/>
                  <a:gd name="connsiteY22" fmla="*/ 14764 h 62769"/>
                  <a:gd name="connsiteX23" fmla="*/ 16669 w 55245"/>
                  <a:gd name="connsiteY23" fmla="*/ 24765 h 62769"/>
                  <a:gd name="connsiteX24" fmla="*/ 40100 w 55245"/>
                  <a:gd name="connsiteY24" fmla="*/ 24765 h 627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55245" h="62769">
                    <a:moveTo>
                      <a:pt x="7715" y="54769"/>
                    </a:moveTo>
                    <a:cubicBezTo>
                      <a:pt x="2572" y="49530"/>
                      <a:pt x="0" y="41624"/>
                      <a:pt x="0" y="31242"/>
                    </a:cubicBezTo>
                    <a:cubicBezTo>
                      <a:pt x="0" y="24289"/>
                      <a:pt x="1238" y="18383"/>
                      <a:pt x="3810" y="13716"/>
                    </a:cubicBezTo>
                    <a:cubicBezTo>
                      <a:pt x="6382" y="9049"/>
                      <a:pt x="9811" y="5620"/>
                      <a:pt x="14097" y="3334"/>
                    </a:cubicBezTo>
                    <a:cubicBezTo>
                      <a:pt x="18383" y="1048"/>
                      <a:pt x="23146" y="0"/>
                      <a:pt x="28480" y="0"/>
                    </a:cubicBezTo>
                    <a:cubicBezTo>
                      <a:pt x="34576" y="0"/>
                      <a:pt x="39719" y="1333"/>
                      <a:pt x="43720" y="4000"/>
                    </a:cubicBezTo>
                    <a:cubicBezTo>
                      <a:pt x="47720" y="6667"/>
                      <a:pt x="50673" y="10192"/>
                      <a:pt x="52483" y="14478"/>
                    </a:cubicBezTo>
                    <a:cubicBezTo>
                      <a:pt x="54293" y="18764"/>
                      <a:pt x="55245" y="23717"/>
                      <a:pt x="55245" y="29146"/>
                    </a:cubicBezTo>
                    <a:cubicBezTo>
                      <a:pt x="55245" y="31242"/>
                      <a:pt x="55150" y="33338"/>
                      <a:pt x="54864" y="35433"/>
                    </a:cubicBezTo>
                    <a:lnTo>
                      <a:pt x="16478" y="35433"/>
                    </a:lnTo>
                    <a:cubicBezTo>
                      <a:pt x="16478" y="40100"/>
                      <a:pt x="17621" y="43815"/>
                      <a:pt x="19812" y="46577"/>
                    </a:cubicBezTo>
                    <a:cubicBezTo>
                      <a:pt x="22003" y="49339"/>
                      <a:pt x="25527" y="50673"/>
                      <a:pt x="30194" y="50673"/>
                    </a:cubicBezTo>
                    <a:cubicBezTo>
                      <a:pt x="32290" y="50673"/>
                      <a:pt x="34195" y="50483"/>
                      <a:pt x="35909" y="50006"/>
                    </a:cubicBezTo>
                    <a:cubicBezTo>
                      <a:pt x="37624" y="49530"/>
                      <a:pt x="39338" y="48863"/>
                      <a:pt x="40958" y="48006"/>
                    </a:cubicBezTo>
                    <a:cubicBezTo>
                      <a:pt x="42577" y="47149"/>
                      <a:pt x="44577" y="45815"/>
                      <a:pt x="46958" y="44196"/>
                    </a:cubicBezTo>
                    <a:lnTo>
                      <a:pt x="53340" y="54388"/>
                    </a:lnTo>
                    <a:cubicBezTo>
                      <a:pt x="49816" y="57055"/>
                      <a:pt x="46196" y="59150"/>
                      <a:pt x="42672" y="60579"/>
                    </a:cubicBezTo>
                    <a:cubicBezTo>
                      <a:pt x="39148" y="62008"/>
                      <a:pt x="34671" y="62770"/>
                      <a:pt x="29432" y="62770"/>
                    </a:cubicBezTo>
                    <a:cubicBezTo>
                      <a:pt x="20193" y="62770"/>
                      <a:pt x="12954" y="60103"/>
                      <a:pt x="7811" y="54864"/>
                    </a:cubicBezTo>
                    <a:close/>
                    <a:moveTo>
                      <a:pt x="40005" y="24765"/>
                    </a:moveTo>
                    <a:cubicBezTo>
                      <a:pt x="39814" y="20193"/>
                      <a:pt x="38767" y="16859"/>
                      <a:pt x="36862" y="14764"/>
                    </a:cubicBezTo>
                    <a:cubicBezTo>
                      <a:pt x="34957" y="12668"/>
                      <a:pt x="32099" y="11525"/>
                      <a:pt x="28385" y="11525"/>
                    </a:cubicBezTo>
                    <a:cubicBezTo>
                      <a:pt x="24670" y="11525"/>
                      <a:pt x="22098" y="12573"/>
                      <a:pt x="20003" y="14764"/>
                    </a:cubicBezTo>
                    <a:cubicBezTo>
                      <a:pt x="17907" y="16954"/>
                      <a:pt x="16764" y="20288"/>
                      <a:pt x="16669" y="24765"/>
                    </a:cubicBezTo>
                    <a:lnTo>
                      <a:pt x="40100" y="24765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59" name="Freeform: Shape 192">
                <a:extLst>
                  <a:ext uri="{FF2B5EF4-FFF2-40B4-BE49-F238E27FC236}">
                    <a16:creationId xmlns:a16="http://schemas.microsoft.com/office/drawing/2014/main" id="{10B300C1-3B2F-4F62-EDC8-80F0DF860F07}"/>
                  </a:ext>
                </a:extLst>
              </p:cNvPr>
              <p:cNvSpPr/>
              <p:nvPr/>
            </p:nvSpPr>
            <p:spPr>
              <a:xfrm>
                <a:off x="6370796" y="3205924"/>
                <a:ext cx="87058" cy="61721"/>
              </a:xfrm>
              <a:custGeom>
                <a:avLst/>
                <a:gdLst>
                  <a:gd name="connsiteX0" fmla="*/ 381 w 87058"/>
                  <a:gd name="connsiteY0" fmla="*/ 14668 h 61721"/>
                  <a:gd name="connsiteX1" fmla="*/ 286 w 87058"/>
                  <a:gd name="connsiteY1" fmla="*/ 6763 h 61721"/>
                  <a:gd name="connsiteX2" fmla="*/ 0 w 87058"/>
                  <a:gd name="connsiteY2" fmla="*/ 1238 h 61721"/>
                  <a:gd name="connsiteX3" fmla="*/ 14954 w 87058"/>
                  <a:gd name="connsiteY3" fmla="*/ 1238 h 61721"/>
                  <a:gd name="connsiteX4" fmla="*/ 15430 w 87058"/>
                  <a:gd name="connsiteY4" fmla="*/ 6191 h 61721"/>
                  <a:gd name="connsiteX5" fmla="*/ 15716 w 87058"/>
                  <a:gd name="connsiteY5" fmla="*/ 12097 h 61721"/>
                  <a:gd name="connsiteX6" fmla="*/ 15907 w 87058"/>
                  <a:gd name="connsiteY6" fmla="*/ 12097 h 61721"/>
                  <a:gd name="connsiteX7" fmla="*/ 23146 w 87058"/>
                  <a:gd name="connsiteY7" fmla="*/ 2953 h 61721"/>
                  <a:gd name="connsiteX8" fmla="*/ 33528 w 87058"/>
                  <a:gd name="connsiteY8" fmla="*/ 0 h 61721"/>
                  <a:gd name="connsiteX9" fmla="*/ 44577 w 87058"/>
                  <a:gd name="connsiteY9" fmla="*/ 3143 h 61721"/>
                  <a:gd name="connsiteX10" fmla="*/ 50292 w 87058"/>
                  <a:gd name="connsiteY10" fmla="*/ 12192 h 61721"/>
                  <a:gd name="connsiteX11" fmla="*/ 50673 w 87058"/>
                  <a:gd name="connsiteY11" fmla="*/ 12192 h 61721"/>
                  <a:gd name="connsiteX12" fmla="*/ 58103 w 87058"/>
                  <a:gd name="connsiteY12" fmla="*/ 2858 h 61721"/>
                  <a:gd name="connsiteX13" fmla="*/ 68961 w 87058"/>
                  <a:gd name="connsiteY13" fmla="*/ 95 h 61721"/>
                  <a:gd name="connsiteX14" fmla="*/ 82677 w 87058"/>
                  <a:gd name="connsiteY14" fmla="*/ 6477 h 61721"/>
                  <a:gd name="connsiteX15" fmla="*/ 87058 w 87058"/>
                  <a:gd name="connsiteY15" fmla="*/ 23431 h 61721"/>
                  <a:gd name="connsiteX16" fmla="*/ 87058 w 87058"/>
                  <a:gd name="connsiteY16" fmla="*/ 61722 h 61721"/>
                  <a:gd name="connsiteX17" fmla="*/ 71533 w 87058"/>
                  <a:gd name="connsiteY17" fmla="*/ 61722 h 61721"/>
                  <a:gd name="connsiteX18" fmla="*/ 71533 w 87058"/>
                  <a:gd name="connsiteY18" fmla="*/ 27908 h 61721"/>
                  <a:gd name="connsiteX19" fmla="*/ 69533 w 87058"/>
                  <a:gd name="connsiteY19" fmla="*/ 17431 h 61721"/>
                  <a:gd name="connsiteX20" fmla="*/ 62865 w 87058"/>
                  <a:gd name="connsiteY20" fmla="*/ 13716 h 61721"/>
                  <a:gd name="connsiteX21" fmla="*/ 57245 w 87058"/>
                  <a:gd name="connsiteY21" fmla="*/ 15621 h 61721"/>
                  <a:gd name="connsiteX22" fmla="*/ 53245 w 87058"/>
                  <a:gd name="connsiteY22" fmla="*/ 20860 h 61721"/>
                  <a:gd name="connsiteX23" fmla="*/ 51626 w 87058"/>
                  <a:gd name="connsiteY23" fmla="*/ 28575 h 61721"/>
                  <a:gd name="connsiteX24" fmla="*/ 51626 w 87058"/>
                  <a:gd name="connsiteY24" fmla="*/ 61722 h 61721"/>
                  <a:gd name="connsiteX25" fmla="*/ 36100 w 87058"/>
                  <a:gd name="connsiteY25" fmla="*/ 61722 h 61721"/>
                  <a:gd name="connsiteX26" fmla="*/ 36100 w 87058"/>
                  <a:gd name="connsiteY26" fmla="*/ 27908 h 61721"/>
                  <a:gd name="connsiteX27" fmla="*/ 34099 w 87058"/>
                  <a:gd name="connsiteY27" fmla="*/ 17431 h 61721"/>
                  <a:gd name="connsiteX28" fmla="*/ 27432 w 87058"/>
                  <a:gd name="connsiteY28" fmla="*/ 13716 h 61721"/>
                  <a:gd name="connsiteX29" fmla="*/ 21717 w 87058"/>
                  <a:gd name="connsiteY29" fmla="*/ 15716 h 61721"/>
                  <a:gd name="connsiteX30" fmla="*/ 17716 w 87058"/>
                  <a:gd name="connsiteY30" fmla="*/ 21241 h 61721"/>
                  <a:gd name="connsiteX31" fmla="*/ 16288 w 87058"/>
                  <a:gd name="connsiteY31" fmla="*/ 29337 h 61721"/>
                  <a:gd name="connsiteX32" fmla="*/ 16288 w 87058"/>
                  <a:gd name="connsiteY32" fmla="*/ 61722 h 61721"/>
                  <a:gd name="connsiteX33" fmla="*/ 571 w 87058"/>
                  <a:gd name="connsiteY33" fmla="*/ 61722 h 61721"/>
                  <a:gd name="connsiteX34" fmla="*/ 571 w 87058"/>
                  <a:gd name="connsiteY34" fmla="*/ 14859 h 617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87058" h="61721">
                    <a:moveTo>
                      <a:pt x="381" y="14668"/>
                    </a:moveTo>
                    <a:cubicBezTo>
                      <a:pt x="381" y="12097"/>
                      <a:pt x="381" y="9430"/>
                      <a:pt x="286" y="6763"/>
                    </a:cubicBezTo>
                    <a:cubicBezTo>
                      <a:pt x="190" y="4096"/>
                      <a:pt x="95" y="2191"/>
                      <a:pt x="0" y="1238"/>
                    </a:cubicBezTo>
                    <a:lnTo>
                      <a:pt x="14954" y="1238"/>
                    </a:lnTo>
                    <a:cubicBezTo>
                      <a:pt x="15145" y="2096"/>
                      <a:pt x="15240" y="3715"/>
                      <a:pt x="15430" y="6191"/>
                    </a:cubicBezTo>
                    <a:cubicBezTo>
                      <a:pt x="15621" y="8668"/>
                      <a:pt x="15716" y="10668"/>
                      <a:pt x="15716" y="12097"/>
                    </a:cubicBezTo>
                    <a:lnTo>
                      <a:pt x="15907" y="12097"/>
                    </a:lnTo>
                    <a:cubicBezTo>
                      <a:pt x="17812" y="8001"/>
                      <a:pt x="20193" y="4953"/>
                      <a:pt x="23146" y="2953"/>
                    </a:cubicBezTo>
                    <a:cubicBezTo>
                      <a:pt x="26098" y="952"/>
                      <a:pt x="29528" y="0"/>
                      <a:pt x="33528" y="0"/>
                    </a:cubicBezTo>
                    <a:cubicBezTo>
                      <a:pt x="38100" y="0"/>
                      <a:pt x="41719" y="1048"/>
                      <a:pt x="44577" y="3143"/>
                    </a:cubicBezTo>
                    <a:cubicBezTo>
                      <a:pt x="47435" y="5239"/>
                      <a:pt x="49340" y="8192"/>
                      <a:pt x="50292" y="12192"/>
                    </a:cubicBezTo>
                    <a:lnTo>
                      <a:pt x="50673" y="12192"/>
                    </a:lnTo>
                    <a:cubicBezTo>
                      <a:pt x="52673" y="7810"/>
                      <a:pt x="55245" y="4667"/>
                      <a:pt x="58103" y="2858"/>
                    </a:cubicBezTo>
                    <a:cubicBezTo>
                      <a:pt x="60960" y="1048"/>
                      <a:pt x="64675" y="95"/>
                      <a:pt x="68961" y="95"/>
                    </a:cubicBezTo>
                    <a:cubicBezTo>
                      <a:pt x="75247" y="95"/>
                      <a:pt x="79819" y="2191"/>
                      <a:pt x="82677" y="6477"/>
                    </a:cubicBezTo>
                    <a:cubicBezTo>
                      <a:pt x="85535" y="10763"/>
                      <a:pt x="87058" y="16383"/>
                      <a:pt x="87058" y="23431"/>
                    </a:cubicBezTo>
                    <a:lnTo>
                      <a:pt x="87058" y="61722"/>
                    </a:lnTo>
                    <a:lnTo>
                      <a:pt x="71533" y="61722"/>
                    </a:lnTo>
                    <a:lnTo>
                      <a:pt x="71533" y="27908"/>
                    </a:lnTo>
                    <a:cubicBezTo>
                      <a:pt x="71533" y="23336"/>
                      <a:pt x="70866" y="19907"/>
                      <a:pt x="69533" y="17431"/>
                    </a:cubicBezTo>
                    <a:cubicBezTo>
                      <a:pt x="68199" y="14954"/>
                      <a:pt x="66008" y="13716"/>
                      <a:pt x="62865" y="13716"/>
                    </a:cubicBezTo>
                    <a:cubicBezTo>
                      <a:pt x="60769" y="13716"/>
                      <a:pt x="58865" y="14383"/>
                      <a:pt x="57245" y="15621"/>
                    </a:cubicBezTo>
                    <a:cubicBezTo>
                      <a:pt x="55626" y="16859"/>
                      <a:pt x="54197" y="18574"/>
                      <a:pt x="53245" y="20860"/>
                    </a:cubicBezTo>
                    <a:cubicBezTo>
                      <a:pt x="52292" y="23146"/>
                      <a:pt x="51721" y="25717"/>
                      <a:pt x="51626" y="28575"/>
                    </a:cubicBezTo>
                    <a:lnTo>
                      <a:pt x="51626" y="61722"/>
                    </a:lnTo>
                    <a:lnTo>
                      <a:pt x="36100" y="61722"/>
                    </a:lnTo>
                    <a:lnTo>
                      <a:pt x="36100" y="27908"/>
                    </a:lnTo>
                    <a:cubicBezTo>
                      <a:pt x="36100" y="23336"/>
                      <a:pt x="35433" y="19907"/>
                      <a:pt x="34099" y="17431"/>
                    </a:cubicBezTo>
                    <a:cubicBezTo>
                      <a:pt x="32766" y="14954"/>
                      <a:pt x="30575" y="13716"/>
                      <a:pt x="27432" y="13716"/>
                    </a:cubicBezTo>
                    <a:cubicBezTo>
                      <a:pt x="25337" y="13716"/>
                      <a:pt x="23431" y="14383"/>
                      <a:pt x="21717" y="15716"/>
                    </a:cubicBezTo>
                    <a:cubicBezTo>
                      <a:pt x="20003" y="17050"/>
                      <a:pt x="18669" y="18859"/>
                      <a:pt x="17716" y="21241"/>
                    </a:cubicBezTo>
                    <a:cubicBezTo>
                      <a:pt x="16764" y="23622"/>
                      <a:pt x="16288" y="26289"/>
                      <a:pt x="16288" y="29337"/>
                    </a:cubicBezTo>
                    <a:lnTo>
                      <a:pt x="16288" y="61722"/>
                    </a:lnTo>
                    <a:lnTo>
                      <a:pt x="571" y="61722"/>
                    </a:lnTo>
                    <a:lnTo>
                      <a:pt x="571" y="14859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60" name="Freeform: Shape 193">
                <a:extLst>
                  <a:ext uri="{FF2B5EF4-FFF2-40B4-BE49-F238E27FC236}">
                    <a16:creationId xmlns:a16="http://schemas.microsoft.com/office/drawing/2014/main" id="{F621D99B-F153-A066-3F59-1A8F70A566A9}"/>
                  </a:ext>
                </a:extLst>
              </p:cNvPr>
              <p:cNvSpPr/>
              <p:nvPr/>
            </p:nvSpPr>
            <p:spPr>
              <a:xfrm>
                <a:off x="6469284" y="3205924"/>
                <a:ext cx="55244" cy="62769"/>
              </a:xfrm>
              <a:custGeom>
                <a:avLst/>
                <a:gdLst>
                  <a:gd name="connsiteX0" fmla="*/ 7715 w 55244"/>
                  <a:gd name="connsiteY0" fmla="*/ 54769 h 62769"/>
                  <a:gd name="connsiteX1" fmla="*/ 0 w 55244"/>
                  <a:gd name="connsiteY1" fmla="*/ 31242 h 62769"/>
                  <a:gd name="connsiteX2" fmla="*/ 3810 w 55244"/>
                  <a:gd name="connsiteY2" fmla="*/ 13716 h 62769"/>
                  <a:gd name="connsiteX3" fmla="*/ 14097 w 55244"/>
                  <a:gd name="connsiteY3" fmla="*/ 3334 h 62769"/>
                  <a:gd name="connsiteX4" fmla="*/ 28480 w 55244"/>
                  <a:gd name="connsiteY4" fmla="*/ 0 h 62769"/>
                  <a:gd name="connsiteX5" fmla="*/ 43720 w 55244"/>
                  <a:gd name="connsiteY5" fmla="*/ 4000 h 62769"/>
                  <a:gd name="connsiteX6" fmla="*/ 52483 w 55244"/>
                  <a:gd name="connsiteY6" fmla="*/ 14478 h 62769"/>
                  <a:gd name="connsiteX7" fmla="*/ 55245 w 55244"/>
                  <a:gd name="connsiteY7" fmla="*/ 29146 h 62769"/>
                  <a:gd name="connsiteX8" fmla="*/ 54864 w 55244"/>
                  <a:gd name="connsiteY8" fmla="*/ 35433 h 62769"/>
                  <a:gd name="connsiteX9" fmla="*/ 16478 w 55244"/>
                  <a:gd name="connsiteY9" fmla="*/ 35433 h 62769"/>
                  <a:gd name="connsiteX10" fmla="*/ 19812 w 55244"/>
                  <a:gd name="connsiteY10" fmla="*/ 46577 h 62769"/>
                  <a:gd name="connsiteX11" fmla="*/ 30194 w 55244"/>
                  <a:gd name="connsiteY11" fmla="*/ 50673 h 62769"/>
                  <a:gd name="connsiteX12" fmla="*/ 35909 w 55244"/>
                  <a:gd name="connsiteY12" fmla="*/ 50006 h 62769"/>
                  <a:gd name="connsiteX13" fmla="*/ 40957 w 55244"/>
                  <a:gd name="connsiteY13" fmla="*/ 48006 h 62769"/>
                  <a:gd name="connsiteX14" fmla="*/ 46958 w 55244"/>
                  <a:gd name="connsiteY14" fmla="*/ 44196 h 62769"/>
                  <a:gd name="connsiteX15" fmla="*/ 53340 w 55244"/>
                  <a:gd name="connsiteY15" fmla="*/ 54388 h 62769"/>
                  <a:gd name="connsiteX16" fmla="*/ 42672 w 55244"/>
                  <a:gd name="connsiteY16" fmla="*/ 60579 h 62769"/>
                  <a:gd name="connsiteX17" fmla="*/ 29433 w 55244"/>
                  <a:gd name="connsiteY17" fmla="*/ 62770 h 62769"/>
                  <a:gd name="connsiteX18" fmla="*/ 7811 w 55244"/>
                  <a:gd name="connsiteY18" fmla="*/ 54864 h 62769"/>
                  <a:gd name="connsiteX19" fmla="*/ 40005 w 55244"/>
                  <a:gd name="connsiteY19" fmla="*/ 24765 h 62769"/>
                  <a:gd name="connsiteX20" fmla="*/ 36862 w 55244"/>
                  <a:gd name="connsiteY20" fmla="*/ 14764 h 62769"/>
                  <a:gd name="connsiteX21" fmla="*/ 28384 w 55244"/>
                  <a:gd name="connsiteY21" fmla="*/ 11525 h 62769"/>
                  <a:gd name="connsiteX22" fmla="*/ 20002 w 55244"/>
                  <a:gd name="connsiteY22" fmla="*/ 14764 h 62769"/>
                  <a:gd name="connsiteX23" fmla="*/ 16669 w 55244"/>
                  <a:gd name="connsiteY23" fmla="*/ 24765 h 62769"/>
                  <a:gd name="connsiteX24" fmla="*/ 40100 w 55244"/>
                  <a:gd name="connsiteY24" fmla="*/ 24765 h 627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55244" h="62769">
                    <a:moveTo>
                      <a:pt x="7715" y="54769"/>
                    </a:moveTo>
                    <a:cubicBezTo>
                      <a:pt x="2572" y="49530"/>
                      <a:pt x="0" y="41624"/>
                      <a:pt x="0" y="31242"/>
                    </a:cubicBezTo>
                    <a:cubicBezTo>
                      <a:pt x="0" y="24289"/>
                      <a:pt x="1238" y="18383"/>
                      <a:pt x="3810" y="13716"/>
                    </a:cubicBezTo>
                    <a:cubicBezTo>
                      <a:pt x="6382" y="9049"/>
                      <a:pt x="9810" y="5620"/>
                      <a:pt x="14097" y="3334"/>
                    </a:cubicBezTo>
                    <a:cubicBezTo>
                      <a:pt x="18383" y="1048"/>
                      <a:pt x="23146" y="0"/>
                      <a:pt x="28480" y="0"/>
                    </a:cubicBezTo>
                    <a:cubicBezTo>
                      <a:pt x="34576" y="0"/>
                      <a:pt x="39719" y="1333"/>
                      <a:pt x="43720" y="4000"/>
                    </a:cubicBezTo>
                    <a:cubicBezTo>
                      <a:pt x="47720" y="6667"/>
                      <a:pt x="50673" y="10192"/>
                      <a:pt x="52483" y="14478"/>
                    </a:cubicBezTo>
                    <a:cubicBezTo>
                      <a:pt x="54293" y="18764"/>
                      <a:pt x="55245" y="23717"/>
                      <a:pt x="55245" y="29146"/>
                    </a:cubicBezTo>
                    <a:cubicBezTo>
                      <a:pt x="55245" y="31242"/>
                      <a:pt x="55150" y="33338"/>
                      <a:pt x="54864" y="35433"/>
                    </a:cubicBezTo>
                    <a:lnTo>
                      <a:pt x="16478" y="35433"/>
                    </a:lnTo>
                    <a:cubicBezTo>
                      <a:pt x="16478" y="40100"/>
                      <a:pt x="17621" y="43815"/>
                      <a:pt x="19812" y="46577"/>
                    </a:cubicBezTo>
                    <a:cubicBezTo>
                      <a:pt x="22003" y="49339"/>
                      <a:pt x="25527" y="50673"/>
                      <a:pt x="30194" y="50673"/>
                    </a:cubicBezTo>
                    <a:cubicBezTo>
                      <a:pt x="32290" y="50673"/>
                      <a:pt x="34195" y="50483"/>
                      <a:pt x="35909" y="50006"/>
                    </a:cubicBezTo>
                    <a:cubicBezTo>
                      <a:pt x="37624" y="49530"/>
                      <a:pt x="39338" y="48863"/>
                      <a:pt x="40957" y="48006"/>
                    </a:cubicBezTo>
                    <a:cubicBezTo>
                      <a:pt x="42576" y="47149"/>
                      <a:pt x="44577" y="45815"/>
                      <a:pt x="46958" y="44196"/>
                    </a:cubicBezTo>
                    <a:lnTo>
                      <a:pt x="53340" y="54388"/>
                    </a:lnTo>
                    <a:cubicBezTo>
                      <a:pt x="49816" y="57055"/>
                      <a:pt x="46196" y="59150"/>
                      <a:pt x="42672" y="60579"/>
                    </a:cubicBezTo>
                    <a:cubicBezTo>
                      <a:pt x="39148" y="62008"/>
                      <a:pt x="34671" y="62770"/>
                      <a:pt x="29433" y="62770"/>
                    </a:cubicBezTo>
                    <a:cubicBezTo>
                      <a:pt x="20193" y="62770"/>
                      <a:pt x="12954" y="60103"/>
                      <a:pt x="7811" y="54864"/>
                    </a:cubicBezTo>
                    <a:close/>
                    <a:moveTo>
                      <a:pt x="40005" y="24765"/>
                    </a:moveTo>
                    <a:cubicBezTo>
                      <a:pt x="39814" y="20193"/>
                      <a:pt x="38767" y="16859"/>
                      <a:pt x="36862" y="14764"/>
                    </a:cubicBezTo>
                    <a:cubicBezTo>
                      <a:pt x="34957" y="12668"/>
                      <a:pt x="32099" y="11525"/>
                      <a:pt x="28384" y="11525"/>
                    </a:cubicBezTo>
                    <a:cubicBezTo>
                      <a:pt x="24670" y="11525"/>
                      <a:pt x="22098" y="12573"/>
                      <a:pt x="20002" y="14764"/>
                    </a:cubicBezTo>
                    <a:cubicBezTo>
                      <a:pt x="17907" y="16954"/>
                      <a:pt x="16764" y="20288"/>
                      <a:pt x="16669" y="24765"/>
                    </a:cubicBezTo>
                    <a:lnTo>
                      <a:pt x="40100" y="24765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61" name="Freeform: Shape 194">
                <a:extLst>
                  <a:ext uri="{FF2B5EF4-FFF2-40B4-BE49-F238E27FC236}">
                    <a16:creationId xmlns:a16="http://schemas.microsoft.com/office/drawing/2014/main" id="{F27A742A-D3B0-36EC-64B8-327325473EAC}"/>
                  </a:ext>
                </a:extLst>
              </p:cNvPr>
              <p:cNvSpPr/>
              <p:nvPr/>
            </p:nvSpPr>
            <p:spPr>
              <a:xfrm>
                <a:off x="6535959" y="3205924"/>
                <a:ext cx="55149" cy="61721"/>
              </a:xfrm>
              <a:custGeom>
                <a:avLst/>
                <a:gdLst>
                  <a:gd name="connsiteX0" fmla="*/ 381 w 55149"/>
                  <a:gd name="connsiteY0" fmla="*/ 14668 h 61721"/>
                  <a:gd name="connsiteX1" fmla="*/ 285 w 55149"/>
                  <a:gd name="connsiteY1" fmla="*/ 6763 h 61721"/>
                  <a:gd name="connsiteX2" fmla="*/ 0 w 55149"/>
                  <a:gd name="connsiteY2" fmla="*/ 1238 h 61721"/>
                  <a:gd name="connsiteX3" fmla="*/ 14954 w 55149"/>
                  <a:gd name="connsiteY3" fmla="*/ 1238 h 61721"/>
                  <a:gd name="connsiteX4" fmla="*/ 15430 w 55149"/>
                  <a:gd name="connsiteY4" fmla="*/ 6191 h 61721"/>
                  <a:gd name="connsiteX5" fmla="*/ 15716 w 55149"/>
                  <a:gd name="connsiteY5" fmla="*/ 12097 h 61721"/>
                  <a:gd name="connsiteX6" fmla="*/ 15907 w 55149"/>
                  <a:gd name="connsiteY6" fmla="*/ 12097 h 61721"/>
                  <a:gd name="connsiteX7" fmla="*/ 23908 w 55149"/>
                  <a:gd name="connsiteY7" fmla="*/ 2953 h 61721"/>
                  <a:gd name="connsiteX8" fmla="*/ 35338 w 55149"/>
                  <a:gd name="connsiteY8" fmla="*/ 0 h 61721"/>
                  <a:gd name="connsiteX9" fmla="*/ 50387 w 55149"/>
                  <a:gd name="connsiteY9" fmla="*/ 6382 h 61721"/>
                  <a:gd name="connsiteX10" fmla="*/ 55150 w 55149"/>
                  <a:gd name="connsiteY10" fmla="*/ 23336 h 61721"/>
                  <a:gd name="connsiteX11" fmla="*/ 55150 w 55149"/>
                  <a:gd name="connsiteY11" fmla="*/ 61627 h 61721"/>
                  <a:gd name="connsiteX12" fmla="*/ 39529 w 55149"/>
                  <a:gd name="connsiteY12" fmla="*/ 61627 h 61721"/>
                  <a:gd name="connsiteX13" fmla="*/ 39529 w 55149"/>
                  <a:gd name="connsiteY13" fmla="*/ 27813 h 61721"/>
                  <a:gd name="connsiteX14" fmla="*/ 37242 w 55149"/>
                  <a:gd name="connsiteY14" fmla="*/ 17240 h 61721"/>
                  <a:gd name="connsiteX15" fmla="*/ 29337 w 55149"/>
                  <a:gd name="connsiteY15" fmla="*/ 13525 h 61721"/>
                  <a:gd name="connsiteX16" fmla="*/ 22574 w 55149"/>
                  <a:gd name="connsiteY16" fmla="*/ 15526 h 61721"/>
                  <a:gd name="connsiteX17" fmla="*/ 17812 w 55149"/>
                  <a:gd name="connsiteY17" fmla="*/ 21146 h 61721"/>
                  <a:gd name="connsiteX18" fmla="*/ 16097 w 55149"/>
                  <a:gd name="connsiteY18" fmla="*/ 29337 h 61721"/>
                  <a:gd name="connsiteX19" fmla="*/ 16097 w 55149"/>
                  <a:gd name="connsiteY19" fmla="*/ 61722 h 61721"/>
                  <a:gd name="connsiteX20" fmla="*/ 381 w 55149"/>
                  <a:gd name="connsiteY20" fmla="*/ 61722 h 61721"/>
                  <a:gd name="connsiteX21" fmla="*/ 381 w 55149"/>
                  <a:gd name="connsiteY21" fmla="*/ 14859 h 617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55149" h="61721">
                    <a:moveTo>
                      <a:pt x="381" y="14668"/>
                    </a:moveTo>
                    <a:cubicBezTo>
                      <a:pt x="381" y="12097"/>
                      <a:pt x="381" y="9430"/>
                      <a:pt x="285" y="6763"/>
                    </a:cubicBezTo>
                    <a:cubicBezTo>
                      <a:pt x="191" y="4096"/>
                      <a:pt x="95" y="2191"/>
                      <a:pt x="0" y="1238"/>
                    </a:cubicBezTo>
                    <a:lnTo>
                      <a:pt x="14954" y="1238"/>
                    </a:lnTo>
                    <a:cubicBezTo>
                      <a:pt x="15145" y="2096"/>
                      <a:pt x="15240" y="3715"/>
                      <a:pt x="15430" y="6191"/>
                    </a:cubicBezTo>
                    <a:cubicBezTo>
                      <a:pt x="15621" y="8668"/>
                      <a:pt x="15716" y="10668"/>
                      <a:pt x="15716" y="12097"/>
                    </a:cubicBezTo>
                    <a:lnTo>
                      <a:pt x="15907" y="12097"/>
                    </a:lnTo>
                    <a:cubicBezTo>
                      <a:pt x="18002" y="8001"/>
                      <a:pt x="20669" y="4953"/>
                      <a:pt x="23908" y="2953"/>
                    </a:cubicBezTo>
                    <a:cubicBezTo>
                      <a:pt x="27146" y="952"/>
                      <a:pt x="30956" y="0"/>
                      <a:pt x="35338" y="0"/>
                    </a:cubicBezTo>
                    <a:cubicBezTo>
                      <a:pt x="42196" y="0"/>
                      <a:pt x="47244" y="2096"/>
                      <a:pt x="50387" y="6382"/>
                    </a:cubicBezTo>
                    <a:cubicBezTo>
                      <a:pt x="53530" y="10668"/>
                      <a:pt x="55150" y="16288"/>
                      <a:pt x="55150" y="23336"/>
                    </a:cubicBezTo>
                    <a:lnTo>
                      <a:pt x="55150" y="61627"/>
                    </a:lnTo>
                    <a:lnTo>
                      <a:pt x="39529" y="61627"/>
                    </a:lnTo>
                    <a:lnTo>
                      <a:pt x="39529" y="27813"/>
                    </a:lnTo>
                    <a:cubicBezTo>
                      <a:pt x="39529" y="23241"/>
                      <a:pt x="38767" y="19717"/>
                      <a:pt x="37242" y="17240"/>
                    </a:cubicBezTo>
                    <a:cubicBezTo>
                      <a:pt x="35719" y="14764"/>
                      <a:pt x="33051" y="13525"/>
                      <a:pt x="29337" y="13525"/>
                    </a:cubicBezTo>
                    <a:cubicBezTo>
                      <a:pt x="26765" y="13525"/>
                      <a:pt x="24575" y="14192"/>
                      <a:pt x="22574" y="15526"/>
                    </a:cubicBezTo>
                    <a:cubicBezTo>
                      <a:pt x="20574" y="16859"/>
                      <a:pt x="18955" y="18669"/>
                      <a:pt x="17812" y="21146"/>
                    </a:cubicBezTo>
                    <a:cubicBezTo>
                      <a:pt x="16669" y="23622"/>
                      <a:pt x="16097" y="26289"/>
                      <a:pt x="16097" y="29337"/>
                    </a:cubicBezTo>
                    <a:lnTo>
                      <a:pt x="16097" y="61722"/>
                    </a:lnTo>
                    <a:lnTo>
                      <a:pt x="381" y="61722"/>
                    </a:lnTo>
                    <a:lnTo>
                      <a:pt x="381" y="14859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62" name="Freeform: Shape 195">
                <a:extLst>
                  <a:ext uri="{FF2B5EF4-FFF2-40B4-BE49-F238E27FC236}">
                    <a16:creationId xmlns:a16="http://schemas.microsoft.com/office/drawing/2014/main" id="{85784B29-2420-E371-A233-AC565721AB15}"/>
                  </a:ext>
                </a:extLst>
              </p:cNvPr>
              <p:cNvSpPr/>
              <p:nvPr/>
            </p:nvSpPr>
            <p:spPr>
              <a:xfrm>
                <a:off x="6599586" y="3192399"/>
                <a:ext cx="35814" cy="76104"/>
              </a:xfrm>
              <a:custGeom>
                <a:avLst/>
                <a:gdLst>
                  <a:gd name="connsiteX0" fmla="*/ 11621 w 35814"/>
                  <a:gd name="connsiteY0" fmla="*/ 71914 h 76104"/>
                  <a:gd name="connsiteX1" fmla="*/ 7620 w 35814"/>
                  <a:gd name="connsiteY1" fmla="*/ 59722 h 76104"/>
                  <a:gd name="connsiteX2" fmla="*/ 7620 w 35814"/>
                  <a:gd name="connsiteY2" fmla="*/ 26384 h 76104"/>
                  <a:gd name="connsiteX3" fmla="*/ 0 w 35814"/>
                  <a:gd name="connsiteY3" fmla="*/ 26384 h 76104"/>
                  <a:gd name="connsiteX4" fmla="*/ 0 w 35814"/>
                  <a:gd name="connsiteY4" fmla="*/ 14764 h 76104"/>
                  <a:gd name="connsiteX5" fmla="*/ 8382 w 35814"/>
                  <a:gd name="connsiteY5" fmla="*/ 14764 h 76104"/>
                  <a:gd name="connsiteX6" fmla="*/ 9144 w 35814"/>
                  <a:gd name="connsiteY6" fmla="*/ 1143 h 76104"/>
                  <a:gd name="connsiteX7" fmla="*/ 23050 w 35814"/>
                  <a:gd name="connsiteY7" fmla="*/ 0 h 76104"/>
                  <a:gd name="connsiteX8" fmla="*/ 23050 w 35814"/>
                  <a:gd name="connsiteY8" fmla="*/ 14764 h 76104"/>
                  <a:gd name="connsiteX9" fmla="*/ 35052 w 35814"/>
                  <a:gd name="connsiteY9" fmla="*/ 14764 h 76104"/>
                  <a:gd name="connsiteX10" fmla="*/ 35052 w 35814"/>
                  <a:gd name="connsiteY10" fmla="*/ 26384 h 76104"/>
                  <a:gd name="connsiteX11" fmla="*/ 23050 w 35814"/>
                  <a:gd name="connsiteY11" fmla="*/ 26384 h 76104"/>
                  <a:gd name="connsiteX12" fmla="*/ 23050 w 35814"/>
                  <a:gd name="connsiteY12" fmla="*/ 55531 h 76104"/>
                  <a:gd name="connsiteX13" fmla="*/ 24479 w 35814"/>
                  <a:gd name="connsiteY13" fmla="*/ 61246 h 76104"/>
                  <a:gd name="connsiteX14" fmla="*/ 28956 w 35814"/>
                  <a:gd name="connsiteY14" fmla="*/ 63055 h 76104"/>
                  <a:gd name="connsiteX15" fmla="*/ 34671 w 35814"/>
                  <a:gd name="connsiteY15" fmla="*/ 62389 h 76104"/>
                  <a:gd name="connsiteX16" fmla="*/ 35814 w 35814"/>
                  <a:gd name="connsiteY16" fmla="*/ 74295 h 76104"/>
                  <a:gd name="connsiteX17" fmla="*/ 23050 w 35814"/>
                  <a:gd name="connsiteY17" fmla="*/ 76105 h 76104"/>
                  <a:gd name="connsiteX18" fmla="*/ 11525 w 35814"/>
                  <a:gd name="connsiteY18" fmla="*/ 72009 h 761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814" h="76104">
                    <a:moveTo>
                      <a:pt x="11621" y="71914"/>
                    </a:moveTo>
                    <a:cubicBezTo>
                      <a:pt x="8954" y="69151"/>
                      <a:pt x="7620" y="65151"/>
                      <a:pt x="7620" y="59722"/>
                    </a:cubicBezTo>
                    <a:lnTo>
                      <a:pt x="7620" y="26384"/>
                    </a:lnTo>
                    <a:lnTo>
                      <a:pt x="0" y="26384"/>
                    </a:lnTo>
                    <a:lnTo>
                      <a:pt x="0" y="14764"/>
                    </a:lnTo>
                    <a:lnTo>
                      <a:pt x="8382" y="14764"/>
                    </a:lnTo>
                    <a:lnTo>
                      <a:pt x="9144" y="1143"/>
                    </a:lnTo>
                    <a:lnTo>
                      <a:pt x="23050" y="0"/>
                    </a:lnTo>
                    <a:lnTo>
                      <a:pt x="23050" y="14764"/>
                    </a:lnTo>
                    <a:lnTo>
                      <a:pt x="35052" y="14764"/>
                    </a:lnTo>
                    <a:lnTo>
                      <a:pt x="35052" y="26384"/>
                    </a:lnTo>
                    <a:lnTo>
                      <a:pt x="23050" y="26384"/>
                    </a:lnTo>
                    <a:lnTo>
                      <a:pt x="23050" y="55531"/>
                    </a:lnTo>
                    <a:cubicBezTo>
                      <a:pt x="23050" y="58102"/>
                      <a:pt x="23527" y="60008"/>
                      <a:pt x="24479" y="61246"/>
                    </a:cubicBezTo>
                    <a:cubicBezTo>
                      <a:pt x="25432" y="62484"/>
                      <a:pt x="26861" y="63055"/>
                      <a:pt x="28956" y="63055"/>
                    </a:cubicBezTo>
                    <a:cubicBezTo>
                      <a:pt x="30575" y="63055"/>
                      <a:pt x="32481" y="62865"/>
                      <a:pt x="34671" y="62389"/>
                    </a:cubicBezTo>
                    <a:lnTo>
                      <a:pt x="35814" y="74295"/>
                    </a:lnTo>
                    <a:cubicBezTo>
                      <a:pt x="31528" y="75438"/>
                      <a:pt x="27337" y="76105"/>
                      <a:pt x="23050" y="76105"/>
                    </a:cubicBezTo>
                    <a:cubicBezTo>
                      <a:pt x="18002" y="76105"/>
                      <a:pt x="14192" y="74771"/>
                      <a:pt x="11525" y="72009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63" name="Freeform: Shape 196">
                <a:extLst>
                  <a:ext uri="{FF2B5EF4-FFF2-40B4-BE49-F238E27FC236}">
                    <a16:creationId xmlns:a16="http://schemas.microsoft.com/office/drawing/2014/main" id="{1A8F4846-2E90-D328-D337-D1541A12127D}"/>
                  </a:ext>
                </a:extLst>
              </p:cNvPr>
              <p:cNvSpPr/>
              <p:nvPr/>
            </p:nvSpPr>
            <p:spPr>
              <a:xfrm>
                <a:off x="5510117" y="3343179"/>
                <a:ext cx="53149" cy="62674"/>
              </a:xfrm>
              <a:custGeom>
                <a:avLst/>
                <a:gdLst>
                  <a:gd name="connsiteX0" fmla="*/ 8954 w 53149"/>
                  <a:gd name="connsiteY0" fmla="*/ 60388 h 62674"/>
                  <a:gd name="connsiteX1" fmla="*/ 2381 w 53149"/>
                  <a:gd name="connsiteY1" fmla="*/ 54197 h 62674"/>
                  <a:gd name="connsiteX2" fmla="*/ 0 w 53149"/>
                  <a:gd name="connsiteY2" fmla="*/ 44387 h 62674"/>
                  <a:gd name="connsiteX3" fmla="*/ 6477 w 53149"/>
                  <a:gd name="connsiteY3" fmla="*/ 29813 h 62674"/>
                  <a:gd name="connsiteX4" fmla="*/ 23908 w 53149"/>
                  <a:gd name="connsiteY4" fmla="*/ 25051 h 62674"/>
                  <a:gd name="connsiteX5" fmla="*/ 36957 w 53149"/>
                  <a:gd name="connsiteY5" fmla="*/ 24860 h 62674"/>
                  <a:gd name="connsiteX6" fmla="*/ 36957 w 53149"/>
                  <a:gd name="connsiteY6" fmla="*/ 22003 h 62674"/>
                  <a:gd name="connsiteX7" fmla="*/ 34290 w 53149"/>
                  <a:gd name="connsiteY7" fmla="*/ 14288 h 62674"/>
                  <a:gd name="connsiteX8" fmla="*/ 27051 w 53149"/>
                  <a:gd name="connsiteY8" fmla="*/ 12097 h 62674"/>
                  <a:gd name="connsiteX9" fmla="*/ 10763 w 53149"/>
                  <a:gd name="connsiteY9" fmla="*/ 19431 h 62674"/>
                  <a:gd name="connsiteX10" fmla="*/ 3334 w 53149"/>
                  <a:gd name="connsiteY10" fmla="*/ 9620 h 62674"/>
                  <a:gd name="connsiteX11" fmla="*/ 27908 w 53149"/>
                  <a:gd name="connsiteY11" fmla="*/ 0 h 62674"/>
                  <a:gd name="connsiteX12" fmla="*/ 46196 w 53149"/>
                  <a:gd name="connsiteY12" fmla="*/ 5620 h 62674"/>
                  <a:gd name="connsiteX13" fmla="*/ 52673 w 53149"/>
                  <a:gd name="connsiteY13" fmla="*/ 21622 h 62674"/>
                  <a:gd name="connsiteX14" fmla="*/ 52673 w 53149"/>
                  <a:gd name="connsiteY14" fmla="*/ 43720 h 62674"/>
                  <a:gd name="connsiteX15" fmla="*/ 53150 w 53149"/>
                  <a:gd name="connsiteY15" fmla="*/ 61532 h 62674"/>
                  <a:gd name="connsiteX16" fmla="*/ 38291 w 53149"/>
                  <a:gd name="connsiteY16" fmla="*/ 61532 h 62674"/>
                  <a:gd name="connsiteX17" fmla="*/ 37910 w 53149"/>
                  <a:gd name="connsiteY17" fmla="*/ 53054 h 62674"/>
                  <a:gd name="connsiteX18" fmla="*/ 37529 w 53149"/>
                  <a:gd name="connsiteY18" fmla="*/ 53054 h 62674"/>
                  <a:gd name="connsiteX19" fmla="*/ 29813 w 53149"/>
                  <a:gd name="connsiteY19" fmla="*/ 60198 h 62674"/>
                  <a:gd name="connsiteX20" fmla="*/ 18764 w 53149"/>
                  <a:gd name="connsiteY20" fmla="*/ 62675 h 62674"/>
                  <a:gd name="connsiteX21" fmla="*/ 8954 w 53149"/>
                  <a:gd name="connsiteY21" fmla="*/ 60579 h 62674"/>
                  <a:gd name="connsiteX22" fmla="*/ 30575 w 53149"/>
                  <a:gd name="connsiteY22" fmla="*/ 48768 h 62674"/>
                  <a:gd name="connsiteX23" fmla="*/ 35338 w 53149"/>
                  <a:gd name="connsiteY23" fmla="*/ 43910 h 62674"/>
                  <a:gd name="connsiteX24" fmla="*/ 37052 w 53149"/>
                  <a:gd name="connsiteY24" fmla="*/ 37529 h 62674"/>
                  <a:gd name="connsiteX25" fmla="*/ 37052 w 53149"/>
                  <a:gd name="connsiteY25" fmla="*/ 34480 h 62674"/>
                  <a:gd name="connsiteX26" fmla="*/ 28956 w 53149"/>
                  <a:gd name="connsiteY26" fmla="*/ 34480 h 62674"/>
                  <a:gd name="connsiteX27" fmla="*/ 22288 w 53149"/>
                  <a:gd name="connsiteY27" fmla="*/ 35433 h 62674"/>
                  <a:gd name="connsiteX28" fmla="*/ 18098 w 53149"/>
                  <a:gd name="connsiteY28" fmla="*/ 37814 h 62674"/>
                  <a:gd name="connsiteX29" fmla="*/ 16478 w 53149"/>
                  <a:gd name="connsiteY29" fmla="*/ 43053 h 62674"/>
                  <a:gd name="connsiteX30" fmla="*/ 18479 w 53149"/>
                  <a:gd name="connsiteY30" fmla="*/ 48673 h 62674"/>
                  <a:gd name="connsiteX31" fmla="*/ 23813 w 53149"/>
                  <a:gd name="connsiteY31" fmla="*/ 50578 h 62674"/>
                  <a:gd name="connsiteX32" fmla="*/ 30671 w 53149"/>
                  <a:gd name="connsiteY32" fmla="*/ 48768 h 62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53149" h="62674">
                    <a:moveTo>
                      <a:pt x="8954" y="60388"/>
                    </a:moveTo>
                    <a:cubicBezTo>
                      <a:pt x="6191" y="58960"/>
                      <a:pt x="4001" y="56864"/>
                      <a:pt x="2381" y="54197"/>
                    </a:cubicBezTo>
                    <a:cubicBezTo>
                      <a:pt x="762" y="51530"/>
                      <a:pt x="0" y="48196"/>
                      <a:pt x="0" y="44387"/>
                    </a:cubicBezTo>
                    <a:cubicBezTo>
                      <a:pt x="0" y="37719"/>
                      <a:pt x="2191" y="32861"/>
                      <a:pt x="6477" y="29813"/>
                    </a:cubicBezTo>
                    <a:cubicBezTo>
                      <a:pt x="10763" y="26765"/>
                      <a:pt x="16574" y="25241"/>
                      <a:pt x="23908" y="25051"/>
                    </a:cubicBezTo>
                    <a:lnTo>
                      <a:pt x="36957" y="24860"/>
                    </a:lnTo>
                    <a:lnTo>
                      <a:pt x="36957" y="22003"/>
                    </a:lnTo>
                    <a:cubicBezTo>
                      <a:pt x="36957" y="18288"/>
                      <a:pt x="36100" y="15716"/>
                      <a:pt x="34290" y="14288"/>
                    </a:cubicBezTo>
                    <a:cubicBezTo>
                      <a:pt x="32480" y="12859"/>
                      <a:pt x="30099" y="12097"/>
                      <a:pt x="27051" y="12097"/>
                    </a:cubicBezTo>
                    <a:cubicBezTo>
                      <a:pt x="21717" y="12097"/>
                      <a:pt x="16288" y="14573"/>
                      <a:pt x="10763" y="19431"/>
                    </a:cubicBezTo>
                    <a:lnTo>
                      <a:pt x="3334" y="9620"/>
                    </a:lnTo>
                    <a:cubicBezTo>
                      <a:pt x="10573" y="3238"/>
                      <a:pt x="18764" y="0"/>
                      <a:pt x="27908" y="0"/>
                    </a:cubicBezTo>
                    <a:cubicBezTo>
                      <a:pt x="35719" y="0"/>
                      <a:pt x="41815" y="1905"/>
                      <a:pt x="46196" y="5620"/>
                    </a:cubicBezTo>
                    <a:cubicBezTo>
                      <a:pt x="50578" y="9335"/>
                      <a:pt x="52673" y="14669"/>
                      <a:pt x="52673" y="21622"/>
                    </a:cubicBezTo>
                    <a:lnTo>
                      <a:pt x="52673" y="43720"/>
                    </a:lnTo>
                    <a:cubicBezTo>
                      <a:pt x="52673" y="50387"/>
                      <a:pt x="52864" y="56293"/>
                      <a:pt x="53150" y="61532"/>
                    </a:cubicBezTo>
                    <a:lnTo>
                      <a:pt x="38291" y="61532"/>
                    </a:lnTo>
                    <a:cubicBezTo>
                      <a:pt x="38005" y="58865"/>
                      <a:pt x="37910" y="56102"/>
                      <a:pt x="37910" y="53054"/>
                    </a:cubicBezTo>
                    <a:lnTo>
                      <a:pt x="37529" y="53054"/>
                    </a:lnTo>
                    <a:cubicBezTo>
                      <a:pt x="35528" y="56102"/>
                      <a:pt x="32957" y="58484"/>
                      <a:pt x="29813" y="60198"/>
                    </a:cubicBezTo>
                    <a:cubicBezTo>
                      <a:pt x="26670" y="61913"/>
                      <a:pt x="22955" y="62675"/>
                      <a:pt x="18764" y="62675"/>
                    </a:cubicBezTo>
                    <a:cubicBezTo>
                      <a:pt x="15050" y="62675"/>
                      <a:pt x="11811" y="62008"/>
                      <a:pt x="8954" y="60579"/>
                    </a:cubicBezTo>
                    <a:close/>
                    <a:moveTo>
                      <a:pt x="30575" y="48768"/>
                    </a:moveTo>
                    <a:cubicBezTo>
                      <a:pt x="32576" y="47530"/>
                      <a:pt x="34195" y="45911"/>
                      <a:pt x="35338" y="43910"/>
                    </a:cubicBezTo>
                    <a:cubicBezTo>
                      <a:pt x="36481" y="41910"/>
                      <a:pt x="37052" y="39815"/>
                      <a:pt x="37052" y="37529"/>
                    </a:cubicBezTo>
                    <a:lnTo>
                      <a:pt x="37052" y="34480"/>
                    </a:lnTo>
                    <a:lnTo>
                      <a:pt x="28956" y="34480"/>
                    </a:lnTo>
                    <a:cubicBezTo>
                      <a:pt x="26194" y="34766"/>
                      <a:pt x="24003" y="35052"/>
                      <a:pt x="22288" y="35433"/>
                    </a:cubicBezTo>
                    <a:cubicBezTo>
                      <a:pt x="20574" y="35814"/>
                      <a:pt x="19145" y="36576"/>
                      <a:pt x="18098" y="37814"/>
                    </a:cubicBezTo>
                    <a:cubicBezTo>
                      <a:pt x="17050" y="39053"/>
                      <a:pt x="16478" y="40767"/>
                      <a:pt x="16478" y="43053"/>
                    </a:cubicBezTo>
                    <a:cubicBezTo>
                      <a:pt x="16478" y="45339"/>
                      <a:pt x="17145" y="47339"/>
                      <a:pt x="18479" y="48673"/>
                    </a:cubicBezTo>
                    <a:cubicBezTo>
                      <a:pt x="19812" y="50006"/>
                      <a:pt x="21622" y="50578"/>
                      <a:pt x="23813" y="50578"/>
                    </a:cubicBezTo>
                    <a:cubicBezTo>
                      <a:pt x="26384" y="50578"/>
                      <a:pt x="28670" y="50006"/>
                      <a:pt x="30671" y="48768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64" name="Freeform: Shape 197">
                <a:extLst>
                  <a:ext uri="{FF2B5EF4-FFF2-40B4-BE49-F238E27FC236}">
                    <a16:creationId xmlns:a16="http://schemas.microsoft.com/office/drawing/2014/main" id="{5B6DE164-66EC-C7F2-D9E1-828D0A876F06}"/>
                  </a:ext>
                </a:extLst>
              </p:cNvPr>
              <p:cNvSpPr/>
              <p:nvPr/>
            </p:nvSpPr>
            <p:spPr>
              <a:xfrm>
                <a:off x="5577649" y="3343084"/>
                <a:ext cx="55149" cy="61721"/>
              </a:xfrm>
              <a:custGeom>
                <a:avLst/>
                <a:gdLst>
                  <a:gd name="connsiteX0" fmla="*/ 381 w 55149"/>
                  <a:gd name="connsiteY0" fmla="*/ 14668 h 61721"/>
                  <a:gd name="connsiteX1" fmla="*/ 286 w 55149"/>
                  <a:gd name="connsiteY1" fmla="*/ 6763 h 61721"/>
                  <a:gd name="connsiteX2" fmla="*/ 0 w 55149"/>
                  <a:gd name="connsiteY2" fmla="*/ 1238 h 61721"/>
                  <a:gd name="connsiteX3" fmla="*/ 14954 w 55149"/>
                  <a:gd name="connsiteY3" fmla="*/ 1238 h 61721"/>
                  <a:gd name="connsiteX4" fmla="*/ 15431 w 55149"/>
                  <a:gd name="connsiteY4" fmla="*/ 6191 h 61721"/>
                  <a:gd name="connsiteX5" fmla="*/ 15716 w 55149"/>
                  <a:gd name="connsiteY5" fmla="*/ 12097 h 61721"/>
                  <a:gd name="connsiteX6" fmla="*/ 15907 w 55149"/>
                  <a:gd name="connsiteY6" fmla="*/ 12097 h 61721"/>
                  <a:gd name="connsiteX7" fmla="*/ 23908 w 55149"/>
                  <a:gd name="connsiteY7" fmla="*/ 2953 h 61721"/>
                  <a:gd name="connsiteX8" fmla="*/ 35338 w 55149"/>
                  <a:gd name="connsiteY8" fmla="*/ 0 h 61721"/>
                  <a:gd name="connsiteX9" fmla="*/ 50387 w 55149"/>
                  <a:gd name="connsiteY9" fmla="*/ 6382 h 61721"/>
                  <a:gd name="connsiteX10" fmla="*/ 55150 w 55149"/>
                  <a:gd name="connsiteY10" fmla="*/ 23336 h 61721"/>
                  <a:gd name="connsiteX11" fmla="*/ 55150 w 55149"/>
                  <a:gd name="connsiteY11" fmla="*/ 61627 h 61721"/>
                  <a:gd name="connsiteX12" fmla="*/ 39529 w 55149"/>
                  <a:gd name="connsiteY12" fmla="*/ 61627 h 61721"/>
                  <a:gd name="connsiteX13" fmla="*/ 39529 w 55149"/>
                  <a:gd name="connsiteY13" fmla="*/ 27813 h 61721"/>
                  <a:gd name="connsiteX14" fmla="*/ 37243 w 55149"/>
                  <a:gd name="connsiteY14" fmla="*/ 17240 h 61721"/>
                  <a:gd name="connsiteX15" fmla="*/ 29337 w 55149"/>
                  <a:gd name="connsiteY15" fmla="*/ 13525 h 61721"/>
                  <a:gd name="connsiteX16" fmla="*/ 22574 w 55149"/>
                  <a:gd name="connsiteY16" fmla="*/ 15526 h 61721"/>
                  <a:gd name="connsiteX17" fmla="*/ 17812 w 55149"/>
                  <a:gd name="connsiteY17" fmla="*/ 21146 h 61721"/>
                  <a:gd name="connsiteX18" fmla="*/ 16097 w 55149"/>
                  <a:gd name="connsiteY18" fmla="*/ 29337 h 61721"/>
                  <a:gd name="connsiteX19" fmla="*/ 16097 w 55149"/>
                  <a:gd name="connsiteY19" fmla="*/ 61722 h 61721"/>
                  <a:gd name="connsiteX20" fmla="*/ 381 w 55149"/>
                  <a:gd name="connsiteY20" fmla="*/ 61722 h 61721"/>
                  <a:gd name="connsiteX21" fmla="*/ 381 w 55149"/>
                  <a:gd name="connsiteY21" fmla="*/ 14859 h 617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55149" h="61721">
                    <a:moveTo>
                      <a:pt x="381" y="14668"/>
                    </a:moveTo>
                    <a:cubicBezTo>
                      <a:pt x="381" y="12097"/>
                      <a:pt x="381" y="9430"/>
                      <a:pt x="286" y="6763"/>
                    </a:cubicBezTo>
                    <a:cubicBezTo>
                      <a:pt x="191" y="4096"/>
                      <a:pt x="95" y="2191"/>
                      <a:pt x="0" y="1238"/>
                    </a:cubicBezTo>
                    <a:lnTo>
                      <a:pt x="14954" y="1238"/>
                    </a:lnTo>
                    <a:cubicBezTo>
                      <a:pt x="15145" y="2096"/>
                      <a:pt x="15240" y="3715"/>
                      <a:pt x="15431" y="6191"/>
                    </a:cubicBezTo>
                    <a:cubicBezTo>
                      <a:pt x="15621" y="8668"/>
                      <a:pt x="15716" y="10668"/>
                      <a:pt x="15716" y="12097"/>
                    </a:cubicBezTo>
                    <a:lnTo>
                      <a:pt x="15907" y="12097"/>
                    </a:lnTo>
                    <a:cubicBezTo>
                      <a:pt x="18002" y="8001"/>
                      <a:pt x="20669" y="4953"/>
                      <a:pt x="23908" y="2953"/>
                    </a:cubicBezTo>
                    <a:cubicBezTo>
                      <a:pt x="27146" y="952"/>
                      <a:pt x="30956" y="0"/>
                      <a:pt x="35338" y="0"/>
                    </a:cubicBezTo>
                    <a:cubicBezTo>
                      <a:pt x="42196" y="0"/>
                      <a:pt x="47244" y="2096"/>
                      <a:pt x="50387" y="6382"/>
                    </a:cubicBezTo>
                    <a:cubicBezTo>
                      <a:pt x="53531" y="10668"/>
                      <a:pt x="55150" y="16288"/>
                      <a:pt x="55150" y="23336"/>
                    </a:cubicBezTo>
                    <a:lnTo>
                      <a:pt x="55150" y="61627"/>
                    </a:lnTo>
                    <a:lnTo>
                      <a:pt x="39529" y="61627"/>
                    </a:lnTo>
                    <a:lnTo>
                      <a:pt x="39529" y="27813"/>
                    </a:lnTo>
                    <a:cubicBezTo>
                      <a:pt x="39529" y="23241"/>
                      <a:pt x="38767" y="19717"/>
                      <a:pt x="37243" y="17240"/>
                    </a:cubicBezTo>
                    <a:cubicBezTo>
                      <a:pt x="35719" y="14764"/>
                      <a:pt x="33052" y="13525"/>
                      <a:pt x="29337" y="13525"/>
                    </a:cubicBezTo>
                    <a:cubicBezTo>
                      <a:pt x="26766" y="13525"/>
                      <a:pt x="24575" y="14192"/>
                      <a:pt x="22574" y="15526"/>
                    </a:cubicBezTo>
                    <a:cubicBezTo>
                      <a:pt x="20574" y="16859"/>
                      <a:pt x="18955" y="18669"/>
                      <a:pt x="17812" y="21146"/>
                    </a:cubicBezTo>
                    <a:cubicBezTo>
                      <a:pt x="16669" y="23622"/>
                      <a:pt x="16097" y="26289"/>
                      <a:pt x="16097" y="29337"/>
                    </a:cubicBezTo>
                    <a:lnTo>
                      <a:pt x="16097" y="61722"/>
                    </a:lnTo>
                    <a:lnTo>
                      <a:pt x="381" y="61722"/>
                    </a:lnTo>
                    <a:lnTo>
                      <a:pt x="381" y="14859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65" name="Freeform: Shape 198">
                <a:extLst>
                  <a:ext uri="{FF2B5EF4-FFF2-40B4-BE49-F238E27FC236}">
                    <a16:creationId xmlns:a16="http://schemas.microsoft.com/office/drawing/2014/main" id="{0423DF86-3EE1-9CC0-01C4-26C2FE2A471B}"/>
                  </a:ext>
                </a:extLst>
              </p:cNvPr>
              <p:cNvSpPr/>
              <p:nvPr/>
            </p:nvSpPr>
            <p:spPr>
              <a:xfrm>
                <a:off x="5644610" y="3321748"/>
                <a:ext cx="58197" cy="84010"/>
              </a:xfrm>
              <a:custGeom>
                <a:avLst/>
                <a:gdLst>
                  <a:gd name="connsiteX0" fmla="*/ 10763 w 58197"/>
                  <a:gd name="connsiteY0" fmla="*/ 80010 h 84010"/>
                  <a:gd name="connsiteX1" fmla="*/ 2667 w 58197"/>
                  <a:gd name="connsiteY1" fmla="*/ 68961 h 84010"/>
                  <a:gd name="connsiteX2" fmla="*/ 0 w 58197"/>
                  <a:gd name="connsiteY2" fmla="*/ 52673 h 84010"/>
                  <a:gd name="connsiteX3" fmla="*/ 2858 w 58197"/>
                  <a:gd name="connsiteY3" fmla="*/ 36386 h 84010"/>
                  <a:gd name="connsiteX4" fmla="*/ 11335 w 58197"/>
                  <a:gd name="connsiteY4" fmla="*/ 25337 h 84010"/>
                  <a:gd name="connsiteX5" fmla="*/ 25051 w 58197"/>
                  <a:gd name="connsiteY5" fmla="*/ 21336 h 84010"/>
                  <a:gd name="connsiteX6" fmla="*/ 35052 w 58197"/>
                  <a:gd name="connsiteY6" fmla="*/ 23717 h 84010"/>
                  <a:gd name="connsiteX7" fmla="*/ 42101 w 58197"/>
                  <a:gd name="connsiteY7" fmla="*/ 30861 h 84010"/>
                  <a:gd name="connsiteX8" fmla="*/ 42196 w 58197"/>
                  <a:gd name="connsiteY8" fmla="*/ 30861 h 84010"/>
                  <a:gd name="connsiteX9" fmla="*/ 42196 w 58197"/>
                  <a:gd name="connsiteY9" fmla="*/ 28194 h 84010"/>
                  <a:gd name="connsiteX10" fmla="*/ 42196 w 58197"/>
                  <a:gd name="connsiteY10" fmla="*/ 22003 h 84010"/>
                  <a:gd name="connsiteX11" fmla="*/ 42196 w 58197"/>
                  <a:gd name="connsiteY11" fmla="*/ 0 h 84010"/>
                  <a:gd name="connsiteX12" fmla="*/ 57817 w 58197"/>
                  <a:gd name="connsiteY12" fmla="*/ 0 h 84010"/>
                  <a:gd name="connsiteX13" fmla="*/ 57817 w 58197"/>
                  <a:gd name="connsiteY13" fmla="*/ 69723 h 84010"/>
                  <a:gd name="connsiteX14" fmla="*/ 57912 w 58197"/>
                  <a:gd name="connsiteY14" fmla="*/ 76962 h 84010"/>
                  <a:gd name="connsiteX15" fmla="*/ 58103 w 58197"/>
                  <a:gd name="connsiteY15" fmla="*/ 81058 h 84010"/>
                  <a:gd name="connsiteX16" fmla="*/ 58198 w 58197"/>
                  <a:gd name="connsiteY16" fmla="*/ 82868 h 84010"/>
                  <a:gd name="connsiteX17" fmla="*/ 43053 w 58197"/>
                  <a:gd name="connsiteY17" fmla="*/ 82868 h 84010"/>
                  <a:gd name="connsiteX18" fmla="*/ 42482 w 58197"/>
                  <a:gd name="connsiteY18" fmla="*/ 79153 h 84010"/>
                  <a:gd name="connsiteX19" fmla="*/ 42196 w 58197"/>
                  <a:gd name="connsiteY19" fmla="*/ 74200 h 84010"/>
                  <a:gd name="connsiteX20" fmla="*/ 42005 w 58197"/>
                  <a:gd name="connsiteY20" fmla="*/ 74200 h 84010"/>
                  <a:gd name="connsiteX21" fmla="*/ 34766 w 58197"/>
                  <a:gd name="connsiteY21" fmla="*/ 81629 h 84010"/>
                  <a:gd name="connsiteX22" fmla="*/ 23908 w 58197"/>
                  <a:gd name="connsiteY22" fmla="*/ 84011 h 84010"/>
                  <a:gd name="connsiteX23" fmla="*/ 10859 w 58197"/>
                  <a:gd name="connsiteY23" fmla="*/ 80010 h 84010"/>
                  <a:gd name="connsiteX24" fmla="*/ 35338 w 58197"/>
                  <a:gd name="connsiteY24" fmla="*/ 69723 h 84010"/>
                  <a:gd name="connsiteX25" fmla="*/ 40386 w 58197"/>
                  <a:gd name="connsiteY25" fmla="*/ 63627 h 84010"/>
                  <a:gd name="connsiteX26" fmla="*/ 42386 w 58197"/>
                  <a:gd name="connsiteY26" fmla="*/ 52388 h 84010"/>
                  <a:gd name="connsiteX27" fmla="*/ 38481 w 58197"/>
                  <a:gd name="connsiteY27" fmla="*/ 38005 h 84010"/>
                  <a:gd name="connsiteX28" fmla="*/ 28956 w 58197"/>
                  <a:gd name="connsiteY28" fmla="*/ 33719 h 84010"/>
                  <a:gd name="connsiteX29" fmla="*/ 19812 w 58197"/>
                  <a:gd name="connsiteY29" fmla="*/ 38386 h 84010"/>
                  <a:gd name="connsiteX30" fmla="*/ 16383 w 58197"/>
                  <a:gd name="connsiteY30" fmla="*/ 52673 h 84010"/>
                  <a:gd name="connsiteX31" fmla="*/ 19717 w 58197"/>
                  <a:gd name="connsiteY31" fmla="*/ 66675 h 84010"/>
                  <a:gd name="connsiteX32" fmla="*/ 28861 w 58197"/>
                  <a:gd name="connsiteY32" fmla="*/ 71533 h 84010"/>
                  <a:gd name="connsiteX33" fmla="*/ 35433 w 58197"/>
                  <a:gd name="connsiteY33" fmla="*/ 69723 h 84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58197" h="84010">
                    <a:moveTo>
                      <a:pt x="10763" y="80010"/>
                    </a:moveTo>
                    <a:cubicBezTo>
                      <a:pt x="7144" y="77343"/>
                      <a:pt x="4477" y="73628"/>
                      <a:pt x="2667" y="68961"/>
                    </a:cubicBezTo>
                    <a:cubicBezTo>
                      <a:pt x="858" y="64294"/>
                      <a:pt x="0" y="58865"/>
                      <a:pt x="0" y="52673"/>
                    </a:cubicBezTo>
                    <a:cubicBezTo>
                      <a:pt x="0" y="46482"/>
                      <a:pt x="953" y="41148"/>
                      <a:pt x="2858" y="36386"/>
                    </a:cubicBezTo>
                    <a:cubicBezTo>
                      <a:pt x="4763" y="31623"/>
                      <a:pt x="7620" y="28004"/>
                      <a:pt x="11335" y="25337"/>
                    </a:cubicBezTo>
                    <a:cubicBezTo>
                      <a:pt x="15050" y="22670"/>
                      <a:pt x="19622" y="21336"/>
                      <a:pt x="25051" y="21336"/>
                    </a:cubicBezTo>
                    <a:cubicBezTo>
                      <a:pt x="28670" y="21336"/>
                      <a:pt x="31909" y="22098"/>
                      <a:pt x="35052" y="23717"/>
                    </a:cubicBezTo>
                    <a:cubicBezTo>
                      <a:pt x="38195" y="25337"/>
                      <a:pt x="40481" y="27623"/>
                      <a:pt x="42101" y="30861"/>
                    </a:cubicBezTo>
                    <a:lnTo>
                      <a:pt x="42196" y="30861"/>
                    </a:lnTo>
                    <a:cubicBezTo>
                      <a:pt x="42196" y="29909"/>
                      <a:pt x="42196" y="29051"/>
                      <a:pt x="42196" y="28194"/>
                    </a:cubicBezTo>
                    <a:lnTo>
                      <a:pt x="42196" y="22003"/>
                    </a:lnTo>
                    <a:cubicBezTo>
                      <a:pt x="42196" y="22003"/>
                      <a:pt x="42196" y="0"/>
                      <a:pt x="42196" y="0"/>
                    </a:cubicBezTo>
                    <a:lnTo>
                      <a:pt x="57817" y="0"/>
                    </a:lnTo>
                    <a:lnTo>
                      <a:pt x="57817" y="69723"/>
                    </a:lnTo>
                    <a:cubicBezTo>
                      <a:pt x="57817" y="72295"/>
                      <a:pt x="57817" y="74676"/>
                      <a:pt x="57912" y="76962"/>
                    </a:cubicBezTo>
                    <a:cubicBezTo>
                      <a:pt x="58008" y="79248"/>
                      <a:pt x="58103" y="80582"/>
                      <a:pt x="58103" y="81058"/>
                    </a:cubicBezTo>
                    <a:cubicBezTo>
                      <a:pt x="58103" y="82010"/>
                      <a:pt x="58198" y="82677"/>
                      <a:pt x="58198" y="82868"/>
                    </a:cubicBezTo>
                    <a:lnTo>
                      <a:pt x="43053" y="82868"/>
                    </a:lnTo>
                    <a:cubicBezTo>
                      <a:pt x="42863" y="82391"/>
                      <a:pt x="42672" y="81153"/>
                      <a:pt x="42482" y="79153"/>
                    </a:cubicBezTo>
                    <a:cubicBezTo>
                      <a:pt x="42291" y="77153"/>
                      <a:pt x="42196" y="75533"/>
                      <a:pt x="42196" y="74200"/>
                    </a:cubicBezTo>
                    <a:lnTo>
                      <a:pt x="42005" y="74200"/>
                    </a:lnTo>
                    <a:cubicBezTo>
                      <a:pt x="40291" y="77534"/>
                      <a:pt x="37910" y="80010"/>
                      <a:pt x="34766" y="81629"/>
                    </a:cubicBezTo>
                    <a:cubicBezTo>
                      <a:pt x="31623" y="83249"/>
                      <a:pt x="28004" y="84011"/>
                      <a:pt x="23908" y="84011"/>
                    </a:cubicBezTo>
                    <a:cubicBezTo>
                      <a:pt x="18764" y="84011"/>
                      <a:pt x="14383" y="82677"/>
                      <a:pt x="10859" y="80010"/>
                    </a:cubicBezTo>
                    <a:close/>
                    <a:moveTo>
                      <a:pt x="35338" y="69723"/>
                    </a:moveTo>
                    <a:cubicBezTo>
                      <a:pt x="37338" y="68485"/>
                      <a:pt x="39053" y="66485"/>
                      <a:pt x="40386" y="63627"/>
                    </a:cubicBezTo>
                    <a:cubicBezTo>
                      <a:pt x="41720" y="60770"/>
                      <a:pt x="42386" y="57055"/>
                      <a:pt x="42386" y="52388"/>
                    </a:cubicBezTo>
                    <a:cubicBezTo>
                      <a:pt x="42386" y="45720"/>
                      <a:pt x="41053" y="40862"/>
                      <a:pt x="38481" y="38005"/>
                    </a:cubicBezTo>
                    <a:cubicBezTo>
                      <a:pt x="35909" y="35147"/>
                      <a:pt x="32766" y="33719"/>
                      <a:pt x="28956" y="33719"/>
                    </a:cubicBezTo>
                    <a:cubicBezTo>
                      <a:pt x="25146" y="33719"/>
                      <a:pt x="22098" y="35243"/>
                      <a:pt x="19812" y="38386"/>
                    </a:cubicBezTo>
                    <a:cubicBezTo>
                      <a:pt x="17526" y="41529"/>
                      <a:pt x="16383" y="46292"/>
                      <a:pt x="16383" y="52673"/>
                    </a:cubicBezTo>
                    <a:cubicBezTo>
                      <a:pt x="16383" y="59055"/>
                      <a:pt x="17526" y="63437"/>
                      <a:pt x="19717" y="66675"/>
                    </a:cubicBezTo>
                    <a:cubicBezTo>
                      <a:pt x="21908" y="69913"/>
                      <a:pt x="24956" y="71533"/>
                      <a:pt x="28861" y="71533"/>
                    </a:cubicBezTo>
                    <a:cubicBezTo>
                      <a:pt x="31147" y="71533"/>
                      <a:pt x="33338" y="70961"/>
                      <a:pt x="35433" y="69723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66" name="Freeform: Shape 199">
                <a:extLst>
                  <a:ext uri="{FF2B5EF4-FFF2-40B4-BE49-F238E27FC236}">
                    <a16:creationId xmlns:a16="http://schemas.microsoft.com/office/drawing/2014/main" id="{3BA5DCF7-B3B0-C477-EBA6-23E4DFBCF1D1}"/>
                  </a:ext>
                </a:extLst>
              </p:cNvPr>
              <p:cNvSpPr/>
              <p:nvPr/>
            </p:nvSpPr>
            <p:spPr>
              <a:xfrm>
                <a:off x="5749575" y="3321748"/>
                <a:ext cx="58483" cy="83915"/>
              </a:xfrm>
              <a:custGeom>
                <a:avLst/>
                <a:gdLst>
                  <a:gd name="connsiteX0" fmla="*/ 23813 w 58483"/>
                  <a:gd name="connsiteY0" fmla="*/ 81629 h 83915"/>
                  <a:gd name="connsiteX1" fmla="*/ 16192 w 58483"/>
                  <a:gd name="connsiteY1" fmla="*/ 74295 h 83915"/>
                  <a:gd name="connsiteX2" fmla="*/ 16097 w 58483"/>
                  <a:gd name="connsiteY2" fmla="*/ 74295 h 83915"/>
                  <a:gd name="connsiteX3" fmla="*/ 15812 w 58483"/>
                  <a:gd name="connsiteY3" fmla="*/ 79248 h 83915"/>
                  <a:gd name="connsiteX4" fmla="*/ 15240 w 58483"/>
                  <a:gd name="connsiteY4" fmla="*/ 82868 h 83915"/>
                  <a:gd name="connsiteX5" fmla="*/ 0 w 58483"/>
                  <a:gd name="connsiteY5" fmla="*/ 82868 h 83915"/>
                  <a:gd name="connsiteX6" fmla="*/ 476 w 58483"/>
                  <a:gd name="connsiteY6" fmla="*/ 69056 h 83915"/>
                  <a:gd name="connsiteX7" fmla="*/ 476 w 58483"/>
                  <a:gd name="connsiteY7" fmla="*/ 0 h 83915"/>
                  <a:gd name="connsiteX8" fmla="*/ 16192 w 58483"/>
                  <a:gd name="connsiteY8" fmla="*/ 0 h 83915"/>
                  <a:gd name="connsiteX9" fmla="*/ 16192 w 58483"/>
                  <a:gd name="connsiteY9" fmla="*/ 23241 h 83915"/>
                  <a:gd name="connsiteX10" fmla="*/ 16192 w 58483"/>
                  <a:gd name="connsiteY10" fmla="*/ 28385 h 83915"/>
                  <a:gd name="connsiteX11" fmla="*/ 16097 w 58483"/>
                  <a:gd name="connsiteY11" fmla="*/ 31813 h 83915"/>
                  <a:gd name="connsiteX12" fmla="*/ 16288 w 58483"/>
                  <a:gd name="connsiteY12" fmla="*/ 31813 h 83915"/>
                  <a:gd name="connsiteX13" fmla="*/ 24194 w 58483"/>
                  <a:gd name="connsiteY13" fmla="*/ 23908 h 83915"/>
                  <a:gd name="connsiteX14" fmla="*/ 35528 w 58483"/>
                  <a:gd name="connsiteY14" fmla="*/ 21336 h 83915"/>
                  <a:gd name="connsiteX15" fmla="*/ 48006 w 58483"/>
                  <a:gd name="connsiteY15" fmla="*/ 25337 h 83915"/>
                  <a:gd name="connsiteX16" fmla="*/ 55816 w 58483"/>
                  <a:gd name="connsiteY16" fmla="*/ 36290 h 83915"/>
                  <a:gd name="connsiteX17" fmla="*/ 58483 w 58483"/>
                  <a:gd name="connsiteY17" fmla="*/ 52388 h 83915"/>
                  <a:gd name="connsiteX18" fmla="*/ 55721 w 58483"/>
                  <a:gd name="connsiteY18" fmla="*/ 68771 h 83915"/>
                  <a:gd name="connsiteX19" fmla="*/ 47530 w 58483"/>
                  <a:gd name="connsiteY19" fmla="*/ 79915 h 83915"/>
                  <a:gd name="connsiteX20" fmla="*/ 34576 w 58483"/>
                  <a:gd name="connsiteY20" fmla="*/ 83915 h 83915"/>
                  <a:gd name="connsiteX21" fmla="*/ 24003 w 58483"/>
                  <a:gd name="connsiteY21" fmla="*/ 81534 h 83915"/>
                  <a:gd name="connsiteX22" fmla="*/ 38481 w 58483"/>
                  <a:gd name="connsiteY22" fmla="*/ 66770 h 83915"/>
                  <a:gd name="connsiteX23" fmla="*/ 42005 w 58483"/>
                  <a:gd name="connsiteY23" fmla="*/ 52388 h 83915"/>
                  <a:gd name="connsiteX24" fmla="*/ 38671 w 58483"/>
                  <a:gd name="connsiteY24" fmla="*/ 38576 h 83915"/>
                  <a:gd name="connsiteX25" fmla="*/ 29528 w 58483"/>
                  <a:gd name="connsiteY25" fmla="*/ 33814 h 83915"/>
                  <a:gd name="connsiteX26" fmla="*/ 19907 w 58483"/>
                  <a:gd name="connsiteY26" fmla="*/ 38195 h 83915"/>
                  <a:gd name="connsiteX27" fmla="*/ 16002 w 58483"/>
                  <a:gd name="connsiteY27" fmla="*/ 52769 h 83915"/>
                  <a:gd name="connsiteX28" fmla="*/ 17907 w 58483"/>
                  <a:gd name="connsiteY28" fmla="*/ 63722 h 83915"/>
                  <a:gd name="connsiteX29" fmla="*/ 22765 w 58483"/>
                  <a:gd name="connsiteY29" fmla="*/ 69628 h 83915"/>
                  <a:gd name="connsiteX30" fmla="*/ 29337 w 58483"/>
                  <a:gd name="connsiteY30" fmla="*/ 71342 h 83915"/>
                  <a:gd name="connsiteX31" fmla="*/ 38481 w 58483"/>
                  <a:gd name="connsiteY31" fmla="*/ 66580 h 839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58483" h="83915">
                    <a:moveTo>
                      <a:pt x="23813" y="81629"/>
                    </a:moveTo>
                    <a:cubicBezTo>
                      <a:pt x="20574" y="80105"/>
                      <a:pt x="18002" y="77629"/>
                      <a:pt x="16192" y="74295"/>
                    </a:cubicBezTo>
                    <a:lnTo>
                      <a:pt x="16097" y="74295"/>
                    </a:lnTo>
                    <a:cubicBezTo>
                      <a:pt x="16097" y="75724"/>
                      <a:pt x="16097" y="77343"/>
                      <a:pt x="15812" y="79248"/>
                    </a:cubicBezTo>
                    <a:cubicBezTo>
                      <a:pt x="15526" y="81153"/>
                      <a:pt x="15430" y="82391"/>
                      <a:pt x="15240" y="82868"/>
                    </a:cubicBezTo>
                    <a:lnTo>
                      <a:pt x="0" y="82868"/>
                    </a:lnTo>
                    <a:cubicBezTo>
                      <a:pt x="286" y="79343"/>
                      <a:pt x="476" y="74771"/>
                      <a:pt x="476" y="69056"/>
                    </a:cubicBezTo>
                    <a:lnTo>
                      <a:pt x="476" y="0"/>
                    </a:lnTo>
                    <a:lnTo>
                      <a:pt x="16192" y="0"/>
                    </a:lnTo>
                    <a:lnTo>
                      <a:pt x="16192" y="23241"/>
                    </a:lnTo>
                    <a:cubicBezTo>
                      <a:pt x="16192" y="24955"/>
                      <a:pt x="16192" y="26670"/>
                      <a:pt x="16192" y="28385"/>
                    </a:cubicBezTo>
                    <a:cubicBezTo>
                      <a:pt x="16192" y="30099"/>
                      <a:pt x="16097" y="31242"/>
                      <a:pt x="16097" y="31813"/>
                    </a:cubicBezTo>
                    <a:lnTo>
                      <a:pt x="16288" y="31813"/>
                    </a:lnTo>
                    <a:cubicBezTo>
                      <a:pt x="18193" y="28194"/>
                      <a:pt x="20860" y="25622"/>
                      <a:pt x="24194" y="23908"/>
                    </a:cubicBezTo>
                    <a:cubicBezTo>
                      <a:pt x="27527" y="22193"/>
                      <a:pt x="31242" y="21336"/>
                      <a:pt x="35528" y="21336"/>
                    </a:cubicBezTo>
                    <a:cubicBezTo>
                      <a:pt x="40386" y="21336"/>
                      <a:pt x="44577" y="22670"/>
                      <a:pt x="48006" y="25337"/>
                    </a:cubicBezTo>
                    <a:cubicBezTo>
                      <a:pt x="51435" y="28004"/>
                      <a:pt x="54007" y="31623"/>
                      <a:pt x="55816" y="36290"/>
                    </a:cubicBezTo>
                    <a:cubicBezTo>
                      <a:pt x="57626" y="40958"/>
                      <a:pt x="58483" y="46387"/>
                      <a:pt x="58483" y="52388"/>
                    </a:cubicBezTo>
                    <a:cubicBezTo>
                      <a:pt x="58483" y="58388"/>
                      <a:pt x="57531" y="64008"/>
                      <a:pt x="55721" y="68771"/>
                    </a:cubicBezTo>
                    <a:cubicBezTo>
                      <a:pt x="53912" y="73533"/>
                      <a:pt x="51149" y="77248"/>
                      <a:pt x="47530" y="79915"/>
                    </a:cubicBezTo>
                    <a:cubicBezTo>
                      <a:pt x="43910" y="82582"/>
                      <a:pt x="39624" y="83915"/>
                      <a:pt x="34576" y="83915"/>
                    </a:cubicBezTo>
                    <a:cubicBezTo>
                      <a:pt x="30766" y="83915"/>
                      <a:pt x="27241" y="83153"/>
                      <a:pt x="24003" y="81534"/>
                    </a:cubicBezTo>
                    <a:close/>
                    <a:moveTo>
                      <a:pt x="38481" y="66770"/>
                    </a:moveTo>
                    <a:cubicBezTo>
                      <a:pt x="40767" y="63627"/>
                      <a:pt x="42005" y="58865"/>
                      <a:pt x="42005" y="52388"/>
                    </a:cubicBezTo>
                    <a:cubicBezTo>
                      <a:pt x="42005" y="46292"/>
                      <a:pt x="40862" y="41720"/>
                      <a:pt x="38671" y="38576"/>
                    </a:cubicBezTo>
                    <a:cubicBezTo>
                      <a:pt x="36481" y="35433"/>
                      <a:pt x="33433" y="33814"/>
                      <a:pt x="29528" y="33814"/>
                    </a:cubicBezTo>
                    <a:cubicBezTo>
                      <a:pt x="25622" y="33814"/>
                      <a:pt x="22574" y="35243"/>
                      <a:pt x="19907" y="38195"/>
                    </a:cubicBezTo>
                    <a:cubicBezTo>
                      <a:pt x="17240" y="41148"/>
                      <a:pt x="16002" y="46006"/>
                      <a:pt x="16002" y="52769"/>
                    </a:cubicBezTo>
                    <a:cubicBezTo>
                      <a:pt x="16002" y="57341"/>
                      <a:pt x="16669" y="60960"/>
                      <a:pt x="17907" y="63722"/>
                    </a:cubicBezTo>
                    <a:cubicBezTo>
                      <a:pt x="19145" y="66485"/>
                      <a:pt x="20764" y="68485"/>
                      <a:pt x="22765" y="69628"/>
                    </a:cubicBezTo>
                    <a:cubicBezTo>
                      <a:pt x="24765" y="70771"/>
                      <a:pt x="26956" y="71342"/>
                      <a:pt x="29337" y="71342"/>
                    </a:cubicBezTo>
                    <a:cubicBezTo>
                      <a:pt x="33052" y="71342"/>
                      <a:pt x="36100" y="69723"/>
                      <a:pt x="38481" y="66580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67" name="Freeform: Shape 200">
                <a:extLst>
                  <a:ext uri="{FF2B5EF4-FFF2-40B4-BE49-F238E27FC236}">
                    <a16:creationId xmlns:a16="http://schemas.microsoft.com/office/drawing/2014/main" id="{D1466E80-A210-9B32-49EE-22CD029FCCC0}"/>
                  </a:ext>
                </a:extLst>
              </p:cNvPr>
              <p:cNvSpPr/>
              <p:nvPr/>
            </p:nvSpPr>
            <p:spPr>
              <a:xfrm>
                <a:off x="5819584" y="3344322"/>
                <a:ext cx="55244" cy="61531"/>
              </a:xfrm>
              <a:custGeom>
                <a:avLst/>
                <a:gdLst>
                  <a:gd name="connsiteX0" fmla="*/ 4763 w 55244"/>
                  <a:gd name="connsiteY0" fmla="*/ 55150 h 61531"/>
                  <a:gd name="connsiteX1" fmla="*/ 0 w 55244"/>
                  <a:gd name="connsiteY1" fmla="*/ 38291 h 61531"/>
                  <a:gd name="connsiteX2" fmla="*/ 0 w 55244"/>
                  <a:gd name="connsiteY2" fmla="*/ 0 h 61531"/>
                  <a:gd name="connsiteX3" fmla="*/ 15716 w 55244"/>
                  <a:gd name="connsiteY3" fmla="*/ 0 h 61531"/>
                  <a:gd name="connsiteX4" fmla="*/ 15716 w 55244"/>
                  <a:gd name="connsiteY4" fmla="*/ 33814 h 61531"/>
                  <a:gd name="connsiteX5" fmla="*/ 18002 w 55244"/>
                  <a:gd name="connsiteY5" fmla="*/ 44291 h 61531"/>
                  <a:gd name="connsiteX6" fmla="*/ 25908 w 55244"/>
                  <a:gd name="connsiteY6" fmla="*/ 48006 h 61531"/>
                  <a:gd name="connsiteX7" fmla="*/ 32671 w 55244"/>
                  <a:gd name="connsiteY7" fmla="*/ 46006 h 61531"/>
                  <a:gd name="connsiteX8" fmla="*/ 37433 w 55244"/>
                  <a:gd name="connsiteY8" fmla="*/ 40481 h 61531"/>
                  <a:gd name="connsiteX9" fmla="*/ 39148 w 55244"/>
                  <a:gd name="connsiteY9" fmla="*/ 32290 h 61531"/>
                  <a:gd name="connsiteX10" fmla="*/ 39148 w 55244"/>
                  <a:gd name="connsiteY10" fmla="*/ 0 h 61531"/>
                  <a:gd name="connsiteX11" fmla="*/ 54864 w 55244"/>
                  <a:gd name="connsiteY11" fmla="*/ 0 h 61531"/>
                  <a:gd name="connsiteX12" fmla="*/ 54864 w 55244"/>
                  <a:gd name="connsiteY12" fmla="*/ 46863 h 61531"/>
                  <a:gd name="connsiteX13" fmla="*/ 54959 w 55244"/>
                  <a:gd name="connsiteY13" fmla="*/ 54769 h 61531"/>
                  <a:gd name="connsiteX14" fmla="*/ 55245 w 55244"/>
                  <a:gd name="connsiteY14" fmla="*/ 60389 h 61531"/>
                  <a:gd name="connsiteX15" fmla="*/ 40291 w 55244"/>
                  <a:gd name="connsiteY15" fmla="*/ 60389 h 61531"/>
                  <a:gd name="connsiteX16" fmla="*/ 39910 w 55244"/>
                  <a:gd name="connsiteY16" fmla="*/ 55341 h 61531"/>
                  <a:gd name="connsiteX17" fmla="*/ 39624 w 55244"/>
                  <a:gd name="connsiteY17" fmla="*/ 49530 h 61531"/>
                  <a:gd name="connsiteX18" fmla="*/ 39338 w 55244"/>
                  <a:gd name="connsiteY18" fmla="*/ 49530 h 61531"/>
                  <a:gd name="connsiteX19" fmla="*/ 31432 w 55244"/>
                  <a:gd name="connsiteY19" fmla="*/ 58674 h 61531"/>
                  <a:gd name="connsiteX20" fmla="*/ 19907 w 55244"/>
                  <a:gd name="connsiteY20" fmla="*/ 61532 h 61531"/>
                  <a:gd name="connsiteX21" fmla="*/ 4858 w 55244"/>
                  <a:gd name="connsiteY21" fmla="*/ 55245 h 615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55244" h="61531">
                    <a:moveTo>
                      <a:pt x="4763" y="55150"/>
                    </a:moveTo>
                    <a:cubicBezTo>
                      <a:pt x="1619" y="50959"/>
                      <a:pt x="0" y="45339"/>
                      <a:pt x="0" y="38291"/>
                    </a:cubicBezTo>
                    <a:lnTo>
                      <a:pt x="0" y="0"/>
                    </a:lnTo>
                    <a:lnTo>
                      <a:pt x="15716" y="0"/>
                    </a:lnTo>
                    <a:lnTo>
                      <a:pt x="15716" y="33814"/>
                    </a:lnTo>
                    <a:cubicBezTo>
                      <a:pt x="15716" y="38291"/>
                      <a:pt x="16478" y="41815"/>
                      <a:pt x="18002" y="44291"/>
                    </a:cubicBezTo>
                    <a:cubicBezTo>
                      <a:pt x="19526" y="46768"/>
                      <a:pt x="22193" y="48006"/>
                      <a:pt x="25908" y="48006"/>
                    </a:cubicBezTo>
                    <a:cubicBezTo>
                      <a:pt x="28384" y="48006"/>
                      <a:pt x="30671" y="47339"/>
                      <a:pt x="32671" y="46006"/>
                    </a:cubicBezTo>
                    <a:cubicBezTo>
                      <a:pt x="34671" y="44672"/>
                      <a:pt x="36290" y="42863"/>
                      <a:pt x="37433" y="40481"/>
                    </a:cubicBezTo>
                    <a:cubicBezTo>
                      <a:pt x="38576" y="38100"/>
                      <a:pt x="39148" y="35338"/>
                      <a:pt x="39148" y="32290"/>
                    </a:cubicBezTo>
                    <a:lnTo>
                      <a:pt x="39148" y="0"/>
                    </a:lnTo>
                    <a:lnTo>
                      <a:pt x="54864" y="0"/>
                    </a:lnTo>
                    <a:lnTo>
                      <a:pt x="54864" y="46863"/>
                    </a:lnTo>
                    <a:cubicBezTo>
                      <a:pt x="54864" y="49435"/>
                      <a:pt x="54864" y="52007"/>
                      <a:pt x="54959" y="54769"/>
                    </a:cubicBezTo>
                    <a:cubicBezTo>
                      <a:pt x="55054" y="57531"/>
                      <a:pt x="55150" y="59341"/>
                      <a:pt x="55245" y="60389"/>
                    </a:cubicBezTo>
                    <a:lnTo>
                      <a:pt x="40291" y="60389"/>
                    </a:lnTo>
                    <a:cubicBezTo>
                      <a:pt x="40196" y="59531"/>
                      <a:pt x="40005" y="57817"/>
                      <a:pt x="39910" y="55341"/>
                    </a:cubicBezTo>
                    <a:cubicBezTo>
                      <a:pt x="39814" y="52864"/>
                      <a:pt x="39624" y="50959"/>
                      <a:pt x="39624" y="49530"/>
                    </a:cubicBezTo>
                    <a:lnTo>
                      <a:pt x="39338" y="49530"/>
                    </a:lnTo>
                    <a:cubicBezTo>
                      <a:pt x="37338" y="53626"/>
                      <a:pt x="34671" y="56674"/>
                      <a:pt x="31432" y="58674"/>
                    </a:cubicBezTo>
                    <a:cubicBezTo>
                      <a:pt x="28194" y="60674"/>
                      <a:pt x="24384" y="61532"/>
                      <a:pt x="19907" y="61532"/>
                    </a:cubicBezTo>
                    <a:cubicBezTo>
                      <a:pt x="13049" y="61532"/>
                      <a:pt x="8001" y="59436"/>
                      <a:pt x="4858" y="55245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68" name="Freeform: Shape 201">
                <a:extLst>
                  <a:ext uri="{FF2B5EF4-FFF2-40B4-BE49-F238E27FC236}">
                    <a16:creationId xmlns:a16="http://schemas.microsoft.com/office/drawing/2014/main" id="{94A09A92-D83C-3160-1CCD-955D6E2E3230}"/>
                  </a:ext>
                </a:extLst>
              </p:cNvPr>
              <p:cNvSpPr/>
              <p:nvPr/>
            </p:nvSpPr>
            <p:spPr>
              <a:xfrm>
                <a:off x="5885021" y="3343084"/>
                <a:ext cx="50768" cy="62769"/>
              </a:xfrm>
              <a:custGeom>
                <a:avLst/>
                <a:gdLst>
                  <a:gd name="connsiteX0" fmla="*/ 11716 w 50768"/>
                  <a:gd name="connsiteY0" fmla="*/ 60579 h 62769"/>
                  <a:gd name="connsiteX1" fmla="*/ 0 w 50768"/>
                  <a:gd name="connsiteY1" fmla="*/ 54007 h 62769"/>
                  <a:gd name="connsiteX2" fmla="*/ 7048 w 50768"/>
                  <a:gd name="connsiteY2" fmla="*/ 43243 h 62769"/>
                  <a:gd name="connsiteX3" fmla="*/ 16383 w 50768"/>
                  <a:gd name="connsiteY3" fmla="*/ 49054 h 62769"/>
                  <a:gd name="connsiteX4" fmla="*/ 25622 w 50768"/>
                  <a:gd name="connsiteY4" fmla="*/ 50959 h 62769"/>
                  <a:gd name="connsiteX5" fmla="*/ 33338 w 50768"/>
                  <a:gd name="connsiteY5" fmla="*/ 49721 h 62769"/>
                  <a:gd name="connsiteX6" fmla="*/ 36100 w 50768"/>
                  <a:gd name="connsiteY6" fmla="*/ 45244 h 62769"/>
                  <a:gd name="connsiteX7" fmla="*/ 34671 w 50768"/>
                  <a:gd name="connsiteY7" fmla="*/ 41529 h 62769"/>
                  <a:gd name="connsiteX8" fmla="*/ 30956 w 50768"/>
                  <a:gd name="connsiteY8" fmla="*/ 39338 h 62769"/>
                  <a:gd name="connsiteX9" fmla="*/ 24574 w 50768"/>
                  <a:gd name="connsiteY9" fmla="*/ 37624 h 62769"/>
                  <a:gd name="connsiteX10" fmla="*/ 21622 w 50768"/>
                  <a:gd name="connsiteY10" fmla="*/ 36862 h 62769"/>
                  <a:gd name="connsiteX11" fmla="*/ 11525 w 50768"/>
                  <a:gd name="connsiteY11" fmla="*/ 33338 h 62769"/>
                  <a:gd name="connsiteX12" fmla="*/ 4953 w 50768"/>
                  <a:gd name="connsiteY12" fmla="*/ 27813 h 62769"/>
                  <a:gd name="connsiteX13" fmla="*/ 2381 w 50768"/>
                  <a:gd name="connsiteY13" fmla="*/ 18288 h 62769"/>
                  <a:gd name="connsiteX14" fmla="*/ 5144 w 50768"/>
                  <a:gd name="connsiteY14" fmla="*/ 8477 h 62769"/>
                  <a:gd name="connsiteX15" fmla="*/ 13145 w 50768"/>
                  <a:gd name="connsiteY15" fmla="*/ 2191 h 62769"/>
                  <a:gd name="connsiteX16" fmla="*/ 25908 w 50768"/>
                  <a:gd name="connsiteY16" fmla="*/ 0 h 62769"/>
                  <a:gd name="connsiteX17" fmla="*/ 38957 w 50768"/>
                  <a:gd name="connsiteY17" fmla="*/ 2191 h 62769"/>
                  <a:gd name="connsiteX18" fmla="*/ 49054 w 50768"/>
                  <a:gd name="connsiteY18" fmla="*/ 8763 h 62769"/>
                  <a:gd name="connsiteX19" fmla="*/ 41053 w 50768"/>
                  <a:gd name="connsiteY19" fmla="*/ 18002 h 62769"/>
                  <a:gd name="connsiteX20" fmla="*/ 26098 w 50768"/>
                  <a:gd name="connsiteY20" fmla="*/ 11716 h 62769"/>
                  <a:gd name="connsiteX21" fmla="*/ 16859 w 50768"/>
                  <a:gd name="connsiteY21" fmla="*/ 17050 h 62769"/>
                  <a:gd name="connsiteX22" fmla="*/ 18097 w 50768"/>
                  <a:gd name="connsiteY22" fmla="*/ 20288 h 62769"/>
                  <a:gd name="connsiteX23" fmla="*/ 21241 w 50768"/>
                  <a:gd name="connsiteY23" fmla="*/ 22193 h 62769"/>
                  <a:gd name="connsiteX24" fmla="*/ 26861 w 50768"/>
                  <a:gd name="connsiteY24" fmla="*/ 23717 h 62769"/>
                  <a:gd name="connsiteX25" fmla="*/ 29718 w 50768"/>
                  <a:gd name="connsiteY25" fmla="*/ 24384 h 62769"/>
                  <a:gd name="connsiteX26" fmla="*/ 40767 w 50768"/>
                  <a:gd name="connsiteY26" fmla="*/ 28004 h 62769"/>
                  <a:gd name="connsiteX27" fmla="*/ 47911 w 50768"/>
                  <a:gd name="connsiteY27" fmla="*/ 33814 h 62769"/>
                  <a:gd name="connsiteX28" fmla="*/ 50768 w 50768"/>
                  <a:gd name="connsiteY28" fmla="*/ 44005 h 62769"/>
                  <a:gd name="connsiteX29" fmla="*/ 47815 w 50768"/>
                  <a:gd name="connsiteY29" fmla="*/ 54007 h 62769"/>
                  <a:gd name="connsiteX30" fmla="*/ 39243 w 50768"/>
                  <a:gd name="connsiteY30" fmla="*/ 60484 h 62769"/>
                  <a:gd name="connsiteX31" fmla="*/ 25813 w 50768"/>
                  <a:gd name="connsiteY31" fmla="*/ 62770 h 62769"/>
                  <a:gd name="connsiteX32" fmla="*/ 11906 w 50768"/>
                  <a:gd name="connsiteY32" fmla="*/ 60674 h 627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50768" h="62769">
                    <a:moveTo>
                      <a:pt x="11716" y="60579"/>
                    </a:moveTo>
                    <a:cubicBezTo>
                      <a:pt x="7620" y="59246"/>
                      <a:pt x="3715" y="56959"/>
                      <a:pt x="0" y="54007"/>
                    </a:cubicBezTo>
                    <a:lnTo>
                      <a:pt x="7048" y="43243"/>
                    </a:lnTo>
                    <a:cubicBezTo>
                      <a:pt x="10382" y="45815"/>
                      <a:pt x="13525" y="47720"/>
                      <a:pt x="16383" y="49054"/>
                    </a:cubicBezTo>
                    <a:cubicBezTo>
                      <a:pt x="19240" y="50387"/>
                      <a:pt x="22288" y="50959"/>
                      <a:pt x="25622" y="50959"/>
                    </a:cubicBezTo>
                    <a:cubicBezTo>
                      <a:pt x="28956" y="50959"/>
                      <a:pt x="31528" y="50578"/>
                      <a:pt x="33338" y="49721"/>
                    </a:cubicBezTo>
                    <a:cubicBezTo>
                      <a:pt x="35147" y="48863"/>
                      <a:pt x="36100" y="47339"/>
                      <a:pt x="36100" y="45244"/>
                    </a:cubicBezTo>
                    <a:cubicBezTo>
                      <a:pt x="36100" y="43720"/>
                      <a:pt x="35623" y="42481"/>
                      <a:pt x="34671" y="41529"/>
                    </a:cubicBezTo>
                    <a:cubicBezTo>
                      <a:pt x="33719" y="40576"/>
                      <a:pt x="32480" y="39910"/>
                      <a:pt x="30956" y="39338"/>
                    </a:cubicBezTo>
                    <a:cubicBezTo>
                      <a:pt x="29432" y="38767"/>
                      <a:pt x="27337" y="38290"/>
                      <a:pt x="24574" y="37624"/>
                    </a:cubicBezTo>
                    <a:lnTo>
                      <a:pt x="21622" y="36862"/>
                    </a:lnTo>
                    <a:cubicBezTo>
                      <a:pt x="17526" y="35814"/>
                      <a:pt x="14192" y="34671"/>
                      <a:pt x="11525" y="33338"/>
                    </a:cubicBezTo>
                    <a:cubicBezTo>
                      <a:pt x="8858" y="32004"/>
                      <a:pt x="6667" y="30194"/>
                      <a:pt x="4953" y="27813"/>
                    </a:cubicBezTo>
                    <a:cubicBezTo>
                      <a:pt x="3238" y="25432"/>
                      <a:pt x="2381" y="22193"/>
                      <a:pt x="2381" y="18288"/>
                    </a:cubicBezTo>
                    <a:cubicBezTo>
                      <a:pt x="2381" y="14383"/>
                      <a:pt x="3334" y="11239"/>
                      <a:pt x="5144" y="8477"/>
                    </a:cubicBezTo>
                    <a:cubicBezTo>
                      <a:pt x="6953" y="5715"/>
                      <a:pt x="9620" y="3619"/>
                      <a:pt x="13145" y="2191"/>
                    </a:cubicBezTo>
                    <a:cubicBezTo>
                      <a:pt x="16669" y="762"/>
                      <a:pt x="20955" y="0"/>
                      <a:pt x="25908" y="0"/>
                    </a:cubicBezTo>
                    <a:cubicBezTo>
                      <a:pt x="30861" y="0"/>
                      <a:pt x="35052" y="762"/>
                      <a:pt x="38957" y="2191"/>
                    </a:cubicBezTo>
                    <a:cubicBezTo>
                      <a:pt x="42863" y="3619"/>
                      <a:pt x="46196" y="5810"/>
                      <a:pt x="49054" y="8763"/>
                    </a:cubicBezTo>
                    <a:lnTo>
                      <a:pt x="41053" y="18002"/>
                    </a:lnTo>
                    <a:cubicBezTo>
                      <a:pt x="36766" y="13811"/>
                      <a:pt x="31813" y="11716"/>
                      <a:pt x="26098" y="11716"/>
                    </a:cubicBezTo>
                    <a:cubicBezTo>
                      <a:pt x="19907" y="11716"/>
                      <a:pt x="16859" y="13525"/>
                      <a:pt x="16859" y="17050"/>
                    </a:cubicBezTo>
                    <a:cubicBezTo>
                      <a:pt x="16859" y="18383"/>
                      <a:pt x="17240" y="19526"/>
                      <a:pt x="18097" y="20288"/>
                    </a:cubicBezTo>
                    <a:cubicBezTo>
                      <a:pt x="18955" y="21050"/>
                      <a:pt x="19907" y="21717"/>
                      <a:pt x="21241" y="22193"/>
                    </a:cubicBezTo>
                    <a:cubicBezTo>
                      <a:pt x="22574" y="22669"/>
                      <a:pt x="24384" y="23146"/>
                      <a:pt x="26861" y="23717"/>
                    </a:cubicBezTo>
                    <a:lnTo>
                      <a:pt x="29718" y="24384"/>
                    </a:lnTo>
                    <a:cubicBezTo>
                      <a:pt x="34195" y="25527"/>
                      <a:pt x="37814" y="26670"/>
                      <a:pt x="40767" y="28004"/>
                    </a:cubicBezTo>
                    <a:cubicBezTo>
                      <a:pt x="43720" y="29337"/>
                      <a:pt x="46006" y="31242"/>
                      <a:pt x="47911" y="33814"/>
                    </a:cubicBezTo>
                    <a:cubicBezTo>
                      <a:pt x="49816" y="36385"/>
                      <a:pt x="50768" y="39814"/>
                      <a:pt x="50768" y="44005"/>
                    </a:cubicBezTo>
                    <a:cubicBezTo>
                      <a:pt x="50768" y="47815"/>
                      <a:pt x="49816" y="51149"/>
                      <a:pt x="47815" y="54007"/>
                    </a:cubicBezTo>
                    <a:cubicBezTo>
                      <a:pt x="45815" y="56864"/>
                      <a:pt x="43053" y="58960"/>
                      <a:pt x="39243" y="60484"/>
                    </a:cubicBezTo>
                    <a:cubicBezTo>
                      <a:pt x="35433" y="62008"/>
                      <a:pt x="31051" y="62770"/>
                      <a:pt x="25813" y="62770"/>
                    </a:cubicBezTo>
                    <a:cubicBezTo>
                      <a:pt x="20574" y="62770"/>
                      <a:pt x="16002" y="62103"/>
                      <a:pt x="11906" y="60674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69" name="Freeform: Shape 202">
                <a:extLst>
                  <a:ext uri="{FF2B5EF4-FFF2-40B4-BE49-F238E27FC236}">
                    <a16:creationId xmlns:a16="http://schemas.microsoft.com/office/drawing/2014/main" id="{6110D6C8-3F58-12FB-D4B0-4082418001D3}"/>
                  </a:ext>
                </a:extLst>
              </p:cNvPr>
              <p:cNvSpPr/>
              <p:nvPr/>
            </p:nvSpPr>
            <p:spPr>
              <a:xfrm>
                <a:off x="5946171" y="3318605"/>
                <a:ext cx="17525" cy="85915"/>
              </a:xfrm>
              <a:custGeom>
                <a:avLst/>
                <a:gdLst>
                  <a:gd name="connsiteX0" fmla="*/ 2381 w 17525"/>
                  <a:gd name="connsiteY0" fmla="*/ 15240 h 85915"/>
                  <a:gd name="connsiteX1" fmla="*/ 0 w 17525"/>
                  <a:gd name="connsiteY1" fmla="*/ 8858 h 85915"/>
                  <a:gd name="connsiteX2" fmla="*/ 2381 w 17525"/>
                  <a:gd name="connsiteY2" fmla="*/ 2381 h 85915"/>
                  <a:gd name="connsiteX3" fmla="*/ 8858 w 17525"/>
                  <a:gd name="connsiteY3" fmla="*/ 0 h 85915"/>
                  <a:gd name="connsiteX4" fmla="*/ 15145 w 17525"/>
                  <a:gd name="connsiteY4" fmla="*/ 2381 h 85915"/>
                  <a:gd name="connsiteX5" fmla="*/ 17526 w 17525"/>
                  <a:gd name="connsiteY5" fmla="*/ 8858 h 85915"/>
                  <a:gd name="connsiteX6" fmla="*/ 15145 w 17525"/>
                  <a:gd name="connsiteY6" fmla="*/ 15240 h 85915"/>
                  <a:gd name="connsiteX7" fmla="*/ 8858 w 17525"/>
                  <a:gd name="connsiteY7" fmla="*/ 17621 h 85915"/>
                  <a:gd name="connsiteX8" fmla="*/ 2381 w 17525"/>
                  <a:gd name="connsiteY8" fmla="*/ 15240 h 85915"/>
                  <a:gd name="connsiteX9" fmla="*/ 953 w 17525"/>
                  <a:gd name="connsiteY9" fmla="*/ 25622 h 85915"/>
                  <a:gd name="connsiteX10" fmla="*/ 16669 w 17525"/>
                  <a:gd name="connsiteY10" fmla="*/ 25622 h 85915"/>
                  <a:gd name="connsiteX11" fmla="*/ 16669 w 17525"/>
                  <a:gd name="connsiteY11" fmla="*/ 85915 h 85915"/>
                  <a:gd name="connsiteX12" fmla="*/ 953 w 17525"/>
                  <a:gd name="connsiteY12" fmla="*/ 85915 h 85915"/>
                  <a:gd name="connsiteX13" fmla="*/ 953 w 17525"/>
                  <a:gd name="connsiteY13" fmla="*/ 25622 h 859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7525" h="85915">
                    <a:moveTo>
                      <a:pt x="2381" y="15240"/>
                    </a:moveTo>
                    <a:cubicBezTo>
                      <a:pt x="857" y="13621"/>
                      <a:pt x="0" y="11525"/>
                      <a:pt x="0" y="8858"/>
                    </a:cubicBezTo>
                    <a:cubicBezTo>
                      <a:pt x="0" y="6191"/>
                      <a:pt x="762" y="4000"/>
                      <a:pt x="2381" y="2381"/>
                    </a:cubicBezTo>
                    <a:cubicBezTo>
                      <a:pt x="4001" y="762"/>
                      <a:pt x="6096" y="0"/>
                      <a:pt x="8858" y="0"/>
                    </a:cubicBezTo>
                    <a:cubicBezTo>
                      <a:pt x="11621" y="0"/>
                      <a:pt x="13621" y="762"/>
                      <a:pt x="15145" y="2381"/>
                    </a:cubicBezTo>
                    <a:cubicBezTo>
                      <a:pt x="16669" y="4000"/>
                      <a:pt x="17526" y="6096"/>
                      <a:pt x="17526" y="8858"/>
                    </a:cubicBezTo>
                    <a:cubicBezTo>
                      <a:pt x="17526" y="11621"/>
                      <a:pt x="16764" y="13621"/>
                      <a:pt x="15145" y="15240"/>
                    </a:cubicBezTo>
                    <a:cubicBezTo>
                      <a:pt x="13526" y="16859"/>
                      <a:pt x="11430" y="17621"/>
                      <a:pt x="8858" y="17621"/>
                    </a:cubicBezTo>
                    <a:cubicBezTo>
                      <a:pt x="6096" y="17621"/>
                      <a:pt x="3905" y="16859"/>
                      <a:pt x="2381" y="15240"/>
                    </a:cubicBezTo>
                    <a:close/>
                    <a:moveTo>
                      <a:pt x="953" y="25622"/>
                    </a:moveTo>
                    <a:lnTo>
                      <a:pt x="16669" y="25622"/>
                    </a:lnTo>
                    <a:lnTo>
                      <a:pt x="16669" y="85915"/>
                    </a:lnTo>
                    <a:lnTo>
                      <a:pt x="953" y="85915"/>
                    </a:lnTo>
                    <a:lnTo>
                      <a:pt x="953" y="25622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70" name="Freeform: Shape 203">
                <a:extLst>
                  <a:ext uri="{FF2B5EF4-FFF2-40B4-BE49-F238E27FC236}">
                    <a16:creationId xmlns:a16="http://schemas.microsoft.com/office/drawing/2014/main" id="{059B0189-61C9-6D54-3DB2-FC0CF1B35348}"/>
                  </a:ext>
                </a:extLst>
              </p:cNvPr>
              <p:cNvSpPr/>
              <p:nvPr/>
            </p:nvSpPr>
            <p:spPr>
              <a:xfrm>
                <a:off x="5978556" y="3343084"/>
                <a:ext cx="55149" cy="61721"/>
              </a:xfrm>
              <a:custGeom>
                <a:avLst/>
                <a:gdLst>
                  <a:gd name="connsiteX0" fmla="*/ 381 w 55149"/>
                  <a:gd name="connsiteY0" fmla="*/ 14668 h 61721"/>
                  <a:gd name="connsiteX1" fmla="*/ 286 w 55149"/>
                  <a:gd name="connsiteY1" fmla="*/ 6763 h 61721"/>
                  <a:gd name="connsiteX2" fmla="*/ 0 w 55149"/>
                  <a:gd name="connsiteY2" fmla="*/ 1238 h 61721"/>
                  <a:gd name="connsiteX3" fmla="*/ 14954 w 55149"/>
                  <a:gd name="connsiteY3" fmla="*/ 1238 h 61721"/>
                  <a:gd name="connsiteX4" fmla="*/ 15430 w 55149"/>
                  <a:gd name="connsiteY4" fmla="*/ 6191 h 61721"/>
                  <a:gd name="connsiteX5" fmla="*/ 15716 w 55149"/>
                  <a:gd name="connsiteY5" fmla="*/ 12097 h 61721"/>
                  <a:gd name="connsiteX6" fmla="*/ 15907 w 55149"/>
                  <a:gd name="connsiteY6" fmla="*/ 12097 h 61721"/>
                  <a:gd name="connsiteX7" fmla="*/ 23908 w 55149"/>
                  <a:gd name="connsiteY7" fmla="*/ 2953 h 61721"/>
                  <a:gd name="connsiteX8" fmla="*/ 35338 w 55149"/>
                  <a:gd name="connsiteY8" fmla="*/ 0 h 61721"/>
                  <a:gd name="connsiteX9" fmla="*/ 50387 w 55149"/>
                  <a:gd name="connsiteY9" fmla="*/ 6382 h 61721"/>
                  <a:gd name="connsiteX10" fmla="*/ 55150 w 55149"/>
                  <a:gd name="connsiteY10" fmla="*/ 23336 h 61721"/>
                  <a:gd name="connsiteX11" fmla="*/ 55150 w 55149"/>
                  <a:gd name="connsiteY11" fmla="*/ 61627 h 61721"/>
                  <a:gd name="connsiteX12" fmla="*/ 39529 w 55149"/>
                  <a:gd name="connsiteY12" fmla="*/ 61627 h 61721"/>
                  <a:gd name="connsiteX13" fmla="*/ 39529 w 55149"/>
                  <a:gd name="connsiteY13" fmla="*/ 27813 h 61721"/>
                  <a:gd name="connsiteX14" fmla="*/ 37242 w 55149"/>
                  <a:gd name="connsiteY14" fmla="*/ 17240 h 61721"/>
                  <a:gd name="connsiteX15" fmla="*/ 29337 w 55149"/>
                  <a:gd name="connsiteY15" fmla="*/ 13525 h 61721"/>
                  <a:gd name="connsiteX16" fmla="*/ 22574 w 55149"/>
                  <a:gd name="connsiteY16" fmla="*/ 15526 h 61721"/>
                  <a:gd name="connsiteX17" fmla="*/ 17812 w 55149"/>
                  <a:gd name="connsiteY17" fmla="*/ 21146 h 61721"/>
                  <a:gd name="connsiteX18" fmla="*/ 16097 w 55149"/>
                  <a:gd name="connsiteY18" fmla="*/ 29337 h 61721"/>
                  <a:gd name="connsiteX19" fmla="*/ 16097 w 55149"/>
                  <a:gd name="connsiteY19" fmla="*/ 61722 h 61721"/>
                  <a:gd name="connsiteX20" fmla="*/ 381 w 55149"/>
                  <a:gd name="connsiteY20" fmla="*/ 61722 h 61721"/>
                  <a:gd name="connsiteX21" fmla="*/ 381 w 55149"/>
                  <a:gd name="connsiteY21" fmla="*/ 14859 h 617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55149" h="61721">
                    <a:moveTo>
                      <a:pt x="381" y="14668"/>
                    </a:moveTo>
                    <a:cubicBezTo>
                      <a:pt x="381" y="12097"/>
                      <a:pt x="381" y="9430"/>
                      <a:pt x="286" y="6763"/>
                    </a:cubicBezTo>
                    <a:cubicBezTo>
                      <a:pt x="190" y="4096"/>
                      <a:pt x="95" y="2191"/>
                      <a:pt x="0" y="1238"/>
                    </a:cubicBezTo>
                    <a:lnTo>
                      <a:pt x="14954" y="1238"/>
                    </a:lnTo>
                    <a:cubicBezTo>
                      <a:pt x="15145" y="2096"/>
                      <a:pt x="15240" y="3715"/>
                      <a:pt x="15430" y="6191"/>
                    </a:cubicBezTo>
                    <a:cubicBezTo>
                      <a:pt x="15621" y="8668"/>
                      <a:pt x="15716" y="10668"/>
                      <a:pt x="15716" y="12097"/>
                    </a:cubicBezTo>
                    <a:lnTo>
                      <a:pt x="15907" y="12097"/>
                    </a:lnTo>
                    <a:cubicBezTo>
                      <a:pt x="18002" y="8001"/>
                      <a:pt x="20669" y="4953"/>
                      <a:pt x="23908" y="2953"/>
                    </a:cubicBezTo>
                    <a:cubicBezTo>
                      <a:pt x="27146" y="952"/>
                      <a:pt x="30956" y="0"/>
                      <a:pt x="35338" y="0"/>
                    </a:cubicBezTo>
                    <a:cubicBezTo>
                      <a:pt x="42196" y="0"/>
                      <a:pt x="47244" y="2096"/>
                      <a:pt x="50387" y="6382"/>
                    </a:cubicBezTo>
                    <a:cubicBezTo>
                      <a:pt x="53530" y="10668"/>
                      <a:pt x="55150" y="16288"/>
                      <a:pt x="55150" y="23336"/>
                    </a:cubicBezTo>
                    <a:lnTo>
                      <a:pt x="55150" y="61627"/>
                    </a:lnTo>
                    <a:lnTo>
                      <a:pt x="39529" y="61627"/>
                    </a:lnTo>
                    <a:lnTo>
                      <a:pt x="39529" y="27813"/>
                    </a:lnTo>
                    <a:cubicBezTo>
                      <a:pt x="39529" y="23241"/>
                      <a:pt x="38767" y="19717"/>
                      <a:pt x="37242" y="17240"/>
                    </a:cubicBezTo>
                    <a:cubicBezTo>
                      <a:pt x="35719" y="14764"/>
                      <a:pt x="33052" y="13525"/>
                      <a:pt x="29337" y="13525"/>
                    </a:cubicBezTo>
                    <a:cubicBezTo>
                      <a:pt x="26765" y="13525"/>
                      <a:pt x="24574" y="14192"/>
                      <a:pt x="22574" y="15526"/>
                    </a:cubicBezTo>
                    <a:cubicBezTo>
                      <a:pt x="20574" y="16859"/>
                      <a:pt x="18955" y="18669"/>
                      <a:pt x="17812" y="21146"/>
                    </a:cubicBezTo>
                    <a:cubicBezTo>
                      <a:pt x="16669" y="23622"/>
                      <a:pt x="16097" y="26289"/>
                      <a:pt x="16097" y="29337"/>
                    </a:cubicBezTo>
                    <a:lnTo>
                      <a:pt x="16097" y="61722"/>
                    </a:lnTo>
                    <a:lnTo>
                      <a:pt x="381" y="61722"/>
                    </a:lnTo>
                    <a:lnTo>
                      <a:pt x="381" y="14859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71" name="Freeform: Shape 204">
                <a:extLst>
                  <a:ext uri="{FF2B5EF4-FFF2-40B4-BE49-F238E27FC236}">
                    <a16:creationId xmlns:a16="http://schemas.microsoft.com/office/drawing/2014/main" id="{4B780D09-9A56-E60B-514E-23108BC2403C}"/>
                  </a:ext>
                </a:extLst>
              </p:cNvPr>
              <p:cNvSpPr/>
              <p:nvPr/>
            </p:nvSpPr>
            <p:spPr>
              <a:xfrm>
                <a:off x="6045231" y="3343084"/>
                <a:ext cx="55244" cy="62769"/>
              </a:xfrm>
              <a:custGeom>
                <a:avLst/>
                <a:gdLst>
                  <a:gd name="connsiteX0" fmla="*/ 7715 w 55244"/>
                  <a:gd name="connsiteY0" fmla="*/ 54769 h 62769"/>
                  <a:gd name="connsiteX1" fmla="*/ 0 w 55244"/>
                  <a:gd name="connsiteY1" fmla="*/ 31242 h 62769"/>
                  <a:gd name="connsiteX2" fmla="*/ 3810 w 55244"/>
                  <a:gd name="connsiteY2" fmla="*/ 13716 h 62769"/>
                  <a:gd name="connsiteX3" fmla="*/ 14097 w 55244"/>
                  <a:gd name="connsiteY3" fmla="*/ 3334 h 62769"/>
                  <a:gd name="connsiteX4" fmla="*/ 28480 w 55244"/>
                  <a:gd name="connsiteY4" fmla="*/ 0 h 62769"/>
                  <a:gd name="connsiteX5" fmla="*/ 43720 w 55244"/>
                  <a:gd name="connsiteY5" fmla="*/ 4000 h 62769"/>
                  <a:gd name="connsiteX6" fmla="*/ 52483 w 55244"/>
                  <a:gd name="connsiteY6" fmla="*/ 14478 h 62769"/>
                  <a:gd name="connsiteX7" fmla="*/ 55245 w 55244"/>
                  <a:gd name="connsiteY7" fmla="*/ 29146 h 62769"/>
                  <a:gd name="connsiteX8" fmla="*/ 54864 w 55244"/>
                  <a:gd name="connsiteY8" fmla="*/ 35433 h 62769"/>
                  <a:gd name="connsiteX9" fmla="*/ 16478 w 55244"/>
                  <a:gd name="connsiteY9" fmla="*/ 35433 h 62769"/>
                  <a:gd name="connsiteX10" fmla="*/ 19812 w 55244"/>
                  <a:gd name="connsiteY10" fmla="*/ 46577 h 62769"/>
                  <a:gd name="connsiteX11" fmla="*/ 30194 w 55244"/>
                  <a:gd name="connsiteY11" fmla="*/ 50673 h 62769"/>
                  <a:gd name="connsiteX12" fmla="*/ 35909 w 55244"/>
                  <a:gd name="connsiteY12" fmla="*/ 50006 h 62769"/>
                  <a:gd name="connsiteX13" fmla="*/ 40957 w 55244"/>
                  <a:gd name="connsiteY13" fmla="*/ 48006 h 62769"/>
                  <a:gd name="connsiteX14" fmla="*/ 46958 w 55244"/>
                  <a:gd name="connsiteY14" fmla="*/ 44196 h 62769"/>
                  <a:gd name="connsiteX15" fmla="*/ 53340 w 55244"/>
                  <a:gd name="connsiteY15" fmla="*/ 54388 h 62769"/>
                  <a:gd name="connsiteX16" fmla="*/ 42672 w 55244"/>
                  <a:gd name="connsiteY16" fmla="*/ 60579 h 62769"/>
                  <a:gd name="connsiteX17" fmla="*/ 29432 w 55244"/>
                  <a:gd name="connsiteY17" fmla="*/ 62770 h 62769"/>
                  <a:gd name="connsiteX18" fmla="*/ 7810 w 55244"/>
                  <a:gd name="connsiteY18" fmla="*/ 54864 h 62769"/>
                  <a:gd name="connsiteX19" fmla="*/ 40005 w 55244"/>
                  <a:gd name="connsiteY19" fmla="*/ 24765 h 62769"/>
                  <a:gd name="connsiteX20" fmla="*/ 36862 w 55244"/>
                  <a:gd name="connsiteY20" fmla="*/ 14764 h 62769"/>
                  <a:gd name="connsiteX21" fmla="*/ 28384 w 55244"/>
                  <a:gd name="connsiteY21" fmla="*/ 11525 h 62769"/>
                  <a:gd name="connsiteX22" fmla="*/ 20002 w 55244"/>
                  <a:gd name="connsiteY22" fmla="*/ 14764 h 62769"/>
                  <a:gd name="connsiteX23" fmla="*/ 16669 w 55244"/>
                  <a:gd name="connsiteY23" fmla="*/ 24765 h 62769"/>
                  <a:gd name="connsiteX24" fmla="*/ 40100 w 55244"/>
                  <a:gd name="connsiteY24" fmla="*/ 24765 h 627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55244" h="62769">
                    <a:moveTo>
                      <a:pt x="7715" y="54769"/>
                    </a:moveTo>
                    <a:cubicBezTo>
                      <a:pt x="2572" y="49530"/>
                      <a:pt x="0" y="41624"/>
                      <a:pt x="0" y="31242"/>
                    </a:cubicBezTo>
                    <a:cubicBezTo>
                      <a:pt x="0" y="24289"/>
                      <a:pt x="1238" y="18383"/>
                      <a:pt x="3810" y="13716"/>
                    </a:cubicBezTo>
                    <a:cubicBezTo>
                      <a:pt x="6382" y="9049"/>
                      <a:pt x="9811" y="5620"/>
                      <a:pt x="14097" y="3334"/>
                    </a:cubicBezTo>
                    <a:cubicBezTo>
                      <a:pt x="18383" y="1048"/>
                      <a:pt x="23146" y="0"/>
                      <a:pt x="28480" y="0"/>
                    </a:cubicBezTo>
                    <a:cubicBezTo>
                      <a:pt x="34576" y="0"/>
                      <a:pt x="39719" y="1333"/>
                      <a:pt x="43720" y="4000"/>
                    </a:cubicBezTo>
                    <a:cubicBezTo>
                      <a:pt x="47720" y="6667"/>
                      <a:pt x="50673" y="10192"/>
                      <a:pt x="52483" y="14478"/>
                    </a:cubicBezTo>
                    <a:cubicBezTo>
                      <a:pt x="54292" y="18764"/>
                      <a:pt x="55245" y="23717"/>
                      <a:pt x="55245" y="29146"/>
                    </a:cubicBezTo>
                    <a:cubicBezTo>
                      <a:pt x="55245" y="31242"/>
                      <a:pt x="55150" y="33338"/>
                      <a:pt x="54864" y="35433"/>
                    </a:cubicBezTo>
                    <a:lnTo>
                      <a:pt x="16478" y="35433"/>
                    </a:lnTo>
                    <a:cubicBezTo>
                      <a:pt x="16478" y="40100"/>
                      <a:pt x="17621" y="43815"/>
                      <a:pt x="19812" y="46577"/>
                    </a:cubicBezTo>
                    <a:cubicBezTo>
                      <a:pt x="22003" y="49339"/>
                      <a:pt x="25527" y="50673"/>
                      <a:pt x="30194" y="50673"/>
                    </a:cubicBezTo>
                    <a:cubicBezTo>
                      <a:pt x="32290" y="50673"/>
                      <a:pt x="34195" y="50482"/>
                      <a:pt x="35909" y="50006"/>
                    </a:cubicBezTo>
                    <a:cubicBezTo>
                      <a:pt x="37624" y="49530"/>
                      <a:pt x="39338" y="48863"/>
                      <a:pt x="40957" y="48006"/>
                    </a:cubicBezTo>
                    <a:cubicBezTo>
                      <a:pt x="42577" y="47149"/>
                      <a:pt x="44577" y="45815"/>
                      <a:pt x="46958" y="44196"/>
                    </a:cubicBezTo>
                    <a:lnTo>
                      <a:pt x="53340" y="54388"/>
                    </a:lnTo>
                    <a:cubicBezTo>
                      <a:pt x="49816" y="57055"/>
                      <a:pt x="46196" y="59150"/>
                      <a:pt x="42672" y="60579"/>
                    </a:cubicBezTo>
                    <a:cubicBezTo>
                      <a:pt x="39148" y="62008"/>
                      <a:pt x="34671" y="62770"/>
                      <a:pt x="29432" y="62770"/>
                    </a:cubicBezTo>
                    <a:cubicBezTo>
                      <a:pt x="20193" y="62770"/>
                      <a:pt x="12954" y="60103"/>
                      <a:pt x="7810" y="54864"/>
                    </a:cubicBezTo>
                    <a:close/>
                    <a:moveTo>
                      <a:pt x="40005" y="24765"/>
                    </a:moveTo>
                    <a:cubicBezTo>
                      <a:pt x="39814" y="20193"/>
                      <a:pt x="38767" y="16859"/>
                      <a:pt x="36862" y="14764"/>
                    </a:cubicBezTo>
                    <a:cubicBezTo>
                      <a:pt x="34957" y="12668"/>
                      <a:pt x="32099" y="11525"/>
                      <a:pt x="28384" y="11525"/>
                    </a:cubicBezTo>
                    <a:cubicBezTo>
                      <a:pt x="24670" y="11525"/>
                      <a:pt x="22098" y="12573"/>
                      <a:pt x="20002" y="14764"/>
                    </a:cubicBezTo>
                    <a:cubicBezTo>
                      <a:pt x="17907" y="16954"/>
                      <a:pt x="16764" y="20288"/>
                      <a:pt x="16669" y="24765"/>
                    </a:cubicBezTo>
                    <a:lnTo>
                      <a:pt x="40100" y="24765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72" name="Freeform: Shape 205">
                <a:extLst>
                  <a:ext uri="{FF2B5EF4-FFF2-40B4-BE49-F238E27FC236}">
                    <a16:creationId xmlns:a16="http://schemas.microsoft.com/office/drawing/2014/main" id="{24939577-A5E7-8077-AAB7-8DBE32762A42}"/>
                  </a:ext>
                </a:extLst>
              </p:cNvPr>
              <p:cNvSpPr/>
              <p:nvPr/>
            </p:nvSpPr>
            <p:spPr>
              <a:xfrm>
                <a:off x="6107049" y="3343084"/>
                <a:ext cx="50768" cy="62769"/>
              </a:xfrm>
              <a:custGeom>
                <a:avLst/>
                <a:gdLst>
                  <a:gd name="connsiteX0" fmla="*/ 11716 w 50768"/>
                  <a:gd name="connsiteY0" fmla="*/ 60579 h 62769"/>
                  <a:gd name="connsiteX1" fmla="*/ 0 w 50768"/>
                  <a:gd name="connsiteY1" fmla="*/ 54007 h 62769"/>
                  <a:gd name="connsiteX2" fmla="*/ 7048 w 50768"/>
                  <a:gd name="connsiteY2" fmla="*/ 43243 h 62769"/>
                  <a:gd name="connsiteX3" fmla="*/ 16383 w 50768"/>
                  <a:gd name="connsiteY3" fmla="*/ 49054 h 62769"/>
                  <a:gd name="connsiteX4" fmla="*/ 25622 w 50768"/>
                  <a:gd name="connsiteY4" fmla="*/ 50959 h 62769"/>
                  <a:gd name="connsiteX5" fmla="*/ 33338 w 50768"/>
                  <a:gd name="connsiteY5" fmla="*/ 49721 h 62769"/>
                  <a:gd name="connsiteX6" fmla="*/ 36100 w 50768"/>
                  <a:gd name="connsiteY6" fmla="*/ 45244 h 62769"/>
                  <a:gd name="connsiteX7" fmla="*/ 34671 w 50768"/>
                  <a:gd name="connsiteY7" fmla="*/ 41529 h 62769"/>
                  <a:gd name="connsiteX8" fmla="*/ 30956 w 50768"/>
                  <a:gd name="connsiteY8" fmla="*/ 39338 h 62769"/>
                  <a:gd name="connsiteX9" fmla="*/ 24574 w 50768"/>
                  <a:gd name="connsiteY9" fmla="*/ 37624 h 62769"/>
                  <a:gd name="connsiteX10" fmla="*/ 21622 w 50768"/>
                  <a:gd name="connsiteY10" fmla="*/ 36862 h 62769"/>
                  <a:gd name="connsiteX11" fmla="*/ 11525 w 50768"/>
                  <a:gd name="connsiteY11" fmla="*/ 33338 h 62769"/>
                  <a:gd name="connsiteX12" fmla="*/ 4953 w 50768"/>
                  <a:gd name="connsiteY12" fmla="*/ 27813 h 62769"/>
                  <a:gd name="connsiteX13" fmla="*/ 2381 w 50768"/>
                  <a:gd name="connsiteY13" fmla="*/ 18288 h 62769"/>
                  <a:gd name="connsiteX14" fmla="*/ 5144 w 50768"/>
                  <a:gd name="connsiteY14" fmla="*/ 8477 h 62769"/>
                  <a:gd name="connsiteX15" fmla="*/ 13145 w 50768"/>
                  <a:gd name="connsiteY15" fmla="*/ 2191 h 62769"/>
                  <a:gd name="connsiteX16" fmla="*/ 25908 w 50768"/>
                  <a:gd name="connsiteY16" fmla="*/ 0 h 62769"/>
                  <a:gd name="connsiteX17" fmla="*/ 38957 w 50768"/>
                  <a:gd name="connsiteY17" fmla="*/ 2191 h 62769"/>
                  <a:gd name="connsiteX18" fmla="*/ 49054 w 50768"/>
                  <a:gd name="connsiteY18" fmla="*/ 8763 h 62769"/>
                  <a:gd name="connsiteX19" fmla="*/ 41053 w 50768"/>
                  <a:gd name="connsiteY19" fmla="*/ 18002 h 62769"/>
                  <a:gd name="connsiteX20" fmla="*/ 26098 w 50768"/>
                  <a:gd name="connsiteY20" fmla="*/ 11716 h 62769"/>
                  <a:gd name="connsiteX21" fmla="*/ 16859 w 50768"/>
                  <a:gd name="connsiteY21" fmla="*/ 17050 h 62769"/>
                  <a:gd name="connsiteX22" fmla="*/ 18097 w 50768"/>
                  <a:gd name="connsiteY22" fmla="*/ 20288 h 62769"/>
                  <a:gd name="connsiteX23" fmla="*/ 21241 w 50768"/>
                  <a:gd name="connsiteY23" fmla="*/ 22193 h 62769"/>
                  <a:gd name="connsiteX24" fmla="*/ 26861 w 50768"/>
                  <a:gd name="connsiteY24" fmla="*/ 23717 h 62769"/>
                  <a:gd name="connsiteX25" fmla="*/ 29718 w 50768"/>
                  <a:gd name="connsiteY25" fmla="*/ 24384 h 62769"/>
                  <a:gd name="connsiteX26" fmla="*/ 40767 w 50768"/>
                  <a:gd name="connsiteY26" fmla="*/ 28004 h 62769"/>
                  <a:gd name="connsiteX27" fmla="*/ 47911 w 50768"/>
                  <a:gd name="connsiteY27" fmla="*/ 33814 h 62769"/>
                  <a:gd name="connsiteX28" fmla="*/ 50768 w 50768"/>
                  <a:gd name="connsiteY28" fmla="*/ 44005 h 62769"/>
                  <a:gd name="connsiteX29" fmla="*/ 47815 w 50768"/>
                  <a:gd name="connsiteY29" fmla="*/ 54007 h 62769"/>
                  <a:gd name="connsiteX30" fmla="*/ 39243 w 50768"/>
                  <a:gd name="connsiteY30" fmla="*/ 60484 h 62769"/>
                  <a:gd name="connsiteX31" fmla="*/ 25813 w 50768"/>
                  <a:gd name="connsiteY31" fmla="*/ 62770 h 62769"/>
                  <a:gd name="connsiteX32" fmla="*/ 11906 w 50768"/>
                  <a:gd name="connsiteY32" fmla="*/ 60674 h 627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50768" h="62769">
                    <a:moveTo>
                      <a:pt x="11716" y="60579"/>
                    </a:moveTo>
                    <a:cubicBezTo>
                      <a:pt x="7620" y="59246"/>
                      <a:pt x="3715" y="56959"/>
                      <a:pt x="0" y="54007"/>
                    </a:cubicBezTo>
                    <a:lnTo>
                      <a:pt x="7048" y="43243"/>
                    </a:lnTo>
                    <a:cubicBezTo>
                      <a:pt x="10382" y="45815"/>
                      <a:pt x="13525" y="47720"/>
                      <a:pt x="16383" y="49054"/>
                    </a:cubicBezTo>
                    <a:cubicBezTo>
                      <a:pt x="19240" y="50387"/>
                      <a:pt x="22288" y="50959"/>
                      <a:pt x="25622" y="50959"/>
                    </a:cubicBezTo>
                    <a:cubicBezTo>
                      <a:pt x="28956" y="50959"/>
                      <a:pt x="31528" y="50578"/>
                      <a:pt x="33338" y="49721"/>
                    </a:cubicBezTo>
                    <a:cubicBezTo>
                      <a:pt x="35147" y="48863"/>
                      <a:pt x="36100" y="47339"/>
                      <a:pt x="36100" y="45244"/>
                    </a:cubicBezTo>
                    <a:cubicBezTo>
                      <a:pt x="36100" y="43720"/>
                      <a:pt x="35623" y="42481"/>
                      <a:pt x="34671" y="41529"/>
                    </a:cubicBezTo>
                    <a:cubicBezTo>
                      <a:pt x="33719" y="40576"/>
                      <a:pt x="32480" y="39910"/>
                      <a:pt x="30956" y="39338"/>
                    </a:cubicBezTo>
                    <a:cubicBezTo>
                      <a:pt x="29432" y="38767"/>
                      <a:pt x="27337" y="38290"/>
                      <a:pt x="24574" y="37624"/>
                    </a:cubicBezTo>
                    <a:lnTo>
                      <a:pt x="21622" y="36862"/>
                    </a:lnTo>
                    <a:cubicBezTo>
                      <a:pt x="17526" y="35814"/>
                      <a:pt x="14192" y="34671"/>
                      <a:pt x="11525" y="33338"/>
                    </a:cubicBezTo>
                    <a:cubicBezTo>
                      <a:pt x="8858" y="32004"/>
                      <a:pt x="6667" y="30194"/>
                      <a:pt x="4953" y="27813"/>
                    </a:cubicBezTo>
                    <a:cubicBezTo>
                      <a:pt x="3238" y="25432"/>
                      <a:pt x="2381" y="22193"/>
                      <a:pt x="2381" y="18288"/>
                    </a:cubicBezTo>
                    <a:cubicBezTo>
                      <a:pt x="2381" y="14383"/>
                      <a:pt x="3334" y="11239"/>
                      <a:pt x="5144" y="8477"/>
                    </a:cubicBezTo>
                    <a:cubicBezTo>
                      <a:pt x="6953" y="5715"/>
                      <a:pt x="9620" y="3619"/>
                      <a:pt x="13145" y="2191"/>
                    </a:cubicBezTo>
                    <a:cubicBezTo>
                      <a:pt x="16669" y="762"/>
                      <a:pt x="20955" y="0"/>
                      <a:pt x="25908" y="0"/>
                    </a:cubicBezTo>
                    <a:cubicBezTo>
                      <a:pt x="30861" y="0"/>
                      <a:pt x="35052" y="762"/>
                      <a:pt x="38957" y="2191"/>
                    </a:cubicBezTo>
                    <a:cubicBezTo>
                      <a:pt x="42863" y="3619"/>
                      <a:pt x="46196" y="5810"/>
                      <a:pt x="49054" y="8763"/>
                    </a:cubicBezTo>
                    <a:lnTo>
                      <a:pt x="41053" y="18002"/>
                    </a:lnTo>
                    <a:cubicBezTo>
                      <a:pt x="36766" y="13811"/>
                      <a:pt x="31813" y="11716"/>
                      <a:pt x="26098" y="11716"/>
                    </a:cubicBezTo>
                    <a:cubicBezTo>
                      <a:pt x="19907" y="11716"/>
                      <a:pt x="16859" y="13525"/>
                      <a:pt x="16859" y="17050"/>
                    </a:cubicBezTo>
                    <a:cubicBezTo>
                      <a:pt x="16859" y="18383"/>
                      <a:pt x="17240" y="19526"/>
                      <a:pt x="18097" y="20288"/>
                    </a:cubicBezTo>
                    <a:cubicBezTo>
                      <a:pt x="18955" y="21050"/>
                      <a:pt x="19907" y="21717"/>
                      <a:pt x="21241" y="22193"/>
                    </a:cubicBezTo>
                    <a:cubicBezTo>
                      <a:pt x="22574" y="22669"/>
                      <a:pt x="24384" y="23146"/>
                      <a:pt x="26861" y="23717"/>
                    </a:cubicBezTo>
                    <a:lnTo>
                      <a:pt x="29718" y="24384"/>
                    </a:lnTo>
                    <a:cubicBezTo>
                      <a:pt x="34195" y="25527"/>
                      <a:pt x="37814" y="26670"/>
                      <a:pt x="40767" y="28004"/>
                    </a:cubicBezTo>
                    <a:cubicBezTo>
                      <a:pt x="43720" y="29337"/>
                      <a:pt x="46006" y="31242"/>
                      <a:pt x="47911" y="33814"/>
                    </a:cubicBezTo>
                    <a:cubicBezTo>
                      <a:pt x="49816" y="36385"/>
                      <a:pt x="50768" y="39814"/>
                      <a:pt x="50768" y="44005"/>
                    </a:cubicBezTo>
                    <a:cubicBezTo>
                      <a:pt x="50768" y="47815"/>
                      <a:pt x="49816" y="51149"/>
                      <a:pt x="47815" y="54007"/>
                    </a:cubicBezTo>
                    <a:cubicBezTo>
                      <a:pt x="45815" y="56864"/>
                      <a:pt x="43053" y="58960"/>
                      <a:pt x="39243" y="60484"/>
                    </a:cubicBezTo>
                    <a:cubicBezTo>
                      <a:pt x="35433" y="62008"/>
                      <a:pt x="31052" y="62770"/>
                      <a:pt x="25813" y="62770"/>
                    </a:cubicBezTo>
                    <a:cubicBezTo>
                      <a:pt x="20574" y="62770"/>
                      <a:pt x="16002" y="62103"/>
                      <a:pt x="11906" y="60674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73" name="Freeform: Shape 206">
                <a:extLst>
                  <a:ext uri="{FF2B5EF4-FFF2-40B4-BE49-F238E27FC236}">
                    <a16:creationId xmlns:a16="http://schemas.microsoft.com/office/drawing/2014/main" id="{3A5D59A4-4B46-2768-9900-ED4E9082B597}"/>
                  </a:ext>
                </a:extLst>
              </p:cNvPr>
              <p:cNvSpPr/>
              <p:nvPr/>
            </p:nvSpPr>
            <p:spPr>
              <a:xfrm>
                <a:off x="6163817" y="3343084"/>
                <a:ext cx="50768" cy="62769"/>
              </a:xfrm>
              <a:custGeom>
                <a:avLst/>
                <a:gdLst>
                  <a:gd name="connsiteX0" fmla="*/ 11716 w 50768"/>
                  <a:gd name="connsiteY0" fmla="*/ 60579 h 62769"/>
                  <a:gd name="connsiteX1" fmla="*/ 0 w 50768"/>
                  <a:gd name="connsiteY1" fmla="*/ 54007 h 62769"/>
                  <a:gd name="connsiteX2" fmla="*/ 7048 w 50768"/>
                  <a:gd name="connsiteY2" fmla="*/ 43243 h 62769"/>
                  <a:gd name="connsiteX3" fmla="*/ 16383 w 50768"/>
                  <a:gd name="connsiteY3" fmla="*/ 49054 h 62769"/>
                  <a:gd name="connsiteX4" fmla="*/ 25622 w 50768"/>
                  <a:gd name="connsiteY4" fmla="*/ 50959 h 62769"/>
                  <a:gd name="connsiteX5" fmla="*/ 33338 w 50768"/>
                  <a:gd name="connsiteY5" fmla="*/ 49721 h 62769"/>
                  <a:gd name="connsiteX6" fmla="*/ 36100 w 50768"/>
                  <a:gd name="connsiteY6" fmla="*/ 45244 h 62769"/>
                  <a:gd name="connsiteX7" fmla="*/ 34671 w 50768"/>
                  <a:gd name="connsiteY7" fmla="*/ 41529 h 62769"/>
                  <a:gd name="connsiteX8" fmla="*/ 30956 w 50768"/>
                  <a:gd name="connsiteY8" fmla="*/ 39338 h 62769"/>
                  <a:gd name="connsiteX9" fmla="*/ 24575 w 50768"/>
                  <a:gd name="connsiteY9" fmla="*/ 37624 h 62769"/>
                  <a:gd name="connsiteX10" fmla="*/ 21622 w 50768"/>
                  <a:gd name="connsiteY10" fmla="*/ 36862 h 62769"/>
                  <a:gd name="connsiteX11" fmla="*/ 11525 w 50768"/>
                  <a:gd name="connsiteY11" fmla="*/ 33338 h 62769"/>
                  <a:gd name="connsiteX12" fmla="*/ 4953 w 50768"/>
                  <a:gd name="connsiteY12" fmla="*/ 27813 h 62769"/>
                  <a:gd name="connsiteX13" fmla="*/ 2381 w 50768"/>
                  <a:gd name="connsiteY13" fmla="*/ 18288 h 62769"/>
                  <a:gd name="connsiteX14" fmla="*/ 5144 w 50768"/>
                  <a:gd name="connsiteY14" fmla="*/ 8477 h 62769"/>
                  <a:gd name="connsiteX15" fmla="*/ 13145 w 50768"/>
                  <a:gd name="connsiteY15" fmla="*/ 2191 h 62769"/>
                  <a:gd name="connsiteX16" fmla="*/ 25908 w 50768"/>
                  <a:gd name="connsiteY16" fmla="*/ 0 h 62769"/>
                  <a:gd name="connsiteX17" fmla="*/ 38957 w 50768"/>
                  <a:gd name="connsiteY17" fmla="*/ 2191 h 62769"/>
                  <a:gd name="connsiteX18" fmla="*/ 49054 w 50768"/>
                  <a:gd name="connsiteY18" fmla="*/ 8763 h 62769"/>
                  <a:gd name="connsiteX19" fmla="*/ 41053 w 50768"/>
                  <a:gd name="connsiteY19" fmla="*/ 18002 h 62769"/>
                  <a:gd name="connsiteX20" fmla="*/ 26098 w 50768"/>
                  <a:gd name="connsiteY20" fmla="*/ 11716 h 62769"/>
                  <a:gd name="connsiteX21" fmla="*/ 16859 w 50768"/>
                  <a:gd name="connsiteY21" fmla="*/ 17050 h 62769"/>
                  <a:gd name="connsiteX22" fmla="*/ 18097 w 50768"/>
                  <a:gd name="connsiteY22" fmla="*/ 20288 h 62769"/>
                  <a:gd name="connsiteX23" fmla="*/ 21241 w 50768"/>
                  <a:gd name="connsiteY23" fmla="*/ 22193 h 62769"/>
                  <a:gd name="connsiteX24" fmla="*/ 26861 w 50768"/>
                  <a:gd name="connsiteY24" fmla="*/ 23717 h 62769"/>
                  <a:gd name="connsiteX25" fmla="*/ 29718 w 50768"/>
                  <a:gd name="connsiteY25" fmla="*/ 24384 h 62769"/>
                  <a:gd name="connsiteX26" fmla="*/ 40767 w 50768"/>
                  <a:gd name="connsiteY26" fmla="*/ 28004 h 62769"/>
                  <a:gd name="connsiteX27" fmla="*/ 47911 w 50768"/>
                  <a:gd name="connsiteY27" fmla="*/ 33814 h 62769"/>
                  <a:gd name="connsiteX28" fmla="*/ 50768 w 50768"/>
                  <a:gd name="connsiteY28" fmla="*/ 44005 h 62769"/>
                  <a:gd name="connsiteX29" fmla="*/ 47816 w 50768"/>
                  <a:gd name="connsiteY29" fmla="*/ 54007 h 62769"/>
                  <a:gd name="connsiteX30" fmla="*/ 39243 w 50768"/>
                  <a:gd name="connsiteY30" fmla="*/ 60484 h 62769"/>
                  <a:gd name="connsiteX31" fmla="*/ 25813 w 50768"/>
                  <a:gd name="connsiteY31" fmla="*/ 62770 h 62769"/>
                  <a:gd name="connsiteX32" fmla="*/ 11906 w 50768"/>
                  <a:gd name="connsiteY32" fmla="*/ 60674 h 627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50768" h="62769">
                    <a:moveTo>
                      <a:pt x="11716" y="60579"/>
                    </a:moveTo>
                    <a:cubicBezTo>
                      <a:pt x="7620" y="59246"/>
                      <a:pt x="3715" y="56959"/>
                      <a:pt x="0" y="54007"/>
                    </a:cubicBezTo>
                    <a:lnTo>
                      <a:pt x="7048" y="43243"/>
                    </a:lnTo>
                    <a:cubicBezTo>
                      <a:pt x="10382" y="45815"/>
                      <a:pt x="13526" y="47720"/>
                      <a:pt x="16383" y="49054"/>
                    </a:cubicBezTo>
                    <a:cubicBezTo>
                      <a:pt x="19241" y="50387"/>
                      <a:pt x="22288" y="50959"/>
                      <a:pt x="25622" y="50959"/>
                    </a:cubicBezTo>
                    <a:cubicBezTo>
                      <a:pt x="28956" y="50959"/>
                      <a:pt x="31528" y="50578"/>
                      <a:pt x="33338" y="49721"/>
                    </a:cubicBezTo>
                    <a:cubicBezTo>
                      <a:pt x="35147" y="48863"/>
                      <a:pt x="36100" y="47339"/>
                      <a:pt x="36100" y="45244"/>
                    </a:cubicBezTo>
                    <a:cubicBezTo>
                      <a:pt x="36100" y="43720"/>
                      <a:pt x="35623" y="42481"/>
                      <a:pt x="34671" y="41529"/>
                    </a:cubicBezTo>
                    <a:cubicBezTo>
                      <a:pt x="33719" y="40576"/>
                      <a:pt x="32480" y="39910"/>
                      <a:pt x="30956" y="39338"/>
                    </a:cubicBezTo>
                    <a:cubicBezTo>
                      <a:pt x="29432" y="38767"/>
                      <a:pt x="27337" y="38290"/>
                      <a:pt x="24575" y="37624"/>
                    </a:cubicBezTo>
                    <a:lnTo>
                      <a:pt x="21622" y="36862"/>
                    </a:lnTo>
                    <a:cubicBezTo>
                      <a:pt x="17526" y="35814"/>
                      <a:pt x="14192" y="34671"/>
                      <a:pt x="11525" y="33338"/>
                    </a:cubicBezTo>
                    <a:cubicBezTo>
                      <a:pt x="8858" y="32004"/>
                      <a:pt x="6668" y="30194"/>
                      <a:pt x="4953" y="27813"/>
                    </a:cubicBezTo>
                    <a:cubicBezTo>
                      <a:pt x="3238" y="25432"/>
                      <a:pt x="2381" y="22193"/>
                      <a:pt x="2381" y="18288"/>
                    </a:cubicBezTo>
                    <a:cubicBezTo>
                      <a:pt x="2381" y="14383"/>
                      <a:pt x="3334" y="11239"/>
                      <a:pt x="5144" y="8477"/>
                    </a:cubicBezTo>
                    <a:cubicBezTo>
                      <a:pt x="6953" y="5715"/>
                      <a:pt x="9620" y="3619"/>
                      <a:pt x="13145" y="2191"/>
                    </a:cubicBezTo>
                    <a:cubicBezTo>
                      <a:pt x="16669" y="762"/>
                      <a:pt x="20955" y="0"/>
                      <a:pt x="25908" y="0"/>
                    </a:cubicBezTo>
                    <a:cubicBezTo>
                      <a:pt x="30861" y="0"/>
                      <a:pt x="35052" y="762"/>
                      <a:pt x="38957" y="2191"/>
                    </a:cubicBezTo>
                    <a:cubicBezTo>
                      <a:pt x="42863" y="3619"/>
                      <a:pt x="46196" y="5810"/>
                      <a:pt x="49054" y="8763"/>
                    </a:cubicBezTo>
                    <a:lnTo>
                      <a:pt x="41053" y="18002"/>
                    </a:lnTo>
                    <a:cubicBezTo>
                      <a:pt x="36767" y="13811"/>
                      <a:pt x="31813" y="11716"/>
                      <a:pt x="26098" y="11716"/>
                    </a:cubicBezTo>
                    <a:cubicBezTo>
                      <a:pt x="19907" y="11716"/>
                      <a:pt x="16859" y="13525"/>
                      <a:pt x="16859" y="17050"/>
                    </a:cubicBezTo>
                    <a:cubicBezTo>
                      <a:pt x="16859" y="18383"/>
                      <a:pt x="17240" y="19526"/>
                      <a:pt x="18097" y="20288"/>
                    </a:cubicBezTo>
                    <a:cubicBezTo>
                      <a:pt x="18955" y="21050"/>
                      <a:pt x="19907" y="21717"/>
                      <a:pt x="21241" y="22193"/>
                    </a:cubicBezTo>
                    <a:cubicBezTo>
                      <a:pt x="22574" y="22669"/>
                      <a:pt x="24384" y="23146"/>
                      <a:pt x="26861" y="23717"/>
                    </a:cubicBezTo>
                    <a:lnTo>
                      <a:pt x="29718" y="24384"/>
                    </a:lnTo>
                    <a:cubicBezTo>
                      <a:pt x="34195" y="25527"/>
                      <a:pt x="37814" y="26670"/>
                      <a:pt x="40767" y="28004"/>
                    </a:cubicBezTo>
                    <a:cubicBezTo>
                      <a:pt x="43720" y="29337"/>
                      <a:pt x="46006" y="31242"/>
                      <a:pt x="47911" y="33814"/>
                    </a:cubicBezTo>
                    <a:cubicBezTo>
                      <a:pt x="49816" y="36385"/>
                      <a:pt x="50768" y="39814"/>
                      <a:pt x="50768" y="44005"/>
                    </a:cubicBezTo>
                    <a:cubicBezTo>
                      <a:pt x="50768" y="47815"/>
                      <a:pt x="49816" y="51149"/>
                      <a:pt x="47816" y="54007"/>
                    </a:cubicBezTo>
                    <a:cubicBezTo>
                      <a:pt x="45815" y="56864"/>
                      <a:pt x="43053" y="58960"/>
                      <a:pt x="39243" y="60484"/>
                    </a:cubicBezTo>
                    <a:cubicBezTo>
                      <a:pt x="35433" y="62008"/>
                      <a:pt x="31052" y="62770"/>
                      <a:pt x="25813" y="62770"/>
                    </a:cubicBezTo>
                    <a:cubicBezTo>
                      <a:pt x="20574" y="62770"/>
                      <a:pt x="16002" y="62103"/>
                      <a:pt x="11906" y="60674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74" name="Freeform: Shape 207">
                <a:extLst>
                  <a:ext uri="{FF2B5EF4-FFF2-40B4-BE49-F238E27FC236}">
                    <a16:creationId xmlns:a16="http://schemas.microsoft.com/office/drawing/2014/main" id="{6D48F4D4-42BE-DF43-B952-585C4DEE3487}"/>
                  </a:ext>
                </a:extLst>
              </p:cNvPr>
              <p:cNvSpPr/>
              <p:nvPr/>
            </p:nvSpPr>
            <p:spPr>
              <a:xfrm>
                <a:off x="6257258" y="3343084"/>
                <a:ext cx="55149" cy="61721"/>
              </a:xfrm>
              <a:custGeom>
                <a:avLst/>
                <a:gdLst>
                  <a:gd name="connsiteX0" fmla="*/ 381 w 55149"/>
                  <a:gd name="connsiteY0" fmla="*/ 14668 h 61721"/>
                  <a:gd name="connsiteX1" fmla="*/ 286 w 55149"/>
                  <a:gd name="connsiteY1" fmla="*/ 6763 h 61721"/>
                  <a:gd name="connsiteX2" fmla="*/ 0 w 55149"/>
                  <a:gd name="connsiteY2" fmla="*/ 1238 h 61721"/>
                  <a:gd name="connsiteX3" fmla="*/ 14954 w 55149"/>
                  <a:gd name="connsiteY3" fmla="*/ 1238 h 61721"/>
                  <a:gd name="connsiteX4" fmla="*/ 15430 w 55149"/>
                  <a:gd name="connsiteY4" fmla="*/ 6191 h 61721"/>
                  <a:gd name="connsiteX5" fmla="*/ 15716 w 55149"/>
                  <a:gd name="connsiteY5" fmla="*/ 12097 h 61721"/>
                  <a:gd name="connsiteX6" fmla="*/ 15907 w 55149"/>
                  <a:gd name="connsiteY6" fmla="*/ 12097 h 61721"/>
                  <a:gd name="connsiteX7" fmla="*/ 23908 w 55149"/>
                  <a:gd name="connsiteY7" fmla="*/ 2953 h 61721"/>
                  <a:gd name="connsiteX8" fmla="*/ 35338 w 55149"/>
                  <a:gd name="connsiteY8" fmla="*/ 0 h 61721"/>
                  <a:gd name="connsiteX9" fmla="*/ 50387 w 55149"/>
                  <a:gd name="connsiteY9" fmla="*/ 6382 h 61721"/>
                  <a:gd name="connsiteX10" fmla="*/ 55150 w 55149"/>
                  <a:gd name="connsiteY10" fmla="*/ 23336 h 61721"/>
                  <a:gd name="connsiteX11" fmla="*/ 55150 w 55149"/>
                  <a:gd name="connsiteY11" fmla="*/ 61627 h 61721"/>
                  <a:gd name="connsiteX12" fmla="*/ 39529 w 55149"/>
                  <a:gd name="connsiteY12" fmla="*/ 61627 h 61721"/>
                  <a:gd name="connsiteX13" fmla="*/ 39529 w 55149"/>
                  <a:gd name="connsiteY13" fmla="*/ 27813 h 61721"/>
                  <a:gd name="connsiteX14" fmla="*/ 37243 w 55149"/>
                  <a:gd name="connsiteY14" fmla="*/ 17240 h 61721"/>
                  <a:gd name="connsiteX15" fmla="*/ 29337 w 55149"/>
                  <a:gd name="connsiteY15" fmla="*/ 13525 h 61721"/>
                  <a:gd name="connsiteX16" fmla="*/ 22574 w 55149"/>
                  <a:gd name="connsiteY16" fmla="*/ 15526 h 61721"/>
                  <a:gd name="connsiteX17" fmla="*/ 17812 w 55149"/>
                  <a:gd name="connsiteY17" fmla="*/ 21146 h 61721"/>
                  <a:gd name="connsiteX18" fmla="*/ 16097 w 55149"/>
                  <a:gd name="connsiteY18" fmla="*/ 29337 h 61721"/>
                  <a:gd name="connsiteX19" fmla="*/ 16097 w 55149"/>
                  <a:gd name="connsiteY19" fmla="*/ 61722 h 61721"/>
                  <a:gd name="connsiteX20" fmla="*/ 381 w 55149"/>
                  <a:gd name="connsiteY20" fmla="*/ 61722 h 61721"/>
                  <a:gd name="connsiteX21" fmla="*/ 381 w 55149"/>
                  <a:gd name="connsiteY21" fmla="*/ 14859 h 617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55149" h="61721">
                    <a:moveTo>
                      <a:pt x="381" y="14668"/>
                    </a:moveTo>
                    <a:cubicBezTo>
                      <a:pt x="381" y="12097"/>
                      <a:pt x="381" y="9430"/>
                      <a:pt x="286" y="6763"/>
                    </a:cubicBezTo>
                    <a:cubicBezTo>
                      <a:pt x="191" y="4096"/>
                      <a:pt x="95" y="2191"/>
                      <a:pt x="0" y="1238"/>
                    </a:cubicBezTo>
                    <a:lnTo>
                      <a:pt x="14954" y="1238"/>
                    </a:lnTo>
                    <a:cubicBezTo>
                      <a:pt x="15145" y="2096"/>
                      <a:pt x="15240" y="3715"/>
                      <a:pt x="15430" y="6191"/>
                    </a:cubicBezTo>
                    <a:cubicBezTo>
                      <a:pt x="15621" y="8668"/>
                      <a:pt x="15716" y="10668"/>
                      <a:pt x="15716" y="12097"/>
                    </a:cubicBezTo>
                    <a:lnTo>
                      <a:pt x="15907" y="12097"/>
                    </a:lnTo>
                    <a:cubicBezTo>
                      <a:pt x="18002" y="8001"/>
                      <a:pt x="20669" y="4953"/>
                      <a:pt x="23908" y="2953"/>
                    </a:cubicBezTo>
                    <a:cubicBezTo>
                      <a:pt x="27146" y="952"/>
                      <a:pt x="30956" y="0"/>
                      <a:pt x="35338" y="0"/>
                    </a:cubicBezTo>
                    <a:cubicBezTo>
                      <a:pt x="42196" y="0"/>
                      <a:pt x="47244" y="2096"/>
                      <a:pt x="50387" y="6382"/>
                    </a:cubicBezTo>
                    <a:cubicBezTo>
                      <a:pt x="53530" y="10668"/>
                      <a:pt x="55150" y="16288"/>
                      <a:pt x="55150" y="23336"/>
                    </a:cubicBezTo>
                    <a:lnTo>
                      <a:pt x="55150" y="61627"/>
                    </a:lnTo>
                    <a:lnTo>
                      <a:pt x="39529" y="61627"/>
                    </a:lnTo>
                    <a:lnTo>
                      <a:pt x="39529" y="27813"/>
                    </a:lnTo>
                    <a:cubicBezTo>
                      <a:pt x="39529" y="23241"/>
                      <a:pt x="38767" y="19717"/>
                      <a:pt x="37243" y="17240"/>
                    </a:cubicBezTo>
                    <a:cubicBezTo>
                      <a:pt x="35719" y="14764"/>
                      <a:pt x="33052" y="13525"/>
                      <a:pt x="29337" y="13525"/>
                    </a:cubicBezTo>
                    <a:cubicBezTo>
                      <a:pt x="26765" y="13525"/>
                      <a:pt x="24575" y="14192"/>
                      <a:pt x="22574" y="15526"/>
                    </a:cubicBezTo>
                    <a:cubicBezTo>
                      <a:pt x="20574" y="16859"/>
                      <a:pt x="18955" y="18669"/>
                      <a:pt x="17812" y="21146"/>
                    </a:cubicBezTo>
                    <a:cubicBezTo>
                      <a:pt x="16669" y="23622"/>
                      <a:pt x="16097" y="26289"/>
                      <a:pt x="16097" y="29337"/>
                    </a:cubicBezTo>
                    <a:lnTo>
                      <a:pt x="16097" y="61722"/>
                    </a:lnTo>
                    <a:lnTo>
                      <a:pt x="381" y="61722"/>
                    </a:lnTo>
                    <a:lnTo>
                      <a:pt x="381" y="14859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75" name="Freeform: Shape 208">
                <a:extLst>
                  <a:ext uri="{FF2B5EF4-FFF2-40B4-BE49-F238E27FC236}">
                    <a16:creationId xmlns:a16="http://schemas.microsoft.com/office/drawing/2014/main" id="{85BB3771-3A80-65B5-5741-841C376F3BCA}"/>
                  </a:ext>
                </a:extLst>
              </p:cNvPr>
              <p:cNvSpPr/>
              <p:nvPr/>
            </p:nvSpPr>
            <p:spPr>
              <a:xfrm>
                <a:off x="6324028" y="3343084"/>
                <a:ext cx="55244" cy="62769"/>
              </a:xfrm>
              <a:custGeom>
                <a:avLst/>
                <a:gdLst>
                  <a:gd name="connsiteX0" fmla="*/ 7715 w 55244"/>
                  <a:gd name="connsiteY0" fmla="*/ 54769 h 62769"/>
                  <a:gd name="connsiteX1" fmla="*/ 0 w 55244"/>
                  <a:gd name="connsiteY1" fmla="*/ 31242 h 62769"/>
                  <a:gd name="connsiteX2" fmla="*/ 3810 w 55244"/>
                  <a:gd name="connsiteY2" fmla="*/ 13716 h 62769"/>
                  <a:gd name="connsiteX3" fmla="*/ 14097 w 55244"/>
                  <a:gd name="connsiteY3" fmla="*/ 3334 h 62769"/>
                  <a:gd name="connsiteX4" fmla="*/ 28480 w 55244"/>
                  <a:gd name="connsiteY4" fmla="*/ 0 h 62769"/>
                  <a:gd name="connsiteX5" fmla="*/ 43720 w 55244"/>
                  <a:gd name="connsiteY5" fmla="*/ 4000 h 62769"/>
                  <a:gd name="connsiteX6" fmla="*/ 52483 w 55244"/>
                  <a:gd name="connsiteY6" fmla="*/ 14478 h 62769"/>
                  <a:gd name="connsiteX7" fmla="*/ 55245 w 55244"/>
                  <a:gd name="connsiteY7" fmla="*/ 29146 h 62769"/>
                  <a:gd name="connsiteX8" fmla="*/ 54864 w 55244"/>
                  <a:gd name="connsiteY8" fmla="*/ 35433 h 62769"/>
                  <a:gd name="connsiteX9" fmla="*/ 16478 w 55244"/>
                  <a:gd name="connsiteY9" fmla="*/ 35433 h 62769"/>
                  <a:gd name="connsiteX10" fmla="*/ 19812 w 55244"/>
                  <a:gd name="connsiteY10" fmla="*/ 46577 h 62769"/>
                  <a:gd name="connsiteX11" fmla="*/ 30194 w 55244"/>
                  <a:gd name="connsiteY11" fmla="*/ 50673 h 62769"/>
                  <a:gd name="connsiteX12" fmla="*/ 35909 w 55244"/>
                  <a:gd name="connsiteY12" fmla="*/ 50006 h 62769"/>
                  <a:gd name="connsiteX13" fmla="*/ 40957 w 55244"/>
                  <a:gd name="connsiteY13" fmla="*/ 48006 h 62769"/>
                  <a:gd name="connsiteX14" fmla="*/ 46958 w 55244"/>
                  <a:gd name="connsiteY14" fmla="*/ 44196 h 62769"/>
                  <a:gd name="connsiteX15" fmla="*/ 53340 w 55244"/>
                  <a:gd name="connsiteY15" fmla="*/ 54388 h 62769"/>
                  <a:gd name="connsiteX16" fmla="*/ 42672 w 55244"/>
                  <a:gd name="connsiteY16" fmla="*/ 60579 h 62769"/>
                  <a:gd name="connsiteX17" fmla="*/ 29432 w 55244"/>
                  <a:gd name="connsiteY17" fmla="*/ 62770 h 62769"/>
                  <a:gd name="connsiteX18" fmla="*/ 7811 w 55244"/>
                  <a:gd name="connsiteY18" fmla="*/ 54864 h 62769"/>
                  <a:gd name="connsiteX19" fmla="*/ 40005 w 55244"/>
                  <a:gd name="connsiteY19" fmla="*/ 24765 h 62769"/>
                  <a:gd name="connsiteX20" fmla="*/ 36862 w 55244"/>
                  <a:gd name="connsiteY20" fmla="*/ 14764 h 62769"/>
                  <a:gd name="connsiteX21" fmla="*/ 28385 w 55244"/>
                  <a:gd name="connsiteY21" fmla="*/ 11525 h 62769"/>
                  <a:gd name="connsiteX22" fmla="*/ 20003 w 55244"/>
                  <a:gd name="connsiteY22" fmla="*/ 14764 h 62769"/>
                  <a:gd name="connsiteX23" fmla="*/ 16669 w 55244"/>
                  <a:gd name="connsiteY23" fmla="*/ 24765 h 62769"/>
                  <a:gd name="connsiteX24" fmla="*/ 40100 w 55244"/>
                  <a:gd name="connsiteY24" fmla="*/ 24765 h 627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55244" h="62769">
                    <a:moveTo>
                      <a:pt x="7715" y="54769"/>
                    </a:moveTo>
                    <a:cubicBezTo>
                      <a:pt x="2572" y="49530"/>
                      <a:pt x="0" y="41624"/>
                      <a:pt x="0" y="31242"/>
                    </a:cubicBezTo>
                    <a:cubicBezTo>
                      <a:pt x="0" y="24289"/>
                      <a:pt x="1238" y="18383"/>
                      <a:pt x="3810" y="13716"/>
                    </a:cubicBezTo>
                    <a:cubicBezTo>
                      <a:pt x="6382" y="9049"/>
                      <a:pt x="9811" y="5620"/>
                      <a:pt x="14097" y="3334"/>
                    </a:cubicBezTo>
                    <a:cubicBezTo>
                      <a:pt x="18383" y="1048"/>
                      <a:pt x="23146" y="0"/>
                      <a:pt x="28480" y="0"/>
                    </a:cubicBezTo>
                    <a:cubicBezTo>
                      <a:pt x="34576" y="0"/>
                      <a:pt x="39719" y="1333"/>
                      <a:pt x="43720" y="4000"/>
                    </a:cubicBezTo>
                    <a:cubicBezTo>
                      <a:pt x="47720" y="6667"/>
                      <a:pt x="50673" y="10192"/>
                      <a:pt x="52483" y="14478"/>
                    </a:cubicBezTo>
                    <a:cubicBezTo>
                      <a:pt x="54293" y="18764"/>
                      <a:pt x="55245" y="23717"/>
                      <a:pt x="55245" y="29146"/>
                    </a:cubicBezTo>
                    <a:cubicBezTo>
                      <a:pt x="55245" y="31242"/>
                      <a:pt x="55150" y="33338"/>
                      <a:pt x="54864" y="35433"/>
                    </a:cubicBezTo>
                    <a:lnTo>
                      <a:pt x="16478" y="35433"/>
                    </a:lnTo>
                    <a:cubicBezTo>
                      <a:pt x="16478" y="40100"/>
                      <a:pt x="17621" y="43815"/>
                      <a:pt x="19812" y="46577"/>
                    </a:cubicBezTo>
                    <a:cubicBezTo>
                      <a:pt x="22003" y="49339"/>
                      <a:pt x="25527" y="50673"/>
                      <a:pt x="30194" y="50673"/>
                    </a:cubicBezTo>
                    <a:cubicBezTo>
                      <a:pt x="32290" y="50673"/>
                      <a:pt x="34195" y="50482"/>
                      <a:pt x="35909" y="50006"/>
                    </a:cubicBezTo>
                    <a:cubicBezTo>
                      <a:pt x="37624" y="49530"/>
                      <a:pt x="39338" y="48863"/>
                      <a:pt x="40957" y="48006"/>
                    </a:cubicBezTo>
                    <a:cubicBezTo>
                      <a:pt x="42577" y="47149"/>
                      <a:pt x="44577" y="45815"/>
                      <a:pt x="46958" y="44196"/>
                    </a:cubicBezTo>
                    <a:lnTo>
                      <a:pt x="53340" y="54388"/>
                    </a:lnTo>
                    <a:cubicBezTo>
                      <a:pt x="49816" y="57055"/>
                      <a:pt x="46196" y="59150"/>
                      <a:pt x="42672" y="60579"/>
                    </a:cubicBezTo>
                    <a:cubicBezTo>
                      <a:pt x="39148" y="62008"/>
                      <a:pt x="34671" y="62770"/>
                      <a:pt x="29432" y="62770"/>
                    </a:cubicBezTo>
                    <a:cubicBezTo>
                      <a:pt x="20193" y="62770"/>
                      <a:pt x="12954" y="60103"/>
                      <a:pt x="7811" y="54864"/>
                    </a:cubicBezTo>
                    <a:close/>
                    <a:moveTo>
                      <a:pt x="40005" y="24765"/>
                    </a:moveTo>
                    <a:cubicBezTo>
                      <a:pt x="39814" y="20193"/>
                      <a:pt x="38767" y="16859"/>
                      <a:pt x="36862" y="14764"/>
                    </a:cubicBezTo>
                    <a:cubicBezTo>
                      <a:pt x="34957" y="12668"/>
                      <a:pt x="32099" y="11525"/>
                      <a:pt x="28385" y="11525"/>
                    </a:cubicBezTo>
                    <a:cubicBezTo>
                      <a:pt x="24670" y="11525"/>
                      <a:pt x="22098" y="12573"/>
                      <a:pt x="20003" y="14764"/>
                    </a:cubicBezTo>
                    <a:cubicBezTo>
                      <a:pt x="17907" y="16954"/>
                      <a:pt x="16764" y="20288"/>
                      <a:pt x="16669" y="24765"/>
                    </a:cubicBezTo>
                    <a:lnTo>
                      <a:pt x="40100" y="24765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76" name="Freeform: Shape 209">
                <a:extLst>
                  <a:ext uri="{FF2B5EF4-FFF2-40B4-BE49-F238E27FC236}">
                    <a16:creationId xmlns:a16="http://schemas.microsoft.com/office/drawing/2014/main" id="{DAA02046-8ED0-5EF4-D198-5BF47E994A2B}"/>
                  </a:ext>
                </a:extLst>
              </p:cNvPr>
              <p:cNvSpPr/>
              <p:nvPr/>
            </p:nvSpPr>
            <p:spPr>
              <a:xfrm>
                <a:off x="6384512" y="3329558"/>
                <a:ext cx="35813" cy="76104"/>
              </a:xfrm>
              <a:custGeom>
                <a:avLst/>
                <a:gdLst>
                  <a:gd name="connsiteX0" fmla="*/ 11621 w 35813"/>
                  <a:gd name="connsiteY0" fmla="*/ 71914 h 76104"/>
                  <a:gd name="connsiteX1" fmla="*/ 7620 w 35813"/>
                  <a:gd name="connsiteY1" fmla="*/ 59722 h 76104"/>
                  <a:gd name="connsiteX2" fmla="*/ 7620 w 35813"/>
                  <a:gd name="connsiteY2" fmla="*/ 26384 h 76104"/>
                  <a:gd name="connsiteX3" fmla="*/ 0 w 35813"/>
                  <a:gd name="connsiteY3" fmla="*/ 26384 h 76104"/>
                  <a:gd name="connsiteX4" fmla="*/ 0 w 35813"/>
                  <a:gd name="connsiteY4" fmla="*/ 14764 h 76104"/>
                  <a:gd name="connsiteX5" fmla="*/ 8382 w 35813"/>
                  <a:gd name="connsiteY5" fmla="*/ 14764 h 76104"/>
                  <a:gd name="connsiteX6" fmla="*/ 9144 w 35813"/>
                  <a:gd name="connsiteY6" fmla="*/ 1143 h 76104"/>
                  <a:gd name="connsiteX7" fmla="*/ 23051 w 35813"/>
                  <a:gd name="connsiteY7" fmla="*/ 0 h 76104"/>
                  <a:gd name="connsiteX8" fmla="*/ 23051 w 35813"/>
                  <a:gd name="connsiteY8" fmla="*/ 14764 h 76104"/>
                  <a:gd name="connsiteX9" fmla="*/ 35052 w 35813"/>
                  <a:gd name="connsiteY9" fmla="*/ 14764 h 76104"/>
                  <a:gd name="connsiteX10" fmla="*/ 35052 w 35813"/>
                  <a:gd name="connsiteY10" fmla="*/ 26384 h 76104"/>
                  <a:gd name="connsiteX11" fmla="*/ 23051 w 35813"/>
                  <a:gd name="connsiteY11" fmla="*/ 26384 h 76104"/>
                  <a:gd name="connsiteX12" fmla="*/ 23051 w 35813"/>
                  <a:gd name="connsiteY12" fmla="*/ 55531 h 76104"/>
                  <a:gd name="connsiteX13" fmla="*/ 24479 w 35813"/>
                  <a:gd name="connsiteY13" fmla="*/ 61246 h 76104"/>
                  <a:gd name="connsiteX14" fmla="*/ 28956 w 35813"/>
                  <a:gd name="connsiteY14" fmla="*/ 63055 h 76104"/>
                  <a:gd name="connsiteX15" fmla="*/ 34671 w 35813"/>
                  <a:gd name="connsiteY15" fmla="*/ 62389 h 76104"/>
                  <a:gd name="connsiteX16" fmla="*/ 35814 w 35813"/>
                  <a:gd name="connsiteY16" fmla="*/ 74295 h 76104"/>
                  <a:gd name="connsiteX17" fmla="*/ 23051 w 35813"/>
                  <a:gd name="connsiteY17" fmla="*/ 76105 h 76104"/>
                  <a:gd name="connsiteX18" fmla="*/ 11525 w 35813"/>
                  <a:gd name="connsiteY18" fmla="*/ 72009 h 761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813" h="76104">
                    <a:moveTo>
                      <a:pt x="11621" y="71914"/>
                    </a:moveTo>
                    <a:cubicBezTo>
                      <a:pt x="8954" y="69152"/>
                      <a:pt x="7620" y="65151"/>
                      <a:pt x="7620" y="59722"/>
                    </a:cubicBezTo>
                    <a:lnTo>
                      <a:pt x="7620" y="26384"/>
                    </a:lnTo>
                    <a:lnTo>
                      <a:pt x="0" y="26384"/>
                    </a:lnTo>
                    <a:lnTo>
                      <a:pt x="0" y="14764"/>
                    </a:lnTo>
                    <a:lnTo>
                      <a:pt x="8382" y="14764"/>
                    </a:lnTo>
                    <a:lnTo>
                      <a:pt x="9144" y="1143"/>
                    </a:lnTo>
                    <a:lnTo>
                      <a:pt x="23051" y="0"/>
                    </a:lnTo>
                    <a:lnTo>
                      <a:pt x="23051" y="14764"/>
                    </a:lnTo>
                    <a:lnTo>
                      <a:pt x="35052" y="14764"/>
                    </a:lnTo>
                    <a:lnTo>
                      <a:pt x="35052" y="26384"/>
                    </a:lnTo>
                    <a:lnTo>
                      <a:pt x="23051" y="26384"/>
                    </a:lnTo>
                    <a:lnTo>
                      <a:pt x="23051" y="55531"/>
                    </a:lnTo>
                    <a:cubicBezTo>
                      <a:pt x="23051" y="58103"/>
                      <a:pt x="23527" y="60007"/>
                      <a:pt x="24479" y="61246"/>
                    </a:cubicBezTo>
                    <a:cubicBezTo>
                      <a:pt x="25432" y="62484"/>
                      <a:pt x="26860" y="63055"/>
                      <a:pt x="28956" y="63055"/>
                    </a:cubicBezTo>
                    <a:cubicBezTo>
                      <a:pt x="30575" y="63055"/>
                      <a:pt x="32480" y="62865"/>
                      <a:pt x="34671" y="62389"/>
                    </a:cubicBezTo>
                    <a:lnTo>
                      <a:pt x="35814" y="74295"/>
                    </a:lnTo>
                    <a:cubicBezTo>
                      <a:pt x="31527" y="75438"/>
                      <a:pt x="27336" y="76105"/>
                      <a:pt x="23051" y="76105"/>
                    </a:cubicBezTo>
                    <a:cubicBezTo>
                      <a:pt x="18002" y="76105"/>
                      <a:pt x="14192" y="74771"/>
                      <a:pt x="11525" y="72009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77" name="Freeform: Shape 210">
                <a:extLst>
                  <a:ext uri="{FF2B5EF4-FFF2-40B4-BE49-F238E27FC236}">
                    <a16:creationId xmlns:a16="http://schemas.microsoft.com/office/drawing/2014/main" id="{73B51761-3A48-3A42-6B23-4D45DF6FF770}"/>
                  </a:ext>
                </a:extLst>
              </p:cNvPr>
              <p:cNvSpPr/>
              <p:nvPr/>
            </p:nvSpPr>
            <p:spPr>
              <a:xfrm>
                <a:off x="6421278" y="3344227"/>
                <a:ext cx="89534" cy="60388"/>
              </a:xfrm>
              <a:custGeom>
                <a:avLst/>
                <a:gdLst>
                  <a:gd name="connsiteX0" fmla="*/ 95 w 89534"/>
                  <a:gd name="connsiteY0" fmla="*/ 0 h 60388"/>
                  <a:gd name="connsiteX1" fmla="*/ 15049 w 89534"/>
                  <a:gd name="connsiteY1" fmla="*/ 0 h 60388"/>
                  <a:gd name="connsiteX2" fmla="*/ 22670 w 89534"/>
                  <a:gd name="connsiteY2" fmla="*/ 35433 h 60388"/>
                  <a:gd name="connsiteX3" fmla="*/ 23907 w 89534"/>
                  <a:gd name="connsiteY3" fmla="*/ 41910 h 60388"/>
                  <a:gd name="connsiteX4" fmla="*/ 24669 w 89534"/>
                  <a:gd name="connsiteY4" fmla="*/ 46101 h 60388"/>
                  <a:gd name="connsiteX5" fmla="*/ 25527 w 89534"/>
                  <a:gd name="connsiteY5" fmla="*/ 41243 h 60388"/>
                  <a:gd name="connsiteX6" fmla="*/ 26765 w 89534"/>
                  <a:gd name="connsiteY6" fmla="*/ 35528 h 60388"/>
                  <a:gd name="connsiteX7" fmla="*/ 36290 w 89534"/>
                  <a:gd name="connsiteY7" fmla="*/ 95 h 60388"/>
                  <a:gd name="connsiteX8" fmla="*/ 53340 w 89534"/>
                  <a:gd name="connsiteY8" fmla="*/ 95 h 60388"/>
                  <a:gd name="connsiteX9" fmla="*/ 62579 w 89534"/>
                  <a:gd name="connsiteY9" fmla="*/ 35528 h 60388"/>
                  <a:gd name="connsiteX10" fmla="*/ 64008 w 89534"/>
                  <a:gd name="connsiteY10" fmla="*/ 42291 h 60388"/>
                  <a:gd name="connsiteX11" fmla="*/ 64770 w 89534"/>
                  <a:gd name="connsiteY11" fmla="*/ 46196 h 60388"/>
                  <a:gd name="connsiteX12" fmla="*/ 65532 w 89534"/>
                  <a:gd name="connsiteY12" fmla="*/ 41815 h 60388"/>
                  <a:gd name="connsiteX13" fmla="*/ 66770 w 89534"/>
                  <a:gd name="connsiteY13" fmla="*/ 35528 h 60388"/>
                  <a:gd name="connsiteX14" fmla="*/ 74771 w 89534"/>
                  <a:gd name="connsiteY14" fmla="*/ 95 h 60388"/>
                  <a:gd name="connsiteX15" fmla="*/ 89535 w 89534"/>
                  <a:gd name="connsiteY15" fmla="*/ 95 h 60388"/>
                  <a:gd name="connsiteX16" fmla="*/ 74009 w 89534"/>
                  <a:gd name="connsiteY16" fmla="*/ 60388 h 60388"/>
                  <a:gd name="connsiteX17" fmla="*/ 56769 w 89534"/>
                  <a:gd name="connsiteY17" fmla="*/ 60388 h 60388"/>
                  <a:gd name="connsiteX18" fmla="*/ 47530 w 89534"/>
                  <a:gd name="connsiteY18" fmla="*/ 23622 h 60388"/>
                  <a:gd name="connsiteX19" fmla="*/ 46005 w 89534"/>
                  <a:gd name="connsiteY19" fmla="*/ 16859 h 60388"/>
                  <a:gd name="connsiteX20" fmla="*/ 44958 w 89534"/>
                  <a:gd name="connsiteY20" fmla="*/ 11239 h 60388"/>
                  <a:gd name="connsiteX21" fmla="*/ 43719 w 89534"/>
                  <a:gd name="connsiteY21" fmla="*/ 16764 h 60388"/>
                  <a:gd name="connsiteX22" fmla="*/ 42005 w 89534"/>
                  <a:gd name="connsiteY22" fmla="*/ 23717 h 60388"/>
                  <a:gd name="connsiteX23" fmla="*/ 32671 w 89534"/>
                  <a:gd name="connsiteY23" fmla="*/ 60388 h 60388"/>
                  <a:gd name="connsiteX24" fmla="*/ 15335 w 89534"/>
                  <a:gd name="connsiteY24" fmla="*/ 60388 h 60388"/>
                  <a:gd name="connsiteX25" fmla="*/ 0 w 89534"/>
                  <a:gd name="connsiteY25" fmla="*/ 95 h 603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89534" h="60388">
                    <a:moveTo>
                      <a:pt x="95" y="0"/>
                    </a:moveTo>
                    <a:lnTo>
                      <a:pt x="15049" y="0"/>
                    </a:lnTo>
                    <a:lnTo>
                      <a:pt x="22670" y="35433"/>
                    </a:lnTo>
                    <a:cubicBezTo>
                      <a:pt x="23146" y="37624"/>
                      <a:pt x="23526" y="39814"/>
                      <a:pt x="23907" y="41910"/>
                    </a:cubicBezTo>
                    <a:cubicBezTo>
                      <a:pt x="24289" y="44005"/>
                      <a:pt x="24574" y="45339"/>
                      <a:pt x="24669" y="46101"/>
                    </a:cubicBezTo>
                    <a:cubicBezTo>
                      <a:pt x="24765" y="45339"/>
                      <a:pt x="25051" y="43720"/>
                      <a:pt x="25527" y="41243"/>
                    </a:cubicBezTo>
                    <a:cubicBezTo>
                      <a:pt x="26003" y="38767"/>
                      <a:pt x="26384" y="36862"/>
                      <a:pt x="26765" y="35528"/>
                    </a:cubicBezTo>
                    <a:lnTo>
                      <a:pt x="36290" y="95"/>
                    </a:lnTo>
                    <a:lnTo>
                      <a:pt x="53340" y="95"/>
                    </a:lnTo>
                    <a:lnTo>
                      <a:pt x="62579" y="35528"/>
                    </a:lnTo>
                    <a:cubicBezTo>
                      <a:pt x="63055" y="37529"/>
                      <a:pt x="63627" y="39814"/>
                      <a:pt x="64008" y="42291"/>
                    </a:cubicBezTo>
                    <a:cubicBezTo>
                      <a:pt x="64389" y="44767"/>
                      <a:pt x="64675" y="46006"/>
                      <a:pt x="64770" y="46196"/>
                    </a:cubicBezTo>
                    <a:cubicBezTo>
                      <a:pt x="64865" y="45339"/>
                      <a:pt x="65151" y="43910"/>
                      <a:pt x="65532" y="41815"/>
                    </a:cubicBezTo>
                    <a:cubicBezTo>
                      <a:pt x="65913" y="39719"/>
                      <a:pt x="66389" y="37719"/>
                      <a:pt x="66770" y="35528"/>
                    </a:cubicBezTo>
                    <a:lnTo>
                      <a:pt x="74771" y="95"/>
                    </a:lnTo>
                    <a:lnTo>
                      <a:pt x="89535" y="95"/>
                    </a:lnTo>
                    <a:lnTo>
                      <a:pt x="74009" y="60388"/>
                    </a:lnTo>
                    <a:lnTo>
                      <a:pt x="56769" y="60388"/>
                    </a:lnTo>
                    <a:lnTo>
                      <a:pt x="47530" y="23622"/>
                    </a:lnTo>
                    <a:cubicBezTo>
                      <a:pt x="47054" y="21717"/>
                      <a:pt x="46577" y="19526"/>
                      <a:pt x="46005" y="16859"/>
                    </a:cubicBezTo>
                    <a:cubicBezTo>
                      <a:pt x="45434" y="14192"/>
                      <a:pt x="45148" y="12287"/>
                      <a:pt x="44958" y="11239"/>
                    </a:cubicBezTo>
                    <a:cubicBezTo>
                      <a:pt x="44767" y="12287"/>
                      <a:pt x="44291" y="14192"/>
                      <a:pt x="43719" y="16764"/>
                    </a:cubicBezTo>
                    <a:cubicBezTo>
                      <a:pt x="43148" y="19336"/>
                      <a:pt x="42576" y="21717"/>
                      <a:pt x="42005" y="23717"/>
                    </a:cubicBezTo>
                    <a:lnTo>
                      <a:pt x="32671" y="60388"/>
                    </a:lnTo>
                    <a:lnTo>
                      <a:pt x="15335" y="60388"/>
                    </a:lnTo>
                    <a:lnTo>
                      <a:pt x="0" y="95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78" name="Freeform: Shape 211">
                <a:extLst>
                  <a:ext uri="{FF2B5EF4-FFF2-40B4-BE49-F238E27FC236}">
                    <a16:creationId xmlns:a16="http://schemas.microsoft.com/office/drawing/2014/main" id="{63B19587-1720-C4DA-80A1-8D5F9620E67F}"/>
                  </a:ext>
                </a:extLst>
              </p:cNvPr>
              <p:cNvSpPr/>
              <p:nvPr/>
            </p:nvSpPr>
            <p:spPr>
              <a:xfrm>
                <a:off x="6515004" y="3343179"/>
                <a:ext cx="60864" cy="62674"/>
              </a:xfrm>
              <a:custGeom>
                <a:avLst/>
                <a:gdLst>
                  <a:gd name="connsiteX0" fmla="*/ 13907 w 60864"/>
                  <a:gd name="connsiteY0" fmla="*/ 58388 h 62674"/>
                  <a:gd name="connsiteX1" fmla="*/ 3524 w 60864"/>
                  <a:gd name="connsiteY1" fmla="*/ 47149 h 62674"/>
                  <a:gd name="connsiteX2" fmla="*/ 0 w 60864"/>
                  <a:gd name="connsiteY2" fmla="*/ 31147 h 62674"/>
                  <a:gd name="connsiteX3" fmla="*/ 3429 w 60864"/>
                  <a:gd name="connsiteY3" fmla="*/ 15430 h 62674"/>
                  <a:gd name="connsiteX4" fmla="*/ 13716 w 60864"/>
                  <a:gd name="connsiteY4" fmla="*/ 4191 h 62674"/>
                  <a:gd name="connsiteX5" fmla="*/ 30480 w 60864"/>
                  <a:gd name="connsiteY5" fmla="*/ 0 h 62674"/>
                  <a:gd name="connsiteX6" fmla="*/ 47720 w 60864"/>
                  <a:gd name="connsiteY6" fmla="*/ 4191 h 62674"/>
                  <a:gd name="connsiteX7" fmla="*/ 57721 w 60864"/>
                  <a:gd name="connsiteY7" fmla="*/ 15335 h 62674"/>
                  <a:gd name="connsiteX8" fmla="*/ 60865 w 60864"/>
                  <a:gd name="connsiteY8" fmla="*/ 31242 h 62674"/>
                  <a:gd name="connsiteX9" fmla="*/ 57341 w 60864"/>
                  <a:gd name="connsiteY9" fmla="*/ 47244 h 62674"/>
                  <a:gd name="connsiteX10" fmla="*/ 46958 w 60864"/>
                  <a:gd name="connsiteY10" fmla="*/ 58484 h 62674"/>
                  <a:gd name="connsiteX11" fmla="*/ 30194 w 60864"/>
                  <a:gd name="connsiteY11" fmla="*/ 62675 h 62674"/>
                  <a:gd name="connsiteX12" fmla="*/ 13907 w 60864"/>
                  <a:gd name="connsiteY12" fmla="*/ 58579 h 62674"/>
                  <a:gd name="connsiteX13" fmla="*/ 40767 w 60864"/>
                  <a:gd name="connsiteY13" fmla="*/ 45149 h 62674"/>
                  <a:gd name="connsiteX14" fmla="*/ 44482 w 60864"/>
                  <a:gd name="connsiteY14" fmla="*/ 31052 h 62674"/>
                  <a:gd name="connsiteX15" fmla="*/ 40957 w 60864"/>
                  <a:gd name="connsiteY15" fmla="*/ 17145 h 62674"/>
                  <a:gd name="connsiteX16" fmla="*/ 30766 w 60864"/>
                  <a:gd name="connsiteY16" fmla="*/ 12287 h 62674"/>
                  <a:gd name="connsiteX17" fmla="*/ 20193 w 60864"/>
                  <a:gd name="connsiteY17" fmla="*/ 17145 h 62674"/>
                  <a:gd name="connsiteX18" fmla="*/ 16478 w 60864"/>
                  <a:gd name="connsiteY18" fmla="*/ 31052 h 62674"/>
                  <a:gd name="connsiteX19" fmla="*/ 18193 w 60864"/>
                  <a:gd name="connsiteY19" fmla="*/ 41338 h 62674"/>
                  <a:gd name="connsiteX20" fmla="*/ 22956 w 60864"/>
                  <a:gd name="connsiteY20" fmla="*/ 47816 h 62674"/>
                  <a:gd name="connsiteX21" fmla="*/ 30099 w 60864"/>
                  <a:gd name="connsiteY21" fmla="*/ 50006 h 62674"/>
                  <a:gd name="connsiteX22" fmla="*/ 40767 w 60864"/>
                  <a:gd name="connsiteY22" fmla="*/ 45053 h 62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60864" h="62674">
                    <a:moveTo>
                      <a:pt x="13907" y="58388"/>
                    </a:moveTo>
                    <a:cubicBezTo>
                      <a:pt x="9334" y="55626"/>
                      <a:pt x="5905" y="51911"/>
                      <a:pt x="3524" y="47149"/>
                    </a:cubicBezTo>
                    <a:cubicBezTo>
                      <a:pt x="1143" y="42386"/>
                      <a:pt x="0" y="37052"/>
                      <a:pt x="0" y="31147"/>
                    </a:cubicBezTo>
                    <a:cubicBezTo>
                      <a:pt x="0" y="25241"/>
                      <a:pt x="1143" y="20098"/>
                      <a:pt x="3429" y="15430"/>
                    </a:cubicBezTo>
                    <a:cubicBezTo>
                      <a:pt x="5715" y="10763"/>
                      <a:pt x="9144" y="6953"/>
                      <a:pt x="13716" y="4191"/>
                    </a:cubicBezTo>
                    <a:cubicBezTo>
                      <a:pt x="18288" y="1429"/>
                      <a:pt x="23908" y="0"/>
                      <a:pt x="30480" y="0"/>
                    </a:cubicBezTo>
                    <a:cubicBezTo>
                      <a:pt x="37433" y="0"/>
                      <a:pt x="43149" y="1429"/>
                      <a:pt x="47720" y="4191"/>
                    </a:cubicBezTo>
                    <a:cubicBezTo>
                      <a:pt x="52292" y="6953"/>
                      <a:pt x="55531" y="10668"/>
                      <a:pt x="57721" y="15335"/>
                    </a:cubicBezTo>
                    <a:cubicBezTo>
                      <a:pt x="59913" y="20003"/>
                      <a:pt x="60865" y="25337"/>
                      <a:pt x="60865" y="31242"/>
                    </a:cubicBezTo>
                    <a:cubicBezTo>
                      <a:pt x="60865" y="37148"/>
                      <a:pt x="59722" y="42482"/>
                      <a:pt x="57341" y="47244"/>
                    </a:cubicBezTo>
                    <a:cubicBezTo>
                      <a:pt x="54959" y="52007"/>
                      <a:pt x="51531" y="55721"/>
                      <a:pt x="46958" y="58484"/>
                    </a:cubicBezTo>
                    <a:cubicBezTo>
                      <a:pt x="42386" y="61246"/>
                      <a:pt x="36766" y="62675"/>
                      <a:pt x="30194" y="62675"/>
                    </a:cubicBezTo>
                    <a:cubicBezTo>
                      <a:pt x="23622" y="62675"/>
                      <a:pt x="18383" y="61341"/>
                      <a:pt x="13907" y="58579"/>
                    </a:cubicBezTo>
                    <a:close/>
                    <a:moveTo>
                      <a:pt x="40767" y="45149"/>
                    </a:moveTo>
                    <a:cubicBezTo>
                      <a:pt x="43244" y="41910"/>
                      <a:pt x="44482" y="37148"/>
                      <a:pt x="44482" y="31052"/>
                    </a:cubicBezTo>
                    <a:cubicBezTo>
                      <a:pt x="44482" y="24955"/>
                      <a:pt x="43339" y="20384"/>
                      <a:pt x="40957" y="17145"/>
                    </a:cubicBezTo>
                    <a:cubicBezTo>
                      <a:pt x="38576" y="13907"/>
                      <a:pt x="35243" y="12287"/>
                      <a:pt x="30766" y="12287"/>
                    </a:cubicBezTo>
                    <a:cubicBezTo>
                      <a:pt x="26289" y="12287"/>
                      <a:pt x="22574" y="13907"/>
                      <a:pt x="20193" y="17145"/>
                    </a:cubicBezTo>
                    <a:cubicBezTo>
                      <a:pt x="17812" y="20384"/>
                      <a:pt x="16478" y="25051"/>
                      <a:pt x="16478" y="31052"/>
                    </a:cubicBezTo>
                    <a:cubicBezTo>
                      <a:pt x="16478" y="35052"/>
                      <a:pt x="17050" y="38481"/>
                      <a:pt x="18193" y="41338"/>
                    </a:cubicBezTo>
                    <a:cubicBezTo>
                      <a:pt x="19336" y="44196"/>
                      <a:pt x="20955" y="46387"/>
                      <a:pt x="22956" y="47816"/>
                    </a:cubicBezTo>
                    <a:cubicBezTo>
                      <a:pt x="24955" y="49244"/>
                      <a:pt x="27337" y="50006"/>
                      <a:pt x="30099" y="50006"/>
                    </a:cubicBezTo>
                    <a:cubicBezTo>
                      <a:pt x="34766" y="50006"/>
                      <a:pt x="38291" y="48387"/>
                      <a:pt x="40767" y="45053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79" name="Freeform: Shape 212">
                <a:extLst>
                  <a:ext uri="{FF2B5EF4-FFF2-40B4-BE49-F238E27FC236}">
                    <a16:creationId xmlns:a16="http://schemas.microsoft.com/office/drawing/2014/main" id="{1E33F254-FCD1-F665-1A27-4468C17D47AE}"/>
                  </a:ext>
                </a:extLst>
              </p:cNvPr>
              <p:cNvSpPr/>
              <p:nvPr/>
            </p:nvSpPr>
            <p:spPr>
              <a:xfrm>
                <a:off x="6588061" y="3342893"/>
                <a:ext cx="35242" cy="61722"/>
              </a:xfrm>
              <a:custGeom>
                <a:avLst/>
                <a:gdLst>
                  <a:gd name="connsiteX0" fmla="*/ 381 w 35242"/>
                  <a:gd name="connsiteY0" fmla="*/ 15526 h 61722"/>
                  <a:gd name="connsiteX1" fmla="*/ 286 w 35242"/>
                  <a:gd name="connsiteY1" fmla="*/ 7144 h 61722"/>
                  <a:gd name="connsiteX2" fmla="*/ 0 w 35242"/>
                  <a:gd name="connsiteY2" fmla="*/ 1334 h 61722"/>
                  <a:gd name="connsiteX3" fmla="*/ 14954 w 35242"/>
                  <a:gd name="connsiteY3" fmla="*/ 1334 h 61722"/>
                  <a:gd name="connsiteX4" fmla="*/ 15431 w 35242"/>
                  <a:gd name="connsiteY4" fmla="*/ 6096 h 61722"/>
                  <a:gd name="connsiteX5" fmla="*/ 15716 w 35242"/>
                  <a:gd name="connsiteY5" fmla="*/ 11811 h 61722"/>
                  <a:gd name="connsiteX6" fmla="*/ 15907 w 35242"/>
                  <a:gd name="connsiteY6" fmla="*/ 11811 h 61722"/>
                  <a:gd name="connsiteX7" fmla="*/ 19336 w 35242"/>
                  <a:gd name="connsiteY7" fmla="*/ 5144 h 61722"/>
                  <a:gd name="connsiteX8" fmla="*/ 23527 w 35242"/>
                  <a:gd name="connsiteY8" fmla="*/ 1334 h 61722"/>
                  <a:gd name="connsiteX9" fmla="*/ 30195 w 35242"/>
                  <a:gd name="connsiteY9" fmla="*/ 0 h 61722"/>
                  <a:gd name="connsiteX10" fmla="*/ 33147 w 35242"/>
                  <a:gd name="connsiteY10" fmla="*/ 286 h 61722"/>
                  <a:gd name="connsiteX11" fmla="*/ 35243 w 35242"/>
                  <a:gd name="connsiteY11" fmla="*/ 953 h 61722"/>
                  <a:gd name="connsiteX12" fmla="*/ 34766 w 35242"/>
                  <a:gd name="connsiteY12" fmla="*/ 14478 h 61722"/>
                  <a:gd name="connsiteX13" fmla="*/ 33624 w 35242"/>
                  <a:gd name="connsiteY13" fmla="*/ 14288 h 61722"/>
                  <a:gd name="connsiteX14" fmla="*/ 28480 w 35242"/>
                  <a:gd name="connsiteY14" fmla="*/ 13716 h 61722"/>
                  <a:gd name="connsiteX15" fmla="*/ 19431 w 35242"/>
                  <a:gd name="connsiteY15" fmla="*/ 18479 h 61722"/>
                  <a:gd name="connsiteX16" fmla="*/ 16193 w 35242"/>
                  <a:gd name="connsiteY16" fmla="*/ 32099 h 61722"/>
                  <a:gd name="connsiteX17" fmla="*/ 16193 w 35242"/>
                  <a:gd name="connsiteY17" fmla="*/ 61722 h 61722"/>
                  <a:gd name="connsiteX18" fmla="*/ 477 w 35242"/>
                  <a:gd name="connsiteY18" fmla="*/ 61722 h 61722"/>
                  <a:gd name="connsiteX19" fmla="*/ 477 w 35242"/>
                  <a:gd name="connsiteY19" fmla="*/ 15526 h 61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35242" h="61722">
                    <a:moveTo>
                      <a:pt x="381" y="15526"/>
                    </a:moveTo>
                    <a:cubicBezTo>
                      <a:pt x="381" y="12954"/>
                      <a:pt x="381" y="10096"/>
                      <a:pt x="286" y="7144"/>
                    </a:cubicBezTo>
                    <a:cubicBezTo>
                      <a:pt x="191" y="4191"/>
                      <a:pt x="95" y="2286"/>
                      <a:pt x="0" y="1334"/>
                    </a:cubicBezTo>
                    <a:lnTo>
                      <a:pt x="14954" y="1334"/>
                    </a:lnTo>
                    <a:cubicBezTo>
                      <a:pt x="15145" y="2000"/>
                      <a:pt x="15240" y="3620"/>
                      <a:pt x="15431" y="6096"/>
                    </a:cubicBezTo>
                    <a:cubicBezTo>
                      <a:pt x="15621" y="8572"/>
                      <a:pt x="15716" y="10478"/>
                      <a:pt x="15716" y="11811"/>
                    </a:cubicBezTo>
                    <a:lnTo>
                      <a:pt x="15907" y="11811"/>
                    </a:lnTo>
                    <a:cubicBezTo>
                      <a:pt x="17050" y="8954"/>
                      <a:pt x="18193" y="6763"/>
                      <a:pt x="19336" y="5144"/>
                    </a:cubicBezTo>
                    <a:cubicBezTo>
                      <a:pt x="20479" y="3524"/>
                      <a:pt x="21813" y="2286"/>
                      <a:pt x="23527" y="1334"/>
                    </a:cubicBezTo>
                    <a:cubicBezTo>
                      <a:pt x="25241" y="381"/>
                      <a:pt x="27432" y="0"/>
                      <a:pt x="30195" y="0"/>
                    </a:cubicBezTo>
                    <a:cubicBezTo>
                      <a:pt x="31242" y="0"/>
                      <a:pt x="32195" y="0"/>
                      <a:pt x="33147" y="286"/>
                    </a:cubicBezTo>
                    <a:cubicBezTo>
                      <a:pt x="34100" y="571"/>
                      <a:pt x="34766" y="667"/>
                      <a:pt x="35243" y="953"/>
                    </a:cubicBezTo>
                    <a:lnTo>
                      <a:pt x="34766" y="14478"/>
                    </a:lnTo>
                    <a:cubicBezTo>
                      <a:pt x="34290" y="14478"/>
                      <a:pt x="33814" y="14288"/>
                      <a:pt x="33624" y="14288"/>
                    </a:cubicBezTo>
                    <a:cubicBezTo>
                      <a:pt x="31623" y="13907"/>
                      <a:pt x="29909" y="13716"/>
                      <a:pt x="28480" y="13716"/>
                    </a:cubicBezTo>
                    <a:cubicBezTo>
                      <a:pt x="24575" y="13716"/>
                      <a:pt x="21622" y="15335"/>
                      <a:pt x="19431" y="18479"/>
                    </a:cubicBezTo>
                    <a:cubicBezTo>
                      <a:pt x="17240" y="21622"/>
                      <a:pt x="16193" y="26194"/>
                      <a:pt x="16193" y="32099"/>
                    </a:cubicBezTo>
                    <a:lnTo>
                      <a:pt x="16193" y="61722"/>
                    </a:lnTo>
                    <a:lnTo>
                      <a:pt x="477" y="61722"/>
                    </a:lnTo>
                    <a:lnTo>
                      <a:pt x="477" y="15526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80" name="Freeform: Shape 213">
                <a:extLst>
                  <a:ext uri="{FF2B5EF4-FFF2-40B4-BE49-F238E27FC236}">
                    <a16:creationId xmlns:a16="http://schemas.microsoft.com/office/drawing/2014/main" id="{328A2387-01CD-009E-58C3-8ABDCEE134C2}"/>
                  </a:ext>
                </a:extLst>
              </p:cNvPr>
              <p:cNvSpPr/>
              <p:nvPr/>
            </p:nvSpPr>
            <p:spPr>
              <a:xfrm>
                <a:off x="6632924" y="3321748"/>
                <a:ext cx="55721" cy="82867"/>
              </a:xfrm>
              <a:custGeom>
                <a:avLst/>
                <a:gdLst>
                  <a:gd name="connsiteX0" fmla="*/ 0 w 55721"/>
                  <a:gd name="connsiteY0" fmla="*/ 0 h 82867"/>
                  <a:gd name="connsiteX1" fmla="*/ 15716 w 55721"/>
                  <a:gd name="connsiteY1" fmla="*/ 0 h 82867"/>
                  <a:gd name="connsiteX2" fmla="*/ 15716 w 55721"/>
                  <a:gd name="connsiteY2" fmla="*/ 47244 h 82867"/>
                  <a:gd name="connsiteX3" fmla="*/ 36671 w 55721"/>
                  <a:gd name="connsiteY3" fmla="*/ 22574 h 82867"/>
                  <a:gd name="connsiteX4" fmla="*/ 54102 w 55721"/>
                  <a:gd name="connsiteY4" fmla="*/ 22574 h 82867"/>
                  <a:gd name="connsiteX5" fmla="*/ 32861 w 55721"/>
                  <a:gd name="connsiteY5" fmla="*/ 46101 h 82867"/>
                  <a:gd name="connsiteX6" fmla="*/ 55721 w 55721"/>
                  <a:gd name="connsiteY6" fmla="*/ 82868 h 82867"/>
                  <a:gd name="connsiteX7" fmla="*/ 38576 w 55721"/>
                  <a:gd name="connsiteY7" fmla="*/ 82868 h 82867"/>
                  <a:gd name="connsiteX8" fmla="*/ 22479 w 55721"/>
                  <a:gd name="connsiteY8" fmla="*/ 55531 h 82867"/>
                  <a:gd name="connsiteX9" fmla="*/ 15716 w 55721"/>
                  <a:gd name="connsiteY9" fmla="*/ 62484 h 82867"/>
                  <a:gd name="connsiteX10" fmla="*/ 15716 w 55721"/>
                  <a:gd name="connsiteY10" fmla="*/ 82868 h 82867"/>
                  <a:gd name="connsiteX11" fmla="*/ 0 w 55721"/>
                  <a:gd name="connsiteY11" fmla="*/ 82868 h 82867"/>
                  <a:gd name="connsiteX12" fmla="*/ 0 w 55721"/>
                  <a:gd name="connsiteY12" fmla="*/ 0 h 828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5721" h="82867">
                    <a:moveTo>
                      <a:pt x="0" y="0"/>
                    </a:moveTo>
                    <a:lnTo>
                      <a:pt x="15716" y="0"/>
                    </a:lnTo>
                    <a:lnTo>
                      <a:pt x="15716" y="47244"/>
                    </a:lnTo>
                    <a:lnTo>
                      <a:pt x="36671" y="22574"/>
                    </a:lnTo>
                    <a:lnTo>
                      <a:pt x="54102" y="22574"/>
                    </a:lnTo>
                    <a:lnTo>
                      <a:pt x="32861" y="46101"/>
                    </a:lnTo>
                    <a:lnTo>
                      <a:pt x="55721" y="82868"/>
                    </a:lnTo>
                    <a:lnTo>
                      <a:pt x="38576" y="82868"/>
                    </a:lnTo>
                    <a:lnTo>
                      <a:pt x="22479" y="55531"/>
                    </a:lnTo>
                    <a:lnTo>
                      <a:pt x="15716" y="62484"/>
                    </a:lnTo>
                    <a:lnTo>
                      <a:pt x="15716" y="82868"/>
                    </a:lnTo>
                    <a:lnTo>
                      <a:pt x="0" y="8286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36" name="Graphic 2">
              <a:extLst>
                <a:ext uri="{FF2B5EF4-FFF2-40B4-BE49-F238E27FC236}">
                  <a16:creationId xmlns:a16="http://schemas.microsoft.com/office/drawing/2014/main" id="{B1168D6E-7C4E-791D-A11B-EDEE3130579E}"/>
                </a:ext>
              </a:extLst>
            </p:cNvPr>
            <p:cNvGrpSpPr/>
            <p:nvPr/>
          </p:nvGrpSpPr>
          <p:grpSpPr>
            <a:xfrm>
              <a:off x="5177590" y="3436328"/>
              <a:ext cx="919319" cy="516960"/>
              <a:chOff x="4286345" y="3922109"/>
              <a:chExt cx="691610" cy="376713"/>
            </a:xfrm>
            <a:solidFill>
              <a:srgbClr val="231F20"/>
            </a:solidFill>
          </p:grpSpPr>
          <p:sp>
            <p:nvSpPr>
              <p:cNvPr id="326" name="Freeform: Shape 159">
                <a:extLst>
                  <a:ext uri="{FF2B5EF4-FFF2-40B4-BE49-F238E27FC236}">
                    <a16:creationId xmlns:a16="http://schemas.microsoft.com/office/drawing/2014/main" id="{BE9B953F-EFC6-6137-4517-FF3EF59619CB}"/>
                  </a:ext>
                </a:extLst>
              </p:cNvPr>
              <p:cNvSpPr/>
              <p:nvPr/>
            </p:nvSpPr>
            <p:spPr>
              <a:xfrm>
                <a:off x="4443031" y="3922109"/>
                <a:ext cx="67151" cy="78676"/>
              </a:xfrm>
              <a:custGeom>
                <a:avLst/>
                <a:gdLst>
                  <a:gd name="connsiteX0" fmla="*/ 0 w 67151"/>
                  <a:gd name="connsiteY0" fmla="*/ 0 h 78676"/>
                  <a:gd name="connsiteX1" fmla="*/ 16478 w 67151"/>
                  <a:gd name="connsiteY1" fmla="*/ 0 h 78676"/>
                  <a:gd name="connsiteX2" fmla="*/ 16478 w 67151"/>
                  <a:gd name="connsiteY2" fmla="*/ 30671 h 78676"/>
                  <a:gd name="connsiteX3" fmla="*/ 50768 w 67151"/>
                  <a:gd name="connsiteY3" fmla="*/ 30671 h 78676"/>
                  <a:gd name="connsiteX4" fmla="*/ 50768 w 67151"/>
                  <a:gd name="connsiteY4" fmla="*/ 0 h 78676"/>
                  <a:gd name="connsiteX5" fmla="*/ 67151 w 67151"/>
                  <a:gd name="connsiteY5" fmla="*/ 0 h 78676"/>
                  <a:gd name="connsiteX6" fmla="*/ 67151 w 67151"/>
                  <a:gd name="connsiteY6" fmla="*/ 78677 h 78676"/>
                  <a:gd name="connsiteX7" fmla="*/ 50768 w 67151"/>
                  <a:gd name="connsiteY7" fmla="*/ 78677 h 78676"/>
                  <a:gd name="connsiteX8" fmla="*/ 50768 w 67151"/>
                  <a:gd name="connsiteY8" fmla="*/ 45434 h 78676"/>
                  <a:gd name="connsiteX9" fmla="*/ 16478 w 67151"/>
                  <a:gd name="connsiteY9" fmla="*/ 45434 h 78676"/>
                  <a:gd name="connsiteX10" fmla="*/ 16478 w 67151"/>
                  <a:gd name="connsiteY10" fmla="*/ 78677 h 78676"/>
                  <a:gd name="connsiteX11" fmla="*/ 0 w 67151"/>
                  <a:gd name="connsiteY11" fmla="*/ 78677 h 78676"/>
                  <a:gd name="connsiteX12" fmla="*/ 0 w 67151"/>
                  <a:gd name="connsiteY12" fmla="*/ 0 h 78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67151" h="78676">
                    <a:moveTo>
                      <a:pt x="0" y="0"/>
                    </a:moveTo>
                    <a:lnTo>
                      <a:pt x="16478" y="0"/>
                    </a:lnTo>
                    <a:lnTo>
                      <a:pt x="16478" y="30671"/>
                    </a:lnTo>
                    <a:lnTo>
                      <a:pt x="50768" y="30671"/>
                    </a:lnTo>
                    <a:lnTo>
                      <a:pt x="50768" y="0"/>
                    </a:lnTo>
                    <a:lnTo>
                      <a:pt x="67151" y="0"/>
                    </a:lnTo>
                    <a:lnTo>
                      <a:pt x="67151" y="78677"/>
                    </a:lnTo>
                    <a:lnTo>
                      <a:pt x="50768" y="78677"/>
                    </a:lnTo>
                    <a:lnTo>
                      <a:pt x="50768" y="45434"/>
                    </a:lnTo>
                    <a:lnTo>
                      <a:pt x="16478" y="45434"/>
                    </a:lnTo>
                    <a:lnTo>
                      <a:pt x="16478" y="78677"/>
                    </a:lnTo>
                    <a:lnTo>
                      <a:pt x="0" y="7867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27" name="Freeform: Shape 160">
                <a:extLst>
                  <a:ext uri="{FF2B5EF4-FFF2-40B4-BE49-F238E27FC236}">
                    <a16:creationId xmlns:a16="http://schemas.microsoft.com/office/drawing/2014/main" id="{6C41D0F4-90B1-6EA4-E078-ECB17C10AF1F}"/>
                  </a:ext>
                </a:extLst>
              </p:cNvPr>
              <p:cNvSpPr/>
              <p:nvPr/>
            </p:nvSpPr>
            <p:spPr>
              <a:xfrm>
                <a:off x="4525041" y="3940492"/>
                <a:ext cx="55244" cy="61531"/>
              </a:xfrm>
              <a:custGeom>
                <a:avLst/>
                <a:gdLst>
                  <a:gd name="connsiteX0" fmla="*/ 4763 w 55244"/>
                  <a:gd name="connsiteY0" fmla="*/ 55150 h 61531"/>
                  <a:gd name="connsiteX1" fmla="*/ 0 w 55244"/>
                  <a:gd name="connsiteY1" fmla="*/ 38290 h 61531"/>
                  <a:gd name="connsiteX2" fmla="*/ 0 w 55244"/>
                  <a:gd name="connsiteY2" fmla="*/ 0 h 61531"/>
                  <a:gd name="connsiteX3" fmla="*/ 15716 w 55244"/>
                  <a:gd name="connsiteY3" fmla="*/ 0 h 61531"/>
                  <a:gd name="connsiteX4" fmla="*/ 15716 w 55244"/>
                  <a:gd name="connsiteY4" fmla="*/ 33814 h 61531"/>
                  <a:gd name="connsiteX5" fmla="*/ 18002 w 55244"/>
                  <a:gd name="connsiteY5" fmla="*/ 44291 h 61531"/>
                  <a:gd name="connsiteX6" fmla="*/ 25908 w 55244"/>
                  <a:gd name="connsiteY6" fmla="*/ 48006 h 61531"/>
                  <a:gd name="connsiteX7" fmla="*/ 32671 w 55244"/>
                  <a:gd name="connsiteY7" fmla="*/ 46006 h 61531"/>
                  <a:gd name="connsiteX8" fmla="*/ 37433 w 55244"/>
                  <a:gd name="connsiteY8" fmla="*/ 40481 h 61531"/>
                  <a:gd name="connsiteX9" fmla="*/ 39148 w 55244"/>
                  <a:gd name="connsiteY9" fmla="*/ 32290 h 61531"/>
                  <a:gd name="connsiteX10" fmla="*/ 39148 w 55244"/>
                  <a:gd name="connsiteY10" fmla="*/ 0 h 61531"/>
                  <a:gd name="connsiteX11" fmla="*/ 54864 w 55244"/>
                  <a:gd name="connsiteY11" fmla="*/ 0 h 61531"/>
                  <a:gd name="connsiteX12" fmla="*/ 54864 w 55244"/>
                  <a:gd name="connsiteY12" fmla="*/ 46863 h 61531"/>
                  <a:gd name="connsiteX13" fmla="*/ 54959 w 55244"/>
                  <a:gd name="connsiteY13" fmla="*/ 54769 h 61531"/>
                  <a:gd name="connsiteX14" fmla="*/ 55245 w 55244"/>
                  <a:gd name="connsiteY14" fmla="*/ 60388 h 61531"/>
                  <a:gd name="connsiteX15" fmla="*/ 40291 w 55244"/>
                  <a:gd name="connsiteY15" fmla="*/ 60388 h 61531"/>
                  <a:gd name="connsiteX16" fmla="*/ 39910 w 55244"/>
                  <a:gd name="connsiteY16" fmla="*/ 55340 h 61531"/>
                  <a:gd name="connsiteX17" fmla="*/ 39624 w 55244"/>
                  <a:gd name="connsiteY17" fmla="*/ 49530 h 61531"/>
                  <a:gd name="connsiteX18" fmla="*/ 39338 w 55244"/>
                  <a:gd name="connsiteY18" fmla="*/ 49530 h 61531"/>
                  <a:gd name="connsiteX19" fmla="*/ 31432 w 55244"/>
                  <a:gd name="connsiteY19" fmla="*/ 58674 h 61531"/>
                  <a:gd name="connsiteX20" fmla="*/ 19907 w 55244"/>
                  <a:gd name="connsiteY20" fmla="*/ 61531 h 61531"/>
                  <a:gd name="connsiteX21" fmla="*/ 4858 w 55244"/>
                  <a:gd name="connsiteY21" fmla="*/ 55245 h 615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55244" h="61531">
                    <a:moveTo>
                      <a:pt x="4763" y="55150"/>
                    </a:moveTo>
                    <a:cubicBezTo>
                      <a:pt x="1619" y="50959"/>
                      <a:pt x="0" y="45339"/>
                      <a:pt x="0" y="38290"/>
                    </a:cubicBezTo>
                    <a:lnTo>
                      <a:pt x="0" y="0"/>
                    </a:lnTo>
                    <a:lnTo>
                      <a:pt x="15716" y="0"/>
                    </a:lnTo>
                    <a:lnTo>
                      <a:pt x="15716" y="33814"/>
                    </a:lnTo>
                    <a:cubicBezTo>
                      <a:pt x="15716" y="38290"/>
                      <a:pt x="16478" y="41815"/>
                      <a:pt x="18002" y="44291"/>
                    </a:cubicBezTo>
                    <a:cubicBezTo>
                      <a:pt x="19526" y="46767"/>
                      <a:pt x="22193" y="48006"/>
                      <a:pt x="25908" y="48006"/>
                    </a:cubicBezTo>
                    <a:cubicBezTo>
                      <a:pt x="28384" y="48006"/>
                      <a:pt x="30671" y="47339"/>
                      <a:pt x="32671" y="46006"/>
                    </a:cubicBezTo>
                    <a:cubicBezTo>
                      <a:pt x="34671" y="44672"/>
                      <a:pt x="36290" y="42863"/>
                      <a:pt x="37433" y="40481"/>
                    </a:cubicBezTo>
                    <a:cubicBezTo>
                      <a:pt x="38576" y="38100"/>
                      <a:pt x="39148" y="35338"/>
                      <a:pt x="39148" y="32290"/>
                    </a:cubicBezTo>
                    <a:lnTo>
                      <a:pt x="39148" y="0"/>
                    </a:lnTo>
                    <a:lnTo>
                      <a:pt x="54864" y="0"/>
                    </a:lnTo>
                    <a:lnTo>
                      <a:pt x="54864" y="46863"/>
                    </a:lnTo>
                    <a:cubicBezTo>
                      <a:pt x="54864" y="49435"/>
                      <a:pt x="54864" y="52006"/>
                      <a:pt x="54959" y="54769"/>
                    </a:cubicBezTo>
                    <a:cubicBezTo>
                      <a:pt x="55054" y="57531"/>
                      <a:pt x="55150" y="59341"/>
                      <a:pt x="55245" y="60388"/>
                    </a:cubicBezTo>
                    <a:lnTo>
                      <a:pt x="40291" y="60388"/>
                    </a:lnTo>
                    <a:cubicBezTo>
                      <a:pt x="40196" y="59531"/>
                      <a:pt x="40005" y="57817"/>
                      <a:pt x="39910" y="55340"/>
                    </a:cubicBezTo>
                    <a:cubicBezTo>
                      <a:pt x="39814" y="52864"/>
                      <a:pt x="39624" y="50959"/>
                      <a:pt x="39624" y="49530"/>
                    </a:cubicBezTo>
                    <a:lnTo>
                      <a:pt x="39338" y="49530"/>
                    </a:lnTo>
                    <a:cubicBezTo>
                      <a:pt x="37338" y="53626"/>
                      <a:pt x="34671" y="56674"/>
                      <a:pt x="31432" y="58674"/>
                    </a:cubicBezTo>
                    <a:cubicBezTo>
                      <a:pt x="28194" y="60674"/>
                      <a:pt x="24384" y="61531"/>
                      <a:pt x="19907" y="61531"/>
                    </a:cubicBezTo>
                    <a:cubicBezTo>
                      <a:pt x="13049" y="61531"/>
                      <a:pt x="8001" y="59436"/>
                      <a:pt x="4858" y="55245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28" name="Freeform: Shape 161">
                <a:extLst>
                  <a:ext uri="{FF2B5EF4-FFF2-40B4-BE49-F238E27FC236}">
                    <a16:creationId xmlns:a16="http://schemas.microsoft.com/office/drawing/2014/main" id="{B53385F6-B64C-B683-F966-59AD24972C0B}"/>
                  </a:ext>
                </a:extLst>
              </p:cNvPr>
              <p:cNvSpPr/>
              <p:nvPr/>
            </p:nvSpPr>
            <p:spPr>
              <a:xfrm>
                <a:off x="4595336" y="3939254"/>
                <a:ext cx="87058" cy="61721"/>
              </a:xfrm>
              <a:custGeom>
                <a:avLst/>
                <a:gdLst>
                  <a:gd name="connsiteX0" fmla="*/ 381 w 87058"/>
                  <a:gd name="connsiteY0" fmla="*/ 14668 h 61721"/>
                  <a:gd name="connsiteX1" fmla="*/ 286 w 87058"/>
                  <a:gd name="connsiteY1" fmla="*/ 6763 h 61721"/>
                  <a:gd name="connsiteX2" fmla="*/ 0 w 87058"/>
                  <a:gd name="connsiteY2" fmla="*/ 1238 h 61721"/>
                  <a:gd name="connsiteX3" fmla="*/ 14954 w 87058"/>
                  <a:gd name="connsiteY3" fmla="*/ 1238 h 61721"/>
                  <a:gd name="connsiteX4" fmla="*/ 15430 w 87058"/>
                  <a:gd name="connsiteY4" fmla="*/ 6191 h 61721"/>
                  <a:gd name="connsiteX5" fmla="*/ 15716 w 87058"/>
                  <a:gd name="connsiteY5" fmla="*/ 12097 h 61721"/>
                  <a:gd name="connsiteX6" fmla="*/ 15907 w 87058"/>
                  <a:gd name="connsiteY6" fmla="*/ 12097 h 61721"/>
                  <a:gd name="connsiteX7" fmla="*/ 23146 w 87058"/>
                  <a:gd name="connsiteY7" fmla="*/ 2953 h 61721"/>
                  <a:gd name="connsiteX8" fmla="*/ 33528 w 87058"/>
                  <a:gd name="connsiteY8" fmla="*/ 0 h 61721"/>
                  <a:gd name="connsiteX9" fmla="*/ 44577 w 87058"/>
                  <a:gd name="connsiteY9" fmla="*/ 3143 h 61721"/>
                  <a:gd name="connsiteX10" fmla="*/ 50292 w 87058"/>
                  <a:gd name="connsiteY10" fmla="*/ 12192 h 61721"/>
                  <a:gd name="connsiteX11" fmla="*/ 50673 w 87058"/>
                  <a:gd name="connsiteY11" fmla="*/ 12192 h 61721"/>
                  <a:gd name="connsiteX12" fmla="*/ 58102 w 87058"/>
                  <a:gd name="connsiteY12" fmla="*/ 2857 h 61721"/>
                  <a:gd name="connsiteX13" fmla="*/ 68961 w 87058"/>
                  <a:gd name="connsiteY13" fmla="*/ 95 h 61721"/>
                  <a:gd name="connsiteX14" fmla="*/ 82677 w 87058"/>
                  <a:gd name="connsiteY14" fmla="*/ 6477 h 61721"/>
                  <a:gd name="connsiteX15" fmla="*/ 87058 w 87058"/>
                  <a:gd name="connsiteY15" fmla="*/ 23431 h 61721"/>
                  <a:gd name="connsiteX16" fmla="*/ 87058 w 87058"/>
                  <a:gd name="connsiteY16" fmla="*/ 61722 h 61721"/>
                  <a:gd name="connsiteX17" fmla="*/ 71533 w 87058"/>
                  <a:gd name="connsiteY17" fmla="*/ 61722 h 61721"/>
                  <a:gd name="connsiteX18" fmla="*/ 71533 w 87058"/>
                  <a:gd name="connsiteY18" fmla="*/ 27908 h 61721"/>
                  <a:gd name="connsiteX19" fmla="*/ 69532 w 87058"/>
                  <a:gd name="connsiteY19" fmla="*/ 17431 h 61721"/>
                  <a:gd name="connsiteX20" fmla="*/ 62865 w 87058"/>
                  <a:gd name="connsiteY20" fmla="*/ 13716 h 61721"/>
                  <a:gd name="connsiteX21" fmla="*/ 57245 w 87058"/>
                  <a:gd name="connsiteY21" fmla="*/ 15621 h 61721"/>
                  <a:gd name="connsiteX22" fmla="*/ 53245 w 87058"/>
                  <a:gd name="connsiteY22" fmla="*/ 20860 h 61721"/>
                  <a:gd name="connsiteX23" fmla="*/ 51625 w 87058"/>
                  <a:gd name="connsiteY23" fmla="*/ 28575 h 61721"/>
                  <a:gd name="connsiteX24" fmla="*/ 51625 w 87058"/>
                  <a:gd name="connsiteY24" fmla="*/ 61722 h 61721"/>
                  <a:gd name="connsiteX25" fmla="*/ 36100 w 87058"/>
                  <a:gd name="connsiteY25" fmla="*/ 61722 h 61721"/>
                  <a:gd name="connsiteX26" fmla="*/ 36100 w 87058"/>
                  <a:gd name="connsiteY26" fmla="*/ 27908 h 61721"/>
                  <a:gd name="connsiteX27" fmla="*/ 34099 w 87058"/>
                  <a:gd name="connsiteY27" fmla="*/ 17431 h 61721"/>
                  <a:gd name="connsiteX28" fmla="*/ 27432 w 87058"/>
                  <a:gd name="connsiteY28" fmla="*/ 13716 h 61721"/>
                  <a:gd name="connsiteX29" fmla="*/ 21717 w 87058"/>
                  <a:gd name="connsiteY29" fmla="*/ 15716 h 61721"/>
                  <a:gd name="connsiteX30" fmla="*/ 17716 w 87058"/>
                  <a:gd name="connsiteY30" fmla="*/ 21241 h 61721"/>
                  <a:gd name="connsiteX31" fmla="*/ 16288 w 87058"/>
                  <a:gd name="connsiteY31" fmla="*/ 29337 h 61721"/>
                  <a:gd name="connsiteX32" fmla="*/ 16288 w 87058"/>
                  <a:gd name="connsiteY32" fmla="*/ 61722 h 61721"/>
                  <a:gd name="connsiteX33" fmla="*/ 571 w 87058"/>
                  <a:gd name="connsiteY33" fmla="*/ 61722 h 61721"/>
                  <a:gd name="connsiteX34" fmla="*/ 571 w 87058"/>
                  <a:gd name="connsiteY34" fmla="*/ 14859 h 617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87058" h="61721">
                    <a:moveTo>
                      <a:pt x="381" y="14668"/>
                    </a:moveTo>
                    <a:cubicBezTo>
                      <a:pt x="381" y="12097"/>
                      <a:pt x="381" y="9430"/>
                      <a:pt x="286" y="6763"/>
                    </a:cubicBezTo>
                    <a:cubicBezTo>
                      <a:pt x="190" y="4096"/>
                      <a:pt x="95" y="2191"/>
                      <a:pt x="0" y="1238"/>
                    </a:cubicBezTo>
                    <a:lnTo>
                      <a:pt x="14954" y="1238"/>
                    </a:lnTo>
                    <a:cubicBezTo>
                      <a:pt x="15145" y="2096"/>
                      <a:pt x="15240" y="3715"/>
                      <a:pt x="15430" y="6191"/>
                    </a:cubicBezTo>
                    <a:cubicBezTo>
                      <a:pt x="15621" y="8668"/>
                      <a:pt x="15716" y="10668"/>
                      <a:pt x="15716" y="12097"/>
                    </a:cubicBezTo>
                    <a:lnTo>
                      <a:pt x="15907" y="12097"/>
                    </a:lnTo>
                    <a:cubicBezTo>
                      <a:pt x="17812" y="8001"/>
                      <a:pt x="20193" y="4953"/>
                      <a:pt x="23146" y="2953"/>
                    </a:cubicBezTo>
                    <a:cubicBezTo>
                      <a:pt x="26098" y="953"/>
                      <a:pt x="29527" y="0"/>
                      <a:pt x="33528" y="0"/>
                    </a:cubicBezTo>
                    <a:cubicBezTo>
                      <a:pt x="38100" y="0"/>
                      <a:pt x="41719" y="1048"/>
                      <a:pt x="44577" y="3143"/>
                    </a:cubicBezTo>
                    <a:cubicBezTo>
                      <a:pt x="47434" y="5239"/>
                      <a:pt x="49339" y="8191"/>
                      <a:pt x="50292" y="12192"/>
                    </a:cubicBezTo>
                    <a:lnTo>
                      <a:pt x="50673" y="12192"/>
                    </a:lnTo>
                    <a:cubicBezTo>
                      <a:pt x="52673" y="7811"/>
                      <a:pt x="55245" y="4667"/>
                      <a:pt x="58102" y="2857"/>
                    </a:cubicBezTo>
                    <a:cubicBezTo>
                      <a:pt x="60960" y="1048"/>
                      <a:pt x="64675" y="95"/>
                      <a:pt x="68961" y="95"/>
                    </a:cubicBezTo>
                    <a:cubicBezTo>
                      <a:pt x="75247" y="95"/>
                      <a:pt x="79819" y="2191"/>
                      <a:pt x="82677" y="6477"/>
                    </a:cubicBezTo>
                    <a:cubicBezTo>
                      <a:pt x="85534" y="10763"/>
                      <a:pt x="87058" y="16383"/>
                      <a:pt x="87058" y="23431"/>
                    </a:cubicBezTo>
                    <a:lnTo>
                      <a:pt x="87058" y="61722"/>
                    </a:lnTo>
                    <a:lnTo>
                      <a:pt x="71533" y="61722"/>
                    </a:lnTo>
                    <a:lnTo>
                      <a:pt x="71533" y="27908"/>
                    </a:lnTo>
                    <a:cubicBezTo>
                      <a:pt x="71533" y="23336"/>
                      <a:pt x="70866" y="19907"/>
                      <a:pt x="69532" y="17431"/>
                    </a:cubicBezTo>
                    <a:cubicBezTo>
                      <a:pt x="68199" y="14954"/>
                      <a:pt x="66008" y="13716"/>
                      <a:pt x="62865" y="13716"/>
                    </a:cubicBezTo>
                    <a:cubicBezTo>
                      <a:pt x="60769" y="13716"/>
                      <a:pt x="58864" y="14383"/>
                      <a:pt x="57245" y="15621"/>
                    </a:cubicBezTo>
                    <a:cubicBezTo>
                      <a:pt x="55626" y="16859"/>
                      <a:pt x="54197" y="18574"/>
                      <a:pt x="53245" y="20860"/>
                    </a:cubicBezTo>
                    <a:cubicBezTo>
                      <a:pt x="52292" y="23146"/>
                      <a:pt x="51721" y="25717"/>
                      <a:pt x="51625" y="28575"/>
                    </a:cubicBezTo>
                    <a:lnTo>
                      <a:pt x="51625" y="61722"/>
                    </a:lnTo>
                    <a:lnTo>
                      <a:pt x="36100" y="61722"/>
                    </a:lnTo>
                    <a:lnTo>
                      <a:pt x="36100" y="27908"/>
                    </a:lnTo>
                    <a:cubicBezTo>
                      <a:pt x="36100" y="23336"/>
                      <a:pt x="35433" y="19907"/>
                      <a:pt x="34099" y="17431"/>
                    </a:cubicBezTo>
                    <a:cubicBezTo>
                      <a:pt x="32766" y="14954"/>
                      <a:pt x="30575" y="13716"/>
                      <a:pt x="27432" y="13716"/>
                    </a:cubicBezTo>
                    <a:cubicBezTo>
                      <a:pt x="25336" y="13716"/>
                      <a:pt x="23431" y="14383"/>
                      <a:pt x="21717" y="15716"/>
                    </a:cubicBezTo>
                    <a:cubicBezTo>
                      <a:pt x="20002" y="17050"/>
                      <a:pt x="18669" y="18859"/>
                      <a:pt x="17716" y="21241"/>
                    </a:cubicBezTo>
                    <a:cubicBezTo>
                      <a:pt x="16764" y="23622"/>
                      <a:pt x="16288" y="26289"/>
                      <a:pt x="16288" y="29337"/>
                    </a:cubicBezTo>
                    <a:lnTo>
                      <a:pt x="16288" y="61722"/>
                    </a:lnTo>
                    <a:lnTo>
                      <a:pt x="571" y="61722"/>
                    </a:lnTo>
                    <a:lnTo>
                      <a:pt x="571" y="14859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29" name="Freeform: Shape 162">
                <a:extLst>
                  <a:ext uri="{FF2B5EF4-FFF2-40B4-BE49-F238E27FC236}">
                    <a16:creationId xmlns:a16="http://schemas.microsoft.com/office/drawing/2014/main" id="{FE0093CD-B173-4B4A-815A-5A91BFC34971}"/>
                  </a:ext>
                </a:extLst>
              </p:cNvPr>
              <p:cNvSpPr/>
              <p:nvPr/>
            </p:nvSpPr>
            <p:spPr>
              <a:xfrm>
                <a:off x="4692967" y="3939349"/>
                <a:ext cx="53149" cy="62674"/>
              </a:xfrm>
              <a:custGeom>
                <a:avLst/>
                <a:gdLst>
                  <a:gd name="connsiteX0" fmla="*/ 8954 w 53149"/>
                  <a:gd name="connsiteY0" fmla="*/ 60389 h 62674"/>
                  <a:gd name="connsiteX1" fmla="*/ 2381 w 53149"/>
                  <a:gd name="connsiteY1" fmla="*/ 54197 h 62674"/>
                  <a:gd name="connsiteX2" fmla="*/ 0 w 53149"/>
                  <a:gd name="connsiteY2" fmla="*/ 44387 h 62674"/>
                  <a:gd name="connsiteX3" fmla="*/ 6477 w 53149"/>
                  <a:gd name="connsiteY3" fmla="*/ 29813 h 62674"/>
                  <a:gd name="connsiteX4" fmla="*/ 23908 w 53149"/>
                  <a:gd name="connsiteY4" fmla="*/ 25051 h 62674"/>
                  <a:gd name="connsiteX5" fmla="*/ 36957 w 53149"/>
                  <a:gd name="connsiteY5" fmla="*/ 24860 h 62674"/>
                  <a:gd name="connsiteX6" fmla="*/ 36957 w 53149"/>
                  <a:gd name="connsiteY6" fmla="*/ 22003 h 62674"/>
                  <a:gd name="connsiteX7" fmla="*/ 34290 w 53149"/>
                  <a:gd name="connsiteY7" fmla="*/ 14288 h 62674"/>
                  <a:gd name="connsiteX8" fmla="*/ 27051 w 53149"/>
                  <a:gd name="connsiteY8" fmla="*/ 12097 h 62674"/>
                  <a:gd name="connsiteX9" fmla="*/ 10763 w 53149"/>
                  <a:gd name="connsiteY9" fmla="*/ 19431 h 62674"/>
                  <a:gd name="connsiteX10" fmla="*/ 3334 w 53149"/>
                  <a:gd name="connsiteY10" fmla="*/ 9620 h 62674"/>
                  <a:gd name="connsiteX11" fmla="*/ 27908 w 53149"/>
                  <a:gd name="connsiteY11" fmla="*/ 0 h 62674"/>
                  <a:gd name="connsiteX12" fmla="*/ 46196 w 53149"/>
                  <a:gd name="connsiteY12" fmla="*/ 5620 h 62674"/>
                  <a:gd name="connsiteX13" fmla="*/ 52673 w 53149"/>
                  <a:gd name="connsiteY13" fmla="*/ 21622 h 62674"/>
                  <a:gd name="connsiteX14" fmla="*/ 52673 w 53149"/>
                  <a:gd name="connsiteY14" fmla="*/ 43720 h 62674"/>
                  <a:gd name="connsiteX15" fmla="*/ 53149 w 53149"/>
                  <a:gd name="connsiteY15" fmla="*/ 61532 h 62674"/>
                  <a:gd name="connsiteX16" fmla="*/ 38290 w 53149"/>
                  <a:gd name="connsiteY16" fmla="*/ 61532 h 62674"/>
                  <a:gd name="connsiteX17" fmla="*/ 37909 w 53149"/>
                  <a:gd name="connsiteY17" fmla="*/ 53054 h 62674"/>
                  <a:gd name="connsiteX18" fmla="*/ 37529 w 53149"/>
                  <a:gd name="connsiteY18" fmla="*/ 53054 h 62674"/>
                  <a:gd name="connsiteX19" fmla="*/ 29813 w 53149"/>
                  <a:gd name="connsiteY19" fmla="*/ 60198 h 62674"/>
                  <a:gd name="connsiteX20" fmla="*/ 18764 w 53149"/>
                  <a:gd name="connsiteY20" fmla="*/ 62675 h 62674"/>
                  <a:gd name="connsiteX21" fmla="*/ 8954 w 53149"/>
                  <a:gd name="connsiteY21" fmla="*/ 60579 h 62674"/>
                  <a:gd name="connsiteX22" fmla="*/ 30575 w 53149"/>
                  <a:gd name="connsiteY22" fmla="*/ 48768 h 62674"/>
                  <a:gd name="connsiteX23" fmla="*/ 35338 w 53149"/>
                  <a:gd name="connsiteY23" fmla="*/ 43910 h 62674"/>
                  <a:gd name="connsiteX24" fmla="*/ 37052 w 53149"/>
                  <a:gd name="connsiteY24" fmla="*/ 37529 h 62674"/>
                  <a:gd name="connsiteX25" fmla="*/ 37052 w 53149"/>
                  <a:gd name="connsiteY25" fmla="*/ 34481 h 62674"/>
                  <a:gd name="connsiteX26" fmla="*/ 28956 w 53149"/>
                  <a:gd name="connsiteY26" fmla="*/ 34481 h 62674"/>
                  <a:gd name="connsiteX27" fmla="*/ 22288 w 53149"/>
                  <a:gd name="connsiteY27" fmla="*/ 35433 h 62674"/>
                  <a:gd name="connsiteX28" fmla="*/ 18097 w 53149"/>
                  <a:gd name="connsiteY28" fmla="*/ 37814 h 62674"/>
                  <a:gd name="connsiteX29" fmla="*/ 16478 w 53149"/>
                  <a:gd name="connsiteY29" fmla="*/ 43053 h 62674"/>
                  <a:gd name="connsiteX30" fmla="*/ 18479 w 53149"/>
                  <a:gd name="connsiteY30" fmla="*/ 48673 h 62674"/>
                  <a:gd name="connsiteX31" fmla="*/ 23813 w 53149"/>
                  <a:gd name="connsiteY31" fmla="*/ 50578 h 62674"/>
                  <a:gd name="connsiteX32" fmla="*/ 30671 w 53149"/>
                  <a:gd name="connsiteY32" fmla="*/ 48768 h 62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53149" h="62674">
                    <a:moveTo>
                      <a:pt x="8954" y="60389"/>
                    </a:moveTo>
                    <a:cubicBezTo>
                      <a:pt x="6191" y="58960"/>
                      <a:pt x="4000" y="56864"/>
                      <a:pt x="2381" y="54197"/>
                    </a:cubicBezTo>
                    <a:cubicBezTo>
                      <a:pt x="762" y="51530"/>
                      <a:pt x="0" y="48197"/>
                      <a:pt x="0" y="44387"/>
                    </a:cubicBezTo>
                    <a:cubicBezTo>
                      <a:pt x="0" y="37719"/>
                      <a:pt x="2191" y="32861"/>
                      <a:pt x="6477" y="29813"/>
                    </a:cubicBezTo>
                    <a:cubicBezTo>
                      <a:pt x="10763" y="26766"/>
                      <a:pt x="16573" y="25241"/>
                      <a:pt x="23908" y="25051"/>
                    </a:cubicBezTo>
                    <a:lnTo>
                      <a:pt x="36957" y="24860"/>
                    </a:lnTo>
                    <a:lnTo>
                      <a:pt x="36957" y="22003"/>
                    </a:lnTo>
                    <a:cubicBezTo>
                      <a:pt x="36957" y="18288"/>
                      <a:pt x="36100" y="15716"/>
                      <a:pt x="34290" y="14288"/>
                    </a:cubicBezTo>
                    <a:cubicBezTo>
                      <a:pt x="32480" y="12859"/>
                      <a:pt x="30099" y="12097"/>
                      <a:pt x="27051" y="12097"/>
                    </a:cubicBezTo>
                    <a:cubicBezTo>
                      <a:pt x="21717" y="12097"/>
                      <a:pt x="16288" y="14573"/>
                      <a:pt x="10763" y="19431"/>
                    </a:cubicBezTo>
                    <a:lnTo>
                      <a:pt x="3334" y="9620"/>
                    </a:lnTo>
                    <a:cubicBezTo>
                      <a:pt x="10573" y="3239"/>
                      <a:pt x="18764" y="0"/>
                      <a:pt x="27908" y="0"/>
                    </a:cubicBezTo>
                    <a:cubicBezTo>
                      <a:pt x="35719" y="0"/>
                      <a:pt x="41815" y="1905"/>
                      <a:pt x="46196" y="5620"/>
                    </a:cubicBezTo>
                    <a:cubicBezTo>
                      <a:pt x="50578" y="9335"/>
                      <a:pt x="52673" y="14669"/>
                      <a:pt x="52673" y="21622"/>
                    </a:cubicBezTo>
                    <a:lnTo>
                      <a:pt x="52673" y="43720"/>
                    </a:lnTo>
                    <a:cubicBezTo>
                      <a:pt x="52673" y="50387"/>
                      <a:pt x="52864" y="56293"/>
                      <a:pt x="53149" y="61532"/>
                    </a:cubicBezTo>
                    <a:lnTo>
                      <a:pt x="38290" y="61532"/>
                    </a:lnTo>
                    <a:cubicBezTo>
                      <a:pt x="38005" y="58865"/>
                      <a:pt x="37909" y="56102"/>
                      <a:pt x="37909" y="53054"/>
                    </a:cubicBezTo>
                    <a:lnTo>
                      <a:pt x="37529" y="53054"/>
                    </a:lnTo>
                    <a:cubicBezTo>
                      <a:pt x="35528" y="56102"/>
                      <a:pt x="32956" y="58484"/>
                      <a:pt x="29813" y="60198"/>
                    </a:cubicBezTo>
                    <a:cubicBezTo>
                      <a:pt x="26670" y="61913"/>
                      <a:pt x="22955" y="62675"/>
                      <a:pt x="18764" y="62675"/>
                    </a:cubicBezTo>
                    <a:cubicBezTo>
                      <a:pt x="15049" y="62675"/>
                      <a:pt x="11811" y="62008"/>
                      <a:pt x="8954" y="60579"/>
                    </a:cubicBezTo>
                    <a:close/>
                    <a:moveTo>
                      <a:pt x="30575" y="48768"/>
                    </a:moveTo>
                    <a:cubicBezTo>
                      <a:pt x="32575" y="47530"/>
                      <a:pt x="34195" y="45911"/>
                      <a:pt x="35338" y="43910"/>
                    </a:cubicBezTo>
                    <a:cubicBezTo>
                      <a:pt x="36481" y="41910"/>
                      <a:pt x="37052" y="39815"/>
                      <a:pt x="37052" y="37529"/>
                    </a:cubicBezTo>
                    <a:lnTo>
                      <a:pt x="37052" y="34481"/>
                    </a:lnTo>
                    <a:lnTo>
                      <a:pt x="28956" y="34481"/>
                    </a:lnTo>
                    <a:cubicBezTo>
                      <a:pt x="26194" y="34766"/>
                      <a:pt x="24003" y="35052"/>
                      <a:pt x="22288" y="35433"/>
                    </a:cubicBezTo>
                    <a:cubicBezTo>
                      <a:pt x="20574" y="35814"/>
                      <a:pt x="19145" y="36576"/>
                      <a:pt x="18097" y="37814"/>
                    </a:cubicBezTo>
                    <a:cubicBezTo>
                      <a:pt x="17050" y="39053"/>
                      <a:pt x="16478" y="40767"/>
                      <a:pt x="16478" y="43053"/>
                    </a:cubicBezTo>
                    <a:cubicBezTo>
                      <a:pt x="16478" y="45339"/>
                      <a:pt x="17145" y="47339"/>
                      <a:pt x="18479" y="48673"/>
                    </a:cubicBezTo>
                    <a:cubicBezTo>
                      <a:pt x="19812" y="50006"/>
                      <a:pt x="21622" y="50578"/>
                      <a:pt x="23813" y="50578"/>
                    </a:cubicBezTo>
                    <a:cubicBezTo>
                      <a:pt x="26384" y="50578"/>
                      <a:pt x="28670" y="50006"/>
                      <a:pt x="30671" y="48768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30" name="Freeform: Shape 163">
                <a:extLst>
                  <a:ext uri="{FF2B5EF4-FFF2-40B4-BE49-F238E27FC236}">
                    <a16:creationId xmlns:a16="http://schemas.microsoft.com/office/drawing/2014/main" id="{6D0A4C8A-0DC6-057A-2C3A-1DBF40FF21C0}"/>
                  </a:ext>
                </a:extLst>
              </p:cNvPr>
              <p:cNvSpPr/>
              <p:nvPr/>
            </p:nvSpPr>
            <p:spPr>
              <a:xfrm>
                <a:off x="4760499" y="3939254"/>
                <a:ext cx="55149" cy="61721"/>
              </a:xfrm>
              <a:custGeom>
                <a:avLst/>
                <a:gdLst>
                  <a:gd name="connsiteX0" fmla="*/ 381 w 55149"/>
                  <a:gd name="connsiteY0" fmla="*/ 14668 h 61721"/>
                  <a:gd name="connsiteX1" fmla="*/ 286 w 55149"/>
                  <a:gd name="connsiteY1" fmla="*/ 6763 h 61721"/>
                  <a:gd name="connsiteX2" fmla="*/ 0 w 55149"/>
                  <a:gd name="connsiteY2" fmla="*/ 1238 h 61721"/>
                  <a:gd name="connsiteX3" fmla="*/ 14954 w 55149"/>
                  <a:gd name="connsiteY3" fmla="*/ 1238 h 61721"/>
                  <a:gd name="connsiteX4" fmla="*/ 15430 w 55149"/>
                  <a:gd name="connsiteY4" fmla="*/ 6191 h 61721"/>
                  <a:gd name="connsiteX5" fmla="*/ 15716 w 55149"/>
                  <a:gd name="connsiteY5" fmla="*/ 12097 h 61721"/>
                  <a:gd name="connsiteX6" fmla="*/ 15907 w 55149"/>
                  <a:gd name="connsiteY6" fmla="*/ 12097 h 61721"/>
                  <a:gd name="connsiteX7" fmla="*/ 23908 w 55149"/>
                  <a:gd name="connsiteY7" fmla="*/ 2953 h 61721"/>
                  <a:gd name="connsiteX8" fmla="*/ 35338 w 55149"/>
                  <a:gd name="connsiteY8" fmla="*/ 0 h 61721"/>
                  <a:gd name="connsiteX9" fmla="*/ 50387 w 55149"/>
                  <a:gd name="connsiteY9" fmla="*/ 6382 h 61721"/>
                  <a:gd name="connsiteX10" fmla="*/ 55150 w 55149"/>
                  <a:gd name="connsiteY10" fmla="*/ 23336 h 61721"/>
                  <a:gd name="connsiteX11" fmla="*/ 55150 w 55149"/>
                  <a:gd name="connsiteY11" fmla="*/ 61627 h 61721"/>
                  <a:gd name="connsiteX12" fmla="*/ 39529 w 55149"/>
                  <a:gd name="connsiteY12" fmla="*/ 61627 h 61721"/>
                  <a:gd name="connsiteX13" fmla="*/ 39529 w 55149"/>
                  <a:gd name="connsiteY13" fmla="*/ 27813 h 61721"/>
                  <a:gd name="connsiteX14" fmla="*/ 37243 w 55149"/>
                  <a:gd name="connsiteY14" fmla="*/ 17240 h 61721"/>
                  <a:gd name="connsiteX15" fmla="*/ 29337 w 55149"/>
                  <a:gd name="connsiteY15" fmla="*/ 13525 h 61721"/>
                  <a:gd name="connsiteX16" fmla="*/ 22574 w 55149"/>
                  <a:gd name="connsiteY16" fmla="*/ 15526 h 61721"/>
                  <a:gd name="connsiteX17" fmla="*/ 17812 w 55149"/>
                  <a:gd name="connsiteY17" fmla="*/ 21146 h 61721"/>
                  <a:gd name="connsiteX18" fmla="*/ 16097 w 55149"/>
                  <a:gd name="connsiteY18" fmla="*/ 29337 h 61721"/>
                  <a:gd name="connsiteX19" fmla="*/ 16097 w 55149"/>
                  <a:gd name="connsiteY19" fmla="*/ 61722 h 61721"/>
                  <a:gd name="connsiteX20" fmla="*/ 381 w 55149"/>
                  <a:gd name="connsiteY20" fmla="*/ 61722 h 61721"/>
                  <a:gd name="connsiteX21" fmla="*/ 381 w 55149"/>
                  <a:gd name="connsiteY21" fmla="*/ 14859 h 617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55149" h="61721">
                    <a:moveTo>
                      <a:pt x="381" y="14668"/>
                    </a:moveTo>
                    <a:cubicBezTo>
                      <a:pt x="381" y="12097"/>
                      <a:pt x="381" y="9430"/>
                      <a:pt x="286" y="6763"/>
                    </a:cubicBezTo>
                    <a:cubicBezTo>
                      <a:pt x="190" y="4096"/>
                      <a:pt x="95" y="2191"/>
                      <a:pt x="0" y="1238"/>
                    </a:cubicBezTo>
                    <a:lnTo>
                      <a:pt x="14954" y="1238"/>
                    </a:lnTo>
                    <a:cubicBezTo>
                      <a:pt x="15145" y="2096"/>
                      <a:pt x="15240" y="3715"/>
                      <a:pt x="15430" y="6191"/>
                    </a:cubicBezTo>
                    <a:cubicBezTo>
                      <a:pt x="15621" y="8668"/>
                      <a:pt x="15716" y="10668"/>
                      <a:pt x="15716" y="12097"/>
                    </a:cubicBezTo>
                    <a:lnTo>
                      <a:pt x="15907" y="12097"/>
                    </a:lnTo>
                    <a:cubicBezTo>
                      <a:pt x="18002" y="8001"/>
                      <a:pt x="20669" y="4953"/>
                      <a:pt x="23908" y="2953"/>
                    </a:cubicBezTo>
                    <a:cubicBezTo>
                      <a:pt x="27146" y="953"/>
                      <a:pt x="30956" y="0"/>
                      <a:pt x="35338" y="0"/>
                    </a:cubicBezTo>
                    <a:cubicBezTo>
                      <a:pt x="42196" y="0"/>
                      <a:pt x="47244" y="2096"/>
                      <a:pt x="50387" y="6382"/>
                    </a:cubicBezTo>
                    <a:cubicBezTo>
                      <a:pt x="53530" y="10668"/>
                      <a:pt x="55150" y="16288"/>
                      <a:pt x="55150" y="23336"/>
                    </a:cubicBezTo>
                    <a:lnTo>
                      <a:pt x="55150" y="61627"/>
                    </a:lnTo>
                    <a:lnTo>
                      <a:pt x="39529" y="61627"/>
                    </a:lnTo>
                    <a:lnTo>
                      <a:pt x="39529" y="27813"/>
                    </a:lnTo>
                    <a:cubicBezTo>
                      <a:pt x="39529" y="23241"/>
                      <a:pt x="38767" y="19717"/>
                      <a:pt x="37243" y="17240"/>
                    </a:cubicBezTo>
                    <a:cubicBezTo>
                      <a:pt x="35719" y="14764"/>
                      <a:pt x="33052" y="13525"/>
                      <a:pt x="29337" y="13525"/>
                    </a:cubicBezTo>
                    <a:cubicBezTo>
                      <a:pt x="26765" y="13525"/>
                      <a:pt x="24574" y="14192"/>
                      <a:pt x="22574" y="15526"/>
                    </a:cubicBezTo>
                    <a:cubicBezTo>
                      <a:pt x="20574" y="16859"/>
                      <a:pt x="18955" y="18669"/>
                      <a:pt x="17812" y="21146"/>
                    </a:cubicBezTo>
                    <a:cubicBezTo>
                      <a:pt x="16669" y="23622"/>
                      <a:pt x="16097" y="26289"/>
                      <a:pt x="16097" y="29337"/>
                    </a:cubicBezTo>
                    <a:lnTo>
                      <a:pt x="16097" y="61722"/>
                    </a:lnTo>
                    <a:lnTo>
                      <a:pt x="381" y="61722"/>
                    </a:lnTo>
                    <a:lnTo>
                      <a:pt x="381" y="14859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31" name="Freeform: Shape 164">
                <a:extLst>
                  <a:ext uri="{FF2B5EF4-FFF2-40B4-BE49-F238E27FC236}">
                    <a16:creationId xmlns:a16="http://schemas.microsoft.com/office/drawing/2014/main" id="{38332154-06A9-F05B-BDE7-F3464580714B}"/>
                  </a:ext>
                </a:extLst>
              </p:cNvPr>
              <p:cNvSpPr/>
              <p:nvPr/>
            </p:nvSpPr>
            <p:spPr>
              <a:xfrm>
                <a:off x="4452747" y="4076318"/>
                <a:ext cx="54292" cy="62674"/>
              </a:xfrm>
              <a:custGeom>
                <a:avLst/>
                <a:gdLst>
                  <a:gd name="connsiteX0" fmla="*/ 13525 w 54292"/>
                  <a:gd name="connsiteY0" fmla="*/ 58865 h 62674"/>
                  <a:gd name="connsiteX1" fmla="*/ 3429 w 54292"/>
                  <a:gd name="connsiteY1" fmla="*/ 48006 h 62674"/>
                  <a:gd name="connsiteX2" fmla="*/ 0 w 54292"/>
                  <a:gd name="connsiteY2" fmla="*/ 31718 h 62674"/>
                  <a:gd name="connsiteX3" fmla="*/ 3715 w 54292"/>
                  <a:gd name="connsiteY3" fmla="*/ 14573 h 62674"/>
                  <a:gd name="connsiteX4" fmla="*/ 14192 w 54292"/>
                  <a:gd name="connsiteY4" fmla="*/ 3715 h 62674"/>
                  <a:gd name="connsiteX5" fmla="*/ 30289 w 54292"/>
                  <a:gd name="connsiteY5" fmla="*/ 0 h 62674"/>
                  <a:gd name="connsiteX6" fmla="*/ 53530 w 54292"/>
                  <a:gd name="connsiteY6" fmla="*/ 12763 h 62674"/>
                  <a:gd name="connsiteX7" fmla="*/ 42577 w 54292"/>
                  <a:gd name="connsiteY7" fmla="*/ 20193 h 62674"/>
                  <a:gd name="connsiteX8" fmla="*/ 37338 w 54292"/>
                  <a:gd name="connsiteY8" fmla="*/ 14478 h 62674"/>
                  <a:gd name="connsiteX9" fmla="*/ 30289 w 54292"/>
                  <a:gd name="connsiteY9" fmla="*/ 12478 h 62674"/>
                  <a:gd name="connsiteX10" fmla="*/ 20002 w 54292"/>
                  <a:gd name="connsiteY10" fmla="*/ 17240 h 62674"/>
                  <a:gd name="connsiteX11" fmla="*/ 16478 w 54292"/>
                  <a:gd name="connsiteY11" fmla="*/ 30956 h 62674"/>
                  <a:gd name="connsiteX12" fmla="*/ 20098 w 54292"/>
                  <a:gd name="connsiteY12" fmla="*/ 45149 h 62674"/>
                  <a:gd name="connsiteX13" fmla="*/ 30385 w 54292"/>
                  <a:gd name="connsiteY13" fmla="*/ 50006 h 62674"/>
                  <a:gd name="connsiteX14" fmla="*/ 38100 w 54292"/>
                  <a:gd name="connsiteY14" fmla="*/ 48006 h 62674"/>
                  <a:gd name="connsiteX15" fmla="*/ 44958 w 54292"/>
                  <a:gd name="connsiteY15" fmla="*/ 42196 h 62674"/>
                  <a:gd name="connsiteX16" fmla="*/ 54292 w 54292"/>
                  <a:gd name="connsiteY16" fmla="*/ 51245 h 62674"/>
                  <a:gd name="connsiteX17" fmla="*/ 43815 w 54292"/>
                  <a:gd name="connsiteY17" fmla="*/ 59627 h 62674"/>
                  <a:gd name="connsiteX18" fmla="*/ 29718 w 54292"/>
                  <a:gd name="connsiteY18" fmla="*/ 62675 h 62674"/>
                  <a:gd name="connsiteX19" fmla="*/ 13430 w 54292"/>
                  <a:gd name="connsiteY19" fmla="*/ 58865 h 62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4292" h="62674">
                    <a:moveTo>
                      <a:pt x="13525" y="58865"/>
                    </a:moveTo>
                    <a:cubicBezTo>
                      <a:pt x="9049" y="56293"/>
                      <a:pt x="5715" y="52673"/>
                      <a:pt x="3429" y="48006"/>
                    </a:cubicBezTo>
                    <a:cubicBezTo>
                      <a:pt x="1143" y="43339"/>
                      <a:pt x="0" y="37910"/>
                      <a:pt x="0" y="31718"/>
                    </a:cubicBezTo>
                    <a:cubicBezTo>
                      <a:pt x="0" y="25051"/>
                      <a:pt x="1238" y="19336"/>
                      <a:pt x="3715" y="14573"/>
                    </a:cubicBezTo>
                    <a:cubicBezTo>
                      <a:pt x="6191" y="9811"/>
                      <a:pt x="9620" y="6191"/>
                      <a:pt x="14192" y="3715"/>
                    </a:cubicBezTo>
                    <a:cubicBezTo>
                      <a:pt x="18764" y="1238"/>
                      <a:pt x="24098" y="0"/>
                      <a:pt x="30289" y="0"/>
                    </a:cubicBezTo>
                    <a:cubicBezTo>
                      <a:pt x="40576" y="0"/>
                      <a:pt x="48387" y="4286"/>
                      <a:pt x="53530" y="12763"/>
                    </a:cubicBezTo>
                    <a:lnTo>
                      <a:pt x="42577" y="20193"/>
                    </a:lnTo>
                    <a:cubicBezTo>
                      <a:pt x="40957" y="17717"/>
                      <a:pt x="39148" y="15812"/>
                      <a:pt x="37338" y="14478"/>
                    </a:cubicBezTo>
                    <a:cubicBezTo>
                      <a:pt x="35528" y="13145"/>
                      <a:pt x="33147" y="12478"/>
                      <a:pt x="30289" y="12478"/>
                    </a:cubicBezTo>
                    <a:cubicBezTo>
                      <a:pt x="25813" y="12478"/>
                      <a:pt x="22384" y="14097"/>
                      <a:pt x="20002" y="17240"/>
                    </a:cubicBezTo>
                    <a:cubicBezTo>
                      <a:pt x="17621" y="20384"/>
                      <a:pt x="16478" y="25051"/>
                      <a:pt x="16478" y="30956"/>
                    </a:cubicBezTo>
                    <a:cubicBezTo>
                      <a:pt x="16478" y="36862"/>
                      <a:pt x="17716" y="41910"/>
                      <a:pt x="20098" y="45149"/>
                    </a:cubicBezTo>
                    <a:cubicBezTo>
                      <a:pt x="22479" y="48387"/>
                      <a:pt x="26003" y="50006"/>
                      <a:pt x="30385" y="50006"/>
                    </a:cubicBezTo>
                    <a:cubicBezTo>
                      <a:pt x="33338" y="50006"/>
                      <a:pt x="35909" y="49340"/>
                      <a:pt x="38100" y="48006"/>
                    </a:cubicBezTo>
                    <a:cubicBezTo>
                      <a:pt x="40291" y="46672"/>
                      <a:pt x="42577" y="44672"/>
                      <a:pt x="44958" y="42196"/>
                    </a:cubicBezTo>
                    <a:lnTo>
                      <a:pt x="54292" y="51245"/>
                    </a:lnTo>
                    <a:cubicBezTo>
                      <a:pt x="51435" y="54864"/>
                      <a:pt x="47911" y="57626"/>
                      <a:pt x="43815" y="59627"/>
                    </a:cubicBezTo>
                    <a:cubicBezTo>
                      <a:pt x="39719" y="61627"/>
                      <a:pt x="35052" y="62675"/>
                      <a:pt x="29718" y="62675"/>
                    </a:cubicBezTo>
                    <a:cubicBezTo>
                      <a:pt x="23336" y="62675"/>
                      <a:pt x="17907" y="61436"/>
                      <a:pt x="13430" y="58865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32" name="Freeform: Shape 165">
                <a:extLst>
                  <a:ext uri="{FF2B5EF4-FFF2-40B4-BE49-F238E27FC236}">
                    <a16:creationId xmlns:a16="http://schemas.microsoft.com/office/drawing/2014/main" id="{67987286-9059-D104-620A-4D20C8EB4DC2}"/>
                  </a:ext>
                </a:extLst>
              </p:cNvPr>
              <p:cNvSpPr/>
              <p:nvPr/>
            </p:nvSpPr>
            <p:spPr>
              <a:xfrm>
                <a:off x="4511992" y="4076509"/>
                <a:ext cx="53149" cy="62674"/>
              </a:xfrm>
              <a:custGeom>
                <a:avLst/>
                <a:gdLst>
                  <a:gd name="connsiteX0" fmla="*/ 8954 w 53149"/>
                  <a:gd name="connsiteY0" fmla="*/ 60388 h 62674"/>
                  <a:gd name="connsiteX1" fmla="*/ 2381 w 53149"/>
                  <a:gd name="connsiteY1" fmla="*/ 54197 h 62674"/>
                  <a:gd name="connsiteX2" fmla="*/ 0 w 53149"/>
                  <a:gd name="connsiteY2" fmla="*/ 44387 h 62674"/>
                  <a:gd name="connsiteX3" fmla="*/ 6477 w 53149"/>
                  <a:gd name="connsiteY3" fmla="*/ 29813 h 62674"/>
                  <a:gd name="connsiteX4" fmla="*/ 23908 w 53149"/>
                  <a:gd name="connsiteY4" fmla="*/ 25051 h 62674"/>
                  <a:gd name="connsiteX5" fmla="*/ 36957 w 53149"/>
                  <a:gd name="connsiteY5" fmla="*/ 24860 h 62674"/>
                  <a:gd name="connsiteX6" fmla="*/ 36957 w 53149"/>
                  <a:gd name="connsiteY6" fmla="*/ 22003 h 62674"/>
                  <a:gd name="connsiteX7" fmla="*/ 34290 w 53149"/>
                  <a:gd name="connsiteY7" fmla="*/ 14288 h 62674"/>
                  <a:gd name="connsiteX8" fmla="*/ 27051 w 53149"/>
                  <a:gd name="connsiteY8" fmla="*/ 12097 h 62674"/>
                  <a:gd name="connsiteX9" fmla="*/ 10763 w 53149"/>
                  <a:gd name="connsiteY9" fmla="*/ 19431 h 62674"/>
                  <a:gd name="connsiteX10" fmla="*/ 3334 w 53149"/>
                  <a:gd name="connsiteY10" fmla="*/ 9620 h 62674"/>
                  <a:gd name="connsiteX11" fmla="*/ 27908 w 53149"/>
                  <a:gd name="connsiteY11" fmla="*/ 0 h 62674"/>
                  <a:gd name="connsiteX12" fmla="*/ 46196 w 53149"/>
                  <a:gd name="connsiteY12" fmla="*/ 5620 h 62674"/>
                  <a:gd name="connsiteX13" fmla="*/ 52673 w 53149"/>
                  <a:gd name="connsiteY13" fmla="*/ 21622 h 62674"/>
                  <a:gd name="connsiteX14" fmla="*/ 52673 w 53149"/>
                  <a:gd name="connsiteY14" fmla="*/ 43720 h 62674"/>
                  <a:gd name="connsiteX15" fmla="*/ 53149 w 53149"/>
                  <a:gd name="connsiteY15" fmla="*/ 61531 h 62674"/>
                  <a:gd name="connsiteX16" fmla="*/ 38290 w 53149"/>
                  <a:gd name="connsiteY16" fmla="*/ 61531 h 62674"/>
                  <a:gd name="connsiteX17" fmla="*/ 37909 w 53149"/>
                  <a:gd name="connsiteY17" fmla="*/ 53054 h 62674"/>
                  <a:gd name="connsiteX18" fmla="*/ 37529 w 53149"/>
                  <a:gd name="connsiteY18" fmla="*/ 53054 h 62674"/>
                  <a:gd name="connsiteX19" fmla="*/ 29813 w 53149"/>
                  <a:gd name="connsiteY19" fmla="*/ 60198 h 62674"/>
                  <a:gd name="connsiteX20" fmla="*/ 18764 w 53149"/>
                  <a:gd name="connsiteY20" fmla="*/ 62674 h 62674"/>
                  <a:gd name="connsiteX21" fmla="*/ 8954 w 53149"/>
                  <a:gd name="connsiteY21" fmla="*/ 60579 h 62674"/>
                  <a:gd name="connsiteX22" fmla="*/ 30575 w 53149"/>
                  <a:gd name="connsiteY22" fmla="*/ 48768 h 62674"/>
                  <a:gd name="connsiteX23" fmla="*/ 35338 w 53149"/>
                  <a:gd name="connsiteY23" fmla="*/ 43910 h 62674"/>
                  <a:gd name="connsiteX24" fmla="*/ 37052 w 53149"/>
                  <a:gd name="connsiteY24" fmla="*/ 37529 h 62674"/>
                  <a:gd name="connsiteX25" fmla="*/ 37052 w 53149"/>
                  <a:gd name="connsiteY25" fmla="*/ 34480 h 62674"/>
                  <a:gd name="connsiteX26" fmla="*/ 28956 w 53149"/>
                  <a:gd name="connsiteY26" fmla="*/ 34480 h 62674"/>
                  <a:gd name="connsiteX27" fmla="*/ 22288 w 53149"/>
                  <a:gd name="connsiteY27" fmla="*/ 35433 h 62674"/>
                  <a:gd name="connsiteX28" fmla="*/ 18097 w 53149"/>
                  <a:gd name="connsiteY28" fmla="*/ 37814 h 62674"/>
                  <a:gd name="connsiteX29" fmla="*/ 16478 w 53149"/>
                  <a:gd name="connsiteY29" fmla="*/ 43053 h 62674"/>
                  <a:gd name="connsiteX30" fmla="*/ 18479 w 53149"/>
                  <a:gd name="connsiteY30" fmla="*/ 48673 h 62674"/>
                  <a:gd name="connsiteX31" fmla="*/ 23813 w 53149"/>
                  <a:gd name="connsiteY31" fmla="*/ 50578 h 62674"/>
                  <a:gd name="connsiteX32" fmla="*/ 30671 w 53149"/>
                  <a:gd name="connsiteY32" fmla="*/ 48768 h 62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53149" h="62674">
                    <a:moveTo>
                      <a:pt x="8954" y="60388"/>
                    </a:moveTo>
                    <a:cubicBezTo>
                      <a:pt x="6191" y="58960"/>
                      <a:pt x="4000" y="56864"/>
                      <a:pt x="2381" y="54197"/>
                    </a:cubicBezTo>
                    <a:cubicBezTo>
                      <a:pt x="762" y="51530"/>
                      <a:pt x="0" y="48196"/>
                      <a:pt x="0" y="44387"/>
                    </a:cubicBezTo>
                    <a:cubicBezTo>
                      <a:pt x="0" y="37719"/>
                      <a:pt x="2191" y="32861"/>
                      <a:pt x="6477" y="29813"/>
                    </a:cubicBezTo>
                    <a:cubicBezTo>
                      <a:pt x="10763" y="26765"/>
                      <a:pt x="16573" y="25241"/>
                      <a:pt x="23908" y="25051"/>
                    </a:cubicBezTo>
                    <a:lnTo>
                      <a:pt x="36957" y="24860"/>
                    </a:lnTo>
                    <a:lnTo>
                      <a:pt x="36957" y="22003"/>
                    </a:lnTo>
                    <a:cubicBezTo>
                      <a:pt x="36957" y="18288"/>
                      <a:pt x="36100" y="15716"/>
                      <a:pt x="34290" y="14288"/>
                    </a:cubicBezTo>
                    <a:cubicBezTo>
                      <a:pt x="32480" y="12859"/>
                      <a:pt x="30099" y="12097"/>
                      <a:pt x="27051" y="12097"/>
                    </a:cubicBezTo>
                    <a:cubicBezTo>
                      <a:pt x="21717" y="12097"/>
                      <a:pt x="16288" y="14573"/>
                      <a:pt x="10763" y="19431"/>
                    </a:cubicBezTo>
                    <a:lnTo>
                      <a:pt x="3334" y="9620"/>
                    </a:lnTo>
                    <a:cubicBezTo>
                      <a:pt x="10573" y="3238"/>
                      <a:pt x="18764" y="0"/>
                      <a:pt x="27908" y="0"/>
                    </a:cubicBezTo>
                    <a:cubicBezTo>
                      <a:pt x="35719" y="0"/>
                      <a:pt x="41815" y="1905"/>
                      <a:pt x="46196" y="5620"/>
                    </a:cubicBezTo>
                    <a:cubicBezTo>
                      <a:pt x="50578" y="9334"/>
                      <a:pt x="52673" y="14668"/>
                      <a:pt x="52673" y="21622"/>
                    </a:cubicBezTo>
                    <a:lnTo>
                      <a:pt x="52673" y="43720"/>
                    </a:lnTo>
                    <a:cubicBezTo>
                      <a:pt x="52673" y="50387"/>
                      <a:pt x="52864" y="56293"/>
                      <a:pt x="53149" y="61531"/>
                    </a:cubicBezTo>
                    <a:lnTo>
                      <a:pt x="38290" y="61531"/>
                    </a:lnTo>
                    <a:cubicBezTo>
                      <a:pt x="38005" y="58864"/>
                      <a:pt x="37909" y="56102"/>
                      <a:pt x="37909" y="53054"/>
                    </a:cubicBezTo>
                    <a:lnTo>
                      <a:pt x="37529" y="53054"/>
                    </a:lnTo>
                    <a:cubicBezTo>
                      <a:pt x="35528" y="56102"/>
                      <a:pt x="32956" y="58483"/>
                      <a:pt x="29813" y="60198"/>
                    </a:cubicBezTo>
                    <a:cubicBezTo>
                      <a:pt x="26670" y="61913"/>
                      <a:pt x="22955" y="62674"/>
                      <a:pt x="18764" y="62674"/>
                    </a:cubicBezTo>
                    <a:cubicBezTo>
                      <a:pt x="15049" y="62674"/>
                      <a:pt x="11811" y="62008"/>
                      <a:pt x="8954" y="60579"/>
                    </a:cubicBezTo>
                    <a:close/>
                    <a:moveTo>
                      <a:pt x="30575" y="48768"/>
                    </a:moveTo>
                    <a:cubicBezTo>
                      <a:pt x="32575" y="47530"/>
                      <a:pt x="34195" y="45910"/>
                      <a:pt x="35338" y="43910"/>
                    </a:cubicBezTo>
                    <a:cubicBezTo>
                      <a:pt x="36481" y="41910"/>
                      <a:pt x="37052" y="39814"/>
                      <a:pt x="37052" y="37529"/>
                    </a:cubicBezTo>
                    <a:lnTo>
                      <a:pt x="37052" y="34480"/>
                    </a:lnTo>
                    <a:lnTo>
                      <a:pt x="28956" y="34480"/>
                    </a:lnTo>
                    <a:cubicBezTo>
                      <a:pt x="26194" y="34766"/>
                      <a:pt x="24003" y="35052"/>
                      <a:pt x="22288" y="35433"/>
                    </a:cubicBezTo>
                    <a:cubicBezTo>
                      <a:pt x="20574" y="35814"/>
                      <a:pt x="19145" y="36576"/>
                      <a:pt x="18097" y="37814"/>
                    </a:cubicBezTo>
                    <a:cubicBezTo>
                      <a:pt x="17050" y="39052"/>
                      <a:pt x="16478" y="40767"/>
                      <a:pt x="16478" y="43053"/>
                    </a:cubicBezTo>
                    <a:cubicBezTo>
                      <a:pt x="16478" y="45339"/>
                      <a:pt x="17145" y="47339"/>
                      <a:pt x="18479" y="48673"/>
                    </a:cubicBezTo>
                    <a:cubicBezTo>
                      <a:pt x="19812" y="50006"/>
                      <a:pt x="21622" y="50578"/>
                      <a:pt x="23813" y="50578"/>
                    </a:cubicBezTo>
                    <a:cubicBezTo>
                      <a:pt x="26384" y="50578"/>
                      <a:pt x="28670" y="50006"/>
                      <a:pt x="30671" y="48768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33" name="Freeform: Shape 166">
                <a:extLst>
                  <a:ext uri="{FF2B5EF4-FFF2-40B4-BE49-F238E27FC236}">
                    <a16:creationId xmlns:a16="http://schemas.microsoft.com/office/drawing/2014/main" id="{82369EFC-5457-7B90-AA11-A7070A558746}"/>
                  </a:ext>
                </a:extLst>
              </p:cNvPr>
              <p:cNvSpPr/>
              <p:nvPr/>
            </p:nvSpPr>
            <p:spPr>
              <a:xfrm>
                <a:off x="4579429" y="4076318"/>
                <a:ext cx="58292" cy="85344"/>
              </a:xfrm>
              <a:custGeom>
                <a:avLst/>
                <a:gdLst>
                  <a:gd name="connsiteX0" fmla="*/ 476 w 58292"/>
                  <a:gd name="connsiteY0" fmla="*/ 15050 h 85344"/>
                  <a:gd name="connsiteX1" fmla="*/ 0 w 58292"/>
                  <a:gd name="connsiteY1" fmla="*/ 1238 h 85344"/>
                  <a:gd name="connsiteX2" fmla="*/ 15240 w 58292"/>
                  <a:gd name="connsiteY2" fmla="*/ 1238 h 85344"/>
                  <a:gd name="connsiteX3" fmla="*/ 15716 w 58292"/>
                  <a:gd name="connsiteY3" fmla="*/ 4763 h 85344"/>
                  <a:gd name="connsiteX4" fmla="*/ 15907 w 58292"/>
                  <a:gd name="connsiteY4" fmla="*/ 9906 h 85344"/>
                  <a:gd name="connsiteX5" fmla="*/ 16097 w 58292"/>
                  <a:gd name="connsiteY5" fmla="*/ 9906 h 85344"/>
                  <a:gd name="connsiteX6" fmla="*/ 35338 w 58292"/>
                  <a:gd name="connsiteY6" fmla="*/ 0 h 85344"/>
                  <a:gd name="connsiteX7" fmla="*/ 47815 w 58292"/>
                  <a:gd name="connsiteY7" fmla="*/ 4001 h 85344"/>
                  <a:gd name="connsiteX8" fmla="*/ 55626 w 58292"/>
                  <a:gd name="connsiteY8" fmla="*/ 14954 h 85344"/>
                  <a:gd name="connsiteX9" fmla="*/ 58293 w 58292"/>
                  <a:gd name="connsiteY9" fmla="*/ 31052 h 85344"/>
                  <a:gd name="connsiteX10" fmla="*/ 55436 w 58292"/>
                  <a:gd name="connsiteY10" fmla="*/ 47530 h 85344"/>
                  <a:gd name="connsiteX11" fmla="*/ 47054 w 58292"/>
                  <a:gd name="connsiteY11" fmla="*/ 58674 h 85344"/>
                  <a:gd name="connsiteX12" fmla="*/ 34004 w 58292"/>
                  <a:gd name="connsiteY12" fmla="*/ 62675 h 85344"/>
                  <a:gd name="connsiteX13" fmla="*/ 23622 w 58292"/>
                  <a:gd name="connsiteY13" fmla="*/ 60388 h 85344"/>
                  <a:gd name="connsiteX14" fmla="*/ 16193 w 58292"/>
                  <a:gd name="connsiteY14" fmla="*/ 53054 h 85344"/>
                  <a:gd name="connsiteX15" fmla="*/ 15812 w 58292"/>
                  <a:gd name="connsiteY15" fmla="*/ 53054 h 85344"/>
                  <a:gd name="connsiteX16" fmla="*/ 16002 w 58292"/>
                  <a:gd name="connsiteY16" fmla="*/ 56674 h 85344"/>
                  <a:gd name="connsiteX17" fmla="*/ 16097 w 58292"/>
                  <a:gd name="connsiteY17" fmla="*/ 62103 h 85344"/>
                  <a:gd name="connsiteX18" fmla="*/ 16097 w 58292"/>
                  <a:gd name="connsiteY18" fmla="*/ 85344 h 85344"/>
                  <a:gd name="connsiteX19" fmla="*/ 381 w 58292"/>
                  <a:gd name="connsiteY19" fmla="*/ 85344 h 85344"/>
                  <a:gd name="connsiteX20" fmla="*/ 381 w 58292"/>
                  <a:gd name="connsiteY20" fmla="*/ 15050 h 85344"/>
                  <a:gd name="connsiteX21" fmla="*/ 38481 w 58292"/>
                  <a:gd name="connsiteY21" fmla="*/ 45529 h 85344"/>
                  <a:gd name="connsiteX22" fmla="*/ 41910 w 58292"/>
                  <a:gd name="connsiteY22" fmla="*/ 31052 h 85344"/>
                  <a:gd name="connsiteX23" fmla="*/ 38576 w 58292"/>
                  <a:gd name="connsiteY23" fmla="*/ 17240 h 85344"/>
                  <a:gd name="connsiteX24" fmla="*/ 29432 w 58292"/>
                  <a:gd name="connsiteY24" fmla="*/ 12573 h 85344"/>
                  <a:gd name="connsiteX25" fmla="*/ 22860 w 58292"/>
                  <a:gd name="connsiteY25" fmla="*/ 14383 h 85344"/>
                  <a:gd name="connsiteX26" fmla="*/ 17907 w 58292"/>
                  <a:gd name="connsiteY26" fmla="*/ 20384 h 85344"/>
                  <a:gd name="connsiteX27" fmla="*/ 15907 w 58292"/>
                  <a:gd name="connsiteY27" fmla="*/ 31528 h 85344"/>
                  <a:gd name="connsiteX28" fmla="*/ 17812 w 58292"/>
                  <a:gd name="connsiteY28" fmla="*/ 42482 h 85344"/>
                  <a:gd name="connsiteX29" fmla="*/ 22765 w 58292"/>
                  <a:gd name="connsiteY29" fmla="*/ 48482 h 85344"/>
                  <a:gd name="connsiteX30" fmla="*/ 29242 w 58292"/>
                  <a:gd name="connsiteY30" fmla="*/ 50292 h 85344"/>
                  <a:gd name="connsiteX31" fmla="*/ 38386 w 58292"/>
                  <a:gd name="connsiteY31" fmla="*/ 45529 h 853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58292" h="85344">
                    <a:moveTo>
                      <a:pt x="476" y="15050"/>
                    </a:moveTo>
                    <a:cubicBezTo>
                      <a:pt x="476" y="9335"/>
                      <a:pt x="286" y="4763"/>
                      <a:pt x="0" y="1238"/>
                    </a:cubicBezTo>
                    <a:lnTo>
                      <a:pt x="15240" y="1238"/>
                    </a:lnTo>
                    <a:cubicBezTo>
                      <a:pt x="15240" y="1238"/>
                      <a:pt x="15526" y="2762"/>
                      <a:pt x="15716" y="4763"/>
                    </a:cubicBezTo>
                    <a:cubicBezTo>
                      <a:pt x="15907" y="6763"/>
                      <a:pt x="15907" y="8477"/>
                      <a:pt x="15907" y="9906"/>
                    </a:cubicBezTo>
                    <a:lnTo>
                      <a:pt x="16097" y="9906"/>
                    </a:lnTo>
                    <a:cubicBezTo>
                      <a:pt x="20098" y="3238"/>
                      <a:pt x="26479" y="0"/>
                      <a:pt x="35338" y="0"/>
                    </a:cubicBezTo>
                    <a:cubicBezTo>
                      <a:pt x="40196" y="0"/>
                      <a:pt x="44387" y="1334"/>
                      <a:pt x="47815" y="4001"/>
                    </a:cubicBezTo>
                    <a:cubicBezTo>
                      <a:pt x="51245" y="6668"/>
                      <a:pt x="53816" y="10287"/>
                      <a:pt x="55626" y="14954"/>
                    </a:cubicBezTo>
                    <a:cubicBezTo>
                      <a:pt x="57436" y="19621"/>
                      <a:pt x="58293" y="24955"/>
                      <a:pt x="58293" y="31052"/>
                    </a:cubicBezTo>
                    <a:cubicBezTo>
                      <a:pt x="58293" y="37147"/>
                      <a:pt x="57340" y="42672"/>
                      <a:pt x="55436" y="47530"/>
                    </a:cubicBezTo>
                    <a:cubicBezTo>
                      <a:pt x="53530" y="52388"/>
                      <a:pt x="50768" y="56007"/>
                      <a:pt x="47054" y="58674"/>
                    </a:cubicBezTo>
                    <a:cubicBezTo>
                      <a:pt x="43339" y="61341"/>
                      <a:pt x="39053" y="62675"/>
                      <a:pt x="34004" y="62675"/>
                    </a:cubicBezTo>
                    <a:cubicBezTo>
                      <a:pt x="30289" y="62675"/>
                      <a:pt x="26861" y="61913"/>
                      <a:pt x="23622" y="60388"/>
                    </a:cubicBezTo>
                    <a:cubicBezTo>
                      <a:pt x="20384" y="58865"/>
                      <a:pt x="18002" y="56388"/>
                      <a:pt x="16193" y="53054"/>
                    </a:cubicBezTo>
                    <a:lnTo>
                      <a:pt x="15812" y="53054"/>
                    </a:lnTo>
                    <a:cubicBezTo>
                      <a:pt x="15812" y="53054"/>
                      <a:pt x="16002" y="54674"/>
                      <a:pt x="16002" y="56674"/>
                    </a:cubicBezTo>
                    <a:cubicBezTo>
                      <a:pt x="16002" y="58674"/>
                      <a:pt x="16097" y="60484"/>
                      <a:pt x="16097" y="62103"/>
                    </a:cubicBezTo>
                    <a:lnTo>
                      <a:pt x="16097" y="85344"/>
                    </a:lnTo>
                    <a:lnTo>
                      <a:pt x="381" y="85344"/>
                    </a:lnTo>
                    <a:lnTo>
                      <a:pt x="381" y="15050"/>
                    </a:lnTo>
                    <a:close/>
                    <a:moveTo>
                      <a:pt x="38481" y="45529"/>
                    </a:moveTo>
                    <a:cubicBezTo>
                      <a:pt x="40767" y="42386"/>
                      <a:pt x="41910" y="37529"/>
                      <a:pt x="41910" y="31052"/>
                    </a:cubicBezTo>
                    <a:cubicBezTo>
                      <a:pt x="41910" y="24955"/>
                      <a:pt x="40767" y="20384"/>
                      <a:pt x="38576" y="17240"/>
                    </a:cubicBezTo>
                    <a:cubicBezTo>
                      <a:pt x="36386" y="14097"/>
                      <a:pt x="33338" y="12573"/>
                      <a:pt x="29432" y="12573"/>
                    </a:cubicBezTo>
                    <a:cubicBezTo>
                      <a:pt x="27051" y="12573"/>
                      <a:pt x="24860" y="13145"/>
                      <a:pt x="22860" y="14383"/>
                    </a:cubicBezTo>
                    <a:cubicBezTo>
                      <a:pt x="20860" y="15621"/>
                      <a:pt x="19145" y="17621"/>
                      <a:pt x="17907" y="20384"/>
                    </a:cubicBezTo>
                    <a:cubicBezTo>
                      <a:pt x="16669" y="23146"/>
                      <a:pt x="15907" y="26956"/>
                      <a:pt x="15907" y="31528"/>
                    </a:cubicBezTo>
                    <a:cubicBezTo>
                      <a:pt x="15907" y="36100"/>
                      <a:pt x="16573" y="39719"/>
                      <a:pt x="17812" y="42482"/>
                    </a:cubicBezTo>
                    <a:cubicBezTo>
                      <a:pt x="19050" y="45244"/>
                      <a:pt x="20764" y="47244"/>
                      <a:pt x="22765" y="48482"/>
                    </a:cubicBezTo>
                    <a:cubicBezTo>
                      <a:pt x="24765" y="49721"/>
                      <a:pt x="26956" y="50292"/>
                      <a:pt x="29242" y="50292"/>
                    </a:cubicBezTo>
                    <a:cubicBezTo>
                      <a:pt x="33052" y="50292"/>
                      <a:pt x="36100" y="48673"/>
                      <a:pt x="38386" y="45529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34" name="Freeform: Shape 167">
                <a:extLst>
                  <a:ext uri="{FF2B5EF4-FFF2-40B4-BE49-F238E27FC236}">
                    <a16:creationId xmlns:a16="http://schemas.microsoft.com/office/drawing/2014/main" id="{678814BE-686C-4794-7525-E452B74EDA55}"/>
                  </a:ext>
                </a:extLst>
              </p:cNvPr>
              <p:cNvSpPr/>
              <p:nvPr/>
            </p:nvSpPr>
            <p:spPr>
              <a:xfrm>
                <a:off x="4649342" y="4051934"/>
                <a:ext cx="17525" cy="85915"/>
              </a:xfrm>
              <a:custGeom>
                <a:avLst/>
                <a:gdLst>
                  <a:gd name="connsiteX0" fmla="*/ 2381 w 17525"/>
                  <a:gd name="connsiteY0" fmla="*/ 15240 h 85915"/>
                  <a:gd name="connsiteX1" fmla="*/ 0 w 17525"/>
                  <a:gd name="connsiteY1" fmla="*/ 8858 h 85915"/>
                  <a:gd name="connsiteX2" fmla="*/ 2381 w 17525"/>
                  <a:gd name="connsiteY2" fmla="*/ 2381 h 85915"/>
                  <a:gd name="connsiteX3" fmla="*/ 8858 w 17525"/>
                  <a:gd name="connsiteY3" fmla="*/ 0 h 85915"/>
                  <a:gd name="connsiteX4" fmla="*/ 15145 w 17525"/>
                  <a:gd name="connsiteY4" fmla="*/ 2381 h 85915"/>
                  <a:gd name="connsiteX5" fmla="*/ 17526 w 17525"/>
                  <a:gd name="connsiteY5" fmla="*/ 8858 h 85915"/>
                  <a:gd name="connsiteX6" fmla="*/ 15145 w 17525"/>
                  <a:gd name="connsiteY6" fmla="*/ 15240 h 85915"/>
                  <a:gd name="connsiteX7" fmla="*/ 8858 w 17525"/>
                  <a:gd name="connsiteY7" fmla="*/ 17621 h 85915"/>
                  <a:gd name="connsiteX8" fmla="*/ 2381 w 17525"/>
                  <a:gd name="connsiteY8" fmla="*/ 15240 h 85915"/>
                  <a:gd name="connsiteX9" fmla="*/ 953 w 17525"/>
                  <a:gd name="connsiteY9" fmla="*/ 25622 h 85915"/>
                  <a:gd name="connsiteX10" fmla="*/ 16669 w 17525"/>
                  <a:gd name="connsiteY10" fmla="*/ 25622 h 85915"/>
                  <a:gd name="connsiteX11" fmla="*/ 16669 w 17525"/>
                  <a:gd name="connsiteY11" fmla="*/ 85916 h 85915"/>
                  <a:gd name="connsiteX12" fmla="*/ 953 w 17525"/>
                  <a:gd name="connsiteY12" fmla="*/ 85916 h 85915"/>
                  <a:gd name="connsiteX13" fmla="*/ 953 w 17525"/>
                  <a:gd name="connsiteY13" fmla="*/ 25622 h 859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7525" h="85915">
                    <a:moveTo>
                      <a:pt x="2381" y="15240"/>
                    </a:moveTo>
                    <a:cubicBezTo>
                      <a:pt x="857" y="13621"/>
                      <a:pt x="0" y="11525"/>
                      <a:pt x="0" y="8858"/>
                    </a:cubicBezTo>
                    <a:cubicBezTo>
                      <a:pt x="0" y="6191"/>
                      <a:pt x="762" y="4001"/>
                      <a:pt x="2381" y="2381"/>
                    </a:cubicBezTo>
                    <a:cubicBezTo>
                      <a:pt x="4001" y="762"/>
                      <a:pt x="6096" y="0"/>
                      <a:pt x="8858" y="0"/>
                    </a:cubicBezTo>
                    <a:cubicBezTo>
                      <a:pt x="11621" y="0"/>
                      <a:pt x="13621" y="762"/>
                      <a:pt x="15145" y="2381"/>
                    </a:cubicBezTo>
                    <a:cubicBezTo>
                      <a:pt x="16669" y="4001"/>
                      <a:pt x="17526" y="6096"/>
                      <a:pt x="17526" y="8858"/>
                    </a:cubicBezTo>
                    <a:cubicBezTo>
                      <a:pt x="17526" y="11621"/>
                      <a:pt x="16764" y="13621"/>
                      <a:pt x="15145" y="15240"/>
                    </a:cubicBezTo>
                    <a:cubicBezTo>
                      <a:pt x="13526" y="16859"/>
                      <a:pt x="11430" y="17621"/>
                      <a:pt x="8858" y="17621"/>
                    </a:cubicBezTo>
                    <a:cubicBezTo>
                      <a:pt x="6096" y="17621"/>
                      <a:pt x="3905" y="16859"/>
                      <a:pt x="2381" y="15240"/>
                    </a:cubicBezTo>
                    <a:close/>
                    <a:moveTo>
                      <a:pt x="953" y="25622"/>
                    </a:moveTo>
                    <a:lnTo>
                      <a:pt x="16669" y="25622"/>
                    </a:lnTo>
                    <a:lnTo>
                      <a:pt x="16669" y="85916"/>
                    </a:lnTo>
                    <a:lnTo>
                      <a:pt x="953" y="85916"/>
                    </a:lnTo>
                    <a:lnTo>
                      <a:pt x="953" y="25622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35" name="Freeform: Shape 168">
                <a:extLst>
                  <a:ext uri="{FF2B5EF4-FFF2-40B4-BE49-F238E27FC236}">
                    <a16:creationId xmlns:a16="http://schemas.microsoft.com/office/drawing/2014/main" id="{C26E183A-8BCF-BC48-B172-48ABEF464767}"/>
                  </a:ext>
                </a:extLst>
              </p:cNvPr>
              <p:cNvSpPr/>
              <p:nvPr/>
            </p:nvSpPr>
            <p:spPr>
              <a:xfrm>
                <a:off x="4675536" y="4062888"/>
                <a:ext cx="35814" cy="76104"/>
              </a:xfrm>
              <a:custGeom>
                <a:avLst/>
                <a:gdLst>
                  <a:gd name="connsiteX0" fmla="*/ 11621 w 35814"/>
                  <a:gd name="connsiteY0" fmla="*/ 71914 h 76104"/>
                  <a:gd name="connsiteX1" fmla="*/ 7620 w 35814"/>
                  <a:gd name="connsiteY1" fmla="*/ 59722 h 76104"/>
                  <a:gd name="connsiteX2" fmla="*/ 7620 w 35814"/>
                  <a:gd name="connsiteY2" fmla="*/ 26384 h 76104"/>
                  <a:gd name="connsiteX3" fmla="*/ 0 w 35814"/>
                  <a:gd name="connsiteY3" fmla="*/ 26384 h 76104"/>
                  <a:gd name="connsiteX4" fmla="*/ 0 w 35814"/>
                  <a:gd name="connsiteY4" fmla="*/ 14764 h 76104"/>
                  <a:gd name="connsiteX5" fmla="*/ 8382 w 35814"/>
                  <a:gd name="connsiteY5" fmla="*/ 14764 h 76104"/>
                  <a:gd name="connsiteX6" fmla="*/ 9144 w 35814"/>
                  <a:gd name="connsiteY6" fmla="*/ 1143 h 76104"/>
                  <a:gd name="connsiteX7" fmla="*/ 23051 w 35814"/>
                  <a:gd name="connsiteY7" fmla="*/ 0 h 76104"/>
                  <a:gd name="connsiteX8" fmla="*/ 23051 w 35814"/>
                  <a:gd name="connsiteY8" fmla="*/ 14764 h 76104"/>
                  <a:gd name="connsiteX9" fmla="*/ 35052 w 35814"/>
                  <a:gd name="connsiteY9" fmla="*/ 14764 h 76104"/>
                  <a:gd name="connsiteX10" fmla="*/ 35052 w 35814"/>
                  <a:gd name="connsiteY10" fmla="*/ 26384 h 76104"/>
                  <a:gd name="connsiteX11" fmla="*/ 23051 w 35814"/>
                  <a:gd name="connsiteY11" fmla="*/ 26384 h 76104"/>
                  <a:gd name="connsiteX12" fmla="*/ 23051 w 35814"/>
                  <a:gd name="connsiteY12" fmla="*/ 55531 h 76104"/>
                  <a:gd name="connsiteX13" fmla="*/ 24479 w 35814"/>
                  <a:gd name="connsiteY13" fmla="*/ 61246 h 76104"/>
                  <a:gd name="connsiteX14" fmla="*/ 28956 w 35814"/>
                  <a:gd name="connsiteY14" fmla="*/ 63056 h 76104"/>
                  <a:gd name="connsiteX15" fmla="*/ 34671 w 35814"/>
                  <a:gd name="connsiteY15" fmla="*/ 62389 h 76104"/>
                  <a:gd name="connsiteX16" fmla="*/ 35814 w 35814"/>
                  <a:gd name="connsiteY16" fmla="*/ 74295 h 76104"/>
                  <a:gd name="connsiteX17" fmla="*/ 23051 w 35814"/>
                  <a:gd name="connsiteY17" fmla="*/ 76105 h 76104"/>
                  <a:gd name="connsiteX18" fmla="*/ 11525 w 35814"/>
                  <a:gd name="connsiteY18" fmla="*/ 72009 h 761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814" h="76104">
                    <a:moveTo>
                      <a:pt x="11621" y="71914"/>
                    </a:moveTo>
                    <a:cubicBezTo>
                      <a:pt x="8954" y="69152"/>
                      <a:pt x="7620" y="65151"/>
                      <a:pt x="7620" y="59722"/>
                    </a:cubicBezTo>
                    <a:lnTo>
                      <a:pt x="7620" y="26384"/>
                    </a:lnTo>
                    <a:lnTo>
                      <a:pt x="0" y="26384"/>
                    </a:lnTo>
                    <a:lnTo>
                      <a:pt x="0" y="14764"/>
                    </a:lnTo>
                    <a:lnTo>
                      <a:pt x="8382" y="14764"/>
                    </a:lnTo>
                    <a:lnTo>
                      <a:pt x="9144" y="1143"/>
                    </a:lnTo>
                    <a:lnTo>
                      <a:pt x="23051" y="0"/>
                    </a:lnTo>
                    <a:lnTo>
                      <a:pt x="23051" y="14764"/>
                    </a:lnTo>
                    <a:lnTo>
                      <a:pt x="35052" y="14764"/>
                    </a:lnTo>
                    <a:lnTo>
                      <a:pt x="35052" y="26384"/>
                    </a:lnTo>
                    <a:lnTo>
                      <a:pt x="23051" y="26384"/>
                    </a:lnTo>
                    <a:lnTo>
                      <a:pt x="23051" y="55531"/>
                    </a:lnTo>
                    <a:cubicBezTo>
                      <a:pt x="23051" y="58103"/>
                      <a:pt x="23527" y="60008"/>
                      <a:pt x="24479" y="61246"/>
                    </a:cubicBezTo>
                    <a:cubicBezTo>
                      <a:pt x="25432" y="62484"/>
                      <a:pt x="26861" y="63056"/>
                      <a:pt x="28956" y="63056"/>
                    </a:cubicBezTo>
                    <a:cubicBezTo>
                      <a:pt x="30575" y="63056"/>
                      <a:pt x="32480" y="62865"/>
                      <a:pt x="34671" y="62389"/>
                    </a:cubicBezTo>
                    <a:lnTo>
                      <a:pt x="35814" y="74295"/>
                    </a:lnTo>
                    <a:cubicBezTo>
                      <a:pt x="31528" y="75438"/>
                      <a:pt x="27337" y="76105"/>
                      <a:pt x="23051" y="76105"/>
                    </a:cubicBezTo>
                    <a:cubicBezTo>
                      <a:pt x="18002" y="76105"/>
                      <a:pt x="14192" y="74771"/>
                      <a:pt x="11525" y="72009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36" name="Freeform: Shape 169">
                <a:extLst>
                  <a:ext uri="{FF2B5EF4-FFF2-40B4-BE49-F238E27FC236}">
                    <a16:creationId xmlns:a16="http://schemas.microsoft.com/office/drawing/2014/main" id="{9895A149-C035-FC46-DF11-634AA164F70A}"/>
                  </a:ext>
                </a:extLst>
              </p:cNvPr>
              <p:cNvSpPr/>
              <p:nvPr/>
            </p:nvSpPr>
            <p:spPr>
              <a:xfrm>
                <a:off x="4716303" y="4076509"/>
                <a:ext cx="53149" cy="62674"/>
              </a:xfrm>
              <a:custGeom>
                <a:avLst/>
                <a:gdLst>
                  <a:gd name="connsiteX0" fmla="*/ 8954 w 53149"/>
                  <a:gd name="connsiteY0" fmla="*/ 60388 h 62674"/>
                  <a:gd name="connsiteX1" fmla="*/ 2381 w 53149"/>
                  <a:gd name="connsiteY1" fmla="*/ 54197 h 62674"/>
                  <a:gd name="connsiteX2" fmla="*/ 0 w 53149"/>
                  <a:gd name="connsiteY2" fmla="*/ 44387 h 62674"/>
                  <a:gd name="connsiteX3" fmla="*/ 6477 w 53149"/>
                  <a:gd name="connsiteY3" fmla="*/ 29813 h 62674"/>
                  <a:gd name="connsiteX4" fmla="*/ 23908 w 53149"/>
                  <a:gd name="connsiteY4" fmla="*/ 25051 h 62674"/>
                  <a:gd name="connsiteX5" fmla="*/ 36957 w 53149"/>
                  <a:gd name="connsiteY5" fmla="*/ 24860 h 62674"/>
                  <a:gd name="connsiteX6" fmla="*/ 36957 w 53149"/>
                  <a:gd name="connsiteY6" fmla="*/ 22003 h 62674"/>
                  <a:gd name="connsiteX7" fmla="*/ 34290 w 53149"/>
                  <a:gd name="connsiteY7" fmla="*/ 14288 h 62674"/>
                  <a:gd name="connsiteX8" fmla="*/ 27051 w 53149"/>
                  <a:gd name="connsiteY8" fmla="*/ 12097 h 62674"/>
                  <a:gd name="connsiteX9" fmla="*/ 10763 w 53149"/>
                  <a:gd name="connsiteY9" fmla="*/ 19431 h 62674"/>
                  <a:gd name="connsiteX10" fmla="*/ 3334 w 53149"/>
                  <a:gd name="connsiteY10" fmla="*/ 9620 h 62674"/>
                  <a:gd name="connsiteX11" fmla="*/ 27908 w 53149"/>
                  <a:gd name="connsiteY11" fmla="*/ 0 h 62674"/>
                  <a:gd name="connsiteX12" fmla="*/ 46196 w 53149"/>
                  <a:gd name="connsiteY12" fmla="*/ 5620 h 62674"/>
                  <a:gd name="connsiteX13" fmla="*/ 52673 w 53149"/>
                  <a:gd name="connsiteY13" fmla="*/ 21622 h 62674"/>
                  <a:gd name="connsiteX14" fmla="*/ 52673 w 53149"/>
                  <a:gd name="connsiteY14" fmla="*/ 43720 h 62674"/>
                  <a:gd name="connsiteX15" fmla="*/ 53150 w 53149"/>
                  <a:gd name="connsiteY15" fmla="*/ 61531 h 62674"/>
                  <a:gd name="connsiteX16" fmla="*/ 38291 w 53149"/>
                  <a:gd name="connsiteY16" fmla="*/ 61531 h 62674"/>
                  <a:gd name="connsiteX17" fmla="*/ 37910 w 53149"/>
                  <a:gd name="connsiteY17" fmla="*/ 53054 h 62674"/>
                  <a:gd name="connsiteX18" fmla="*/ 37529 w 53149"/>
                  <a:gd name="connsiteY18" fmla="*/ 53054 h 62674"/>
                  <a:gd name="connsiteX19" fmla="*/ 29813 w 53149"/>
                  <a:gd name="connsiteY19" fmla="*/ 60198 h 62674"/>
                  <a:gd name="connsiteX20" fmla="*/ 18764 w 53149"/>
                  <a:gd name="connsiteY20" fmla="*/ 62674 h 62674"/>
                  <a:gd name="connsiteX21" fmla="*/ 8954 w 53149"/>
                  <a:gd name="connsiteY21" fmla="*/ 60579 h 62674"/>
                  <a:gd name="connsiteX22" fmla="*/ 30575 w 53149"/>
                  <a:gd name="connsiteY22" fmla="*/ 48768 h 62674"/>
                  <a:gd name="connsiteX23" fmla="*/ 35338 w 53149"/>
                  <a:gd name="connsiteY23" fmla="*/ 43910 h 62674"/>
                  <a:gd name="connsiteX24" fmla="*/ 37052 w 53149"/>
                  <a:gd name="connsiteY24" fmla="*/ 37529 h 62674"/>
                  <a:gd name="connsiteX25" fmla="*/ 37052 w 53149"/>
                  <a:gd name="connsiteY25" fmla="*/ 34480 h 62674"/>
                  <a:gd name="connsiteX26" fmla="*/ 28956 w 53149"/>
                  <a:gd name="connsiteY26" fmla="*/ 34480 h 62674"/>
                  <a:gd name="connsiteX27" fmla="*/ 22288 w 53149"/>
                  <a:gd name="connsiteY27" fmla="*/ 35433 h 62674"/>
                  <a:gd name="connsiteX28" fmla="*/ 18097 w 53149"/>
                  <a:gd name="connsiteY28" fmla="*/ 37814 h 62674"/>
                  <a:gd name="connsiteX29" fmla="*/ 16478 w 53149"/>
                  <a:gd name="connsiteY29" fmla="*/ 43053 h 62674"/>
                  <a:gd name="connsiteX30" fmla="*/ 18479 w 53149"/>
                  <a:gd name="connsiteY30" fmla="*/ 48673 h 62674"/>
                  <a:gd name="connsiteX31" fmla="*/ 23813 w 53149"/>
                  <a:gd name="connsiteY31" fmla="*/ 50578 h 62674"/>
                  <a:gd name="connsiteX32" fmla="*/ 30671 w 53149"/>
                  <a:gd name="connsiteY32" fmla="*/ 48768 h 62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53149" h="62674">
                    <a:moveTo>
                      <a:pt x="8954" y="60388"/>
                    </a:moveTo>
                    <a:cubicBezTo>
                      <a:pt x="6191" y="58960"/>
                      <a:pt x="4001" y="56864"/>
                      <a:pt x="2381" y="54197"/>
                    </a:cubicBezTo>
                    <a:cubicBezTo>
                      <a:pt x="762" y="51530"/>
                      <a:pt x="0" y="48196"/>
                      <a:pt x="0" y="44387"/>
                    </a:cubicBezTo>
                    <a:cubicBezTo>
                      <a:pt x="0" y="37719"/>
                      <a:pt x="2191" y="32861"/>
                      <a:pt x="6477" y="29813"/>
                    </a:cubicBezTo>
                    <a:cubicBezTo>
                      <a:pt x="10763" y="26765"/>
                      <a:pt x="16574" y="25241"/>
                      <a:pt x="23908" y="25051"/>
                    </a:cubicBezTo>
                    <a:lnTo>
                      <a:pt x="36957" y="24860"/>
                    </a:lnTo>
                    <a:lnTo>
                      <a:pt x="36957" y="22003"/>
                    </a:lnTo>
                    <a:cubicBezTo>
                      <a:pt x="36957" y="18288"/>
                      <a:pt x="36100" y="15716"/>
                      <a:pt x="34290" y="14288"/>
                    </a:cubicBezTo>
                    <a:cubicBezTo>
                      <a:pt x="32480" y="12859"/>
                      <a:pt x="30099" y="12097"/>
                      <a:pt x="27051" y="12097"/>
                    </a:cubicBezTo>
                    <a:cubicBezTo>
                      <a:pt x="21717" y="12097"/>
                      <a:pt x="16288" y="14573"/>
                      <a:pt x="10763" y="19431"/>
                    </a:cubicBezTo>
                    <a:lnTo>
                      <a:pt x="3334" y="9620"/>
                    </a:lnTo>
                    <a:cubicBezTo>
                      <a:pt x="10573" y="3238"/>
                      <a:pt x="18764" y="0"/>
                      <a:pt x="27908" y="0"/>
                    </a:cubicBezTo>
                    <a:cubicBezTo>
                      <a:pt x="35719" y="0"/>
                      <a:pt x="41815" y="1905"/>
                      <a:pt x="46196" y="5620"/>
                    </a:cubicBezTo>
                    <a:cubicBezTo>
                      <a:pt x="50578" y="9334"/>
                      <a:pt x="52673" y="14668"/>
                      <a:pt x="52673" y="21622"/>
                    </a:cubicBezTo>
                    <a:lnTo>
                      <a:pt x="52673" y="43720"/>
                    </a:lnTo>
                    <a:cubicBezTo>
                      <a:pt x="52673" y="50387"/>
                      <a:pt x="52864" y="56293"/>
                      <a:pt x="53150" y="61531"/>
                    </a:cubicBezTo>
                    <a:lnTo>
                      <a:pt x="38291" y="61531"/>
                    </a:lnTo>
                    <a:cubicBezTo>
                      <a:pt x="38005" y="58864"/>
                      <a:pt x="37910" y="56102"/>
                      <a:pt x="37910" y="53054"/>
                    </a:cubicBezTo>
                    <a:lnTo>
                      <a:pt x="37529" y="53054"/>
                    </a:lnTo>
                    <a:cubicBezTo>
                      <a:pt x="35528" y="56102"/>
                      <a:pt x="32956" y="58483"/>
                      <a:pt x="29813" y="60198"/>
                    </a:cubicBezTo>
                    <a:cubicBezTo>
                      <a:pt x="26670" y="61913"/>
                      <a:pt x="22955" y="62674"/>
                      <a:pt x="18764" y="62674"/>
                    </a:cubicBezTo>
                    <a:cubicBezTo>
                      <a:pt x="15050" y="62674"/>
                      <a:pt x="11811" y="62008"/>
                      <a:pt x="8954" y="60579"/>
                    </a:cubicBezTo>
                    <a:close/>
                    <a:moveTo>
                      <a:pt x="30575" y="48768"/>
                    </a:moveTo>
                    <a:cubicBezTo>
                      <a:pt x="32576" y="47530"/>
                      <a:pt x="34195" y="45910"/>
                      <a:pt x="35338" y="43910"/>
                    </a:cubicBezTo>
                    <a:cubicBezTo>
                      <a:pt x="36481" y="41910"/>
                      <a:pt x="37052" y="39814"/>
                      <a:pt x="37052" y="37529"/>
                    </a:cubicBezTo>
                    <a:lnTo>
                      <a:pt x="37052" y="34480"/>
                    </a:lnTo>
                    <a:lnTo>
                      <a:pt x="28956" y="34480"/>
                    </a:lnTo>
                    <a:cubicBezTo>
                      <a:pt x="26194" y="34766"/>
                      <a:pt x="24003" y="35052"/>
                      <a:pt x="22288" y="35433"/>
                    </a:cubicBezTo>
                    <a:cubicBezTo>
                      <a:pt x="20574" y="35814"/>
                      <a:pt x="19145" y="36576"/>
                      <a:pt x="18097" y="37814"/>
                    </a:cubicBezTo>
                    <a:cubicBezTo>
                      <a:pt x="17050" y="39052"/>
                      <a:pt x="16478" y="40767"/>
                      <a:pt x="16478" y="43053"/>
                    </a:cubicBezTo>
                    <a:cubicBezTo>
                      <a:pt x="16478" y="45339"/>
                      <a:pt x="17145" y="47339"/>
                      <a:pt x="18479" y="48673"/>
                    </a:cubicBezTo>
                    <a:cubicBezTo>
                      <a:pt x="19812" y="50006"/>
                      <a:pt x="21622" y="50578"/>
                      <a:pt x="23813" y="50578"/>
                    </a:cubicBezTo>
                    <a:cubicBezTo>
                      <a:pt x="26384" y="50578"/>
                      <a:pt x="28670" y="50006"/>
                      <a:pt x="30671" y="48768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37" name="Freeform: Shape 170">
                <a:extLst>
                  <a:ext uri="{FF2B5EF4-FFF2-40B4-BE49-F238E27FC236}">
                    <a16:creationId xmlns:a16="http://schemas.microsoft.com/office/drawing/2014/main" id="{EE2DA98F-72BB-FD62-1739-69229AE8C3C0}"/>
                  </a:ext>
                </a:extLst>
              </p:cNvPr>
              <p:cNvSpPr/>
              <p:nvPr/>
            </p:nvSpPr>
            <p:spPr>
              <a:xfrm>
                <a:off x="4783645" y="4054983"/>
                <a:ext cx="24383" cy="83629"/>
              </a:xfrm>
              <a:custGeom>
                <a:avLst/>
                <a:gdLst>
                  <a:gd name="connsiteX0" fmla="*/ 4001 w 24383"/>
                  <a:gd name="connsiteY0" fmla="*/ 79534 h 83629"/>
                  <a:gd name="connsiteX1" fmla="*/ 0 w 24383"/>
                  <a:gd name="connsiteY1" fmla="*/ 68294 h 83629"/>
                  <a:gd name="connsiteX2" fmla="*/ 0 w 24383"/>
                  <a:gd name="connsiteY2" fmla="*/ 0 h 83629"/>
                  <a:gd name="connsiteX3" fmla="*/ 15716 w 24383"/>
                  <a:gd name="connsiteY3" fmla="*/ 0 h 83629"/>
                  <a:gd name="connsiteX4" fmla="*/ 15716 w 24383"/>
                  <a:gd name="connsiteY4" fmla="*/ 64389 h 83629"/>
                  <a:gd name="connsiteX5" fmla="*/ 16097 w 24383"/>
                  <a:gd name="connsiteY5" fmla="*/ 68389 h 83629"/>
                  <a:gd name="connsiteX6" fmla="*/ 17621 w 24383"/>
                  <a:gd name="connsiteY6" fmla="*/ 70485 h 83629"/>
                  <a:gd name="connsiteX7" fmla="*/ 20955 w 24383"/>
                  <a:gd name="connsiteY7" fmla="*/ 71152 h 83629"/>
                  <a:gd name="connsiteX8" fmla="*/ 23813 w 24383"/>
                  <a:gd name="connsiteY8" fmla="*/ 70771 h 83629"/>
                  <a:gd name="connsiteX9" fmla="*/ 24384 w 24383"/>
                  <a:gd name="connsiteY9" fmla="*/ 82868 h 83629"/>
                  <a:gd name="connsiteX10" fmla="*/ 16097 w 24383"/>
                  <a:gd name="connsiteY10" fmla="*/ 83629 h 83629"/>
                  <a:gd name="connsiteX11" fmla="*/ 3905 w 24383"/>
                  <a:gd name="connsiteY11" fmla="*/ 79438 h 836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4383" h="83629">
                    <a:moveTo>
                      <a:pt x="4001" y="79534"/>
                    </a:moveTo>
                    <a:cubicBezTo>
                      <a:pt x="1333" y="76771"/>
                      <a:pt x="0" y="72962"/>
                      <a:pt x="0" y="68294"/>
                    </a:cubicBezTo>
                    <a:lnTo>
                      <a:pt x="0" y="0"/>
                    </a:lnTo>
                    <a:lnTo>
                      <a:pt x="15716" y="0"/>
                    </a:lnTo>
                    <a:lnTo>
                      <a:pt x="15716" y="64389"/>
                    </a:lnTo>
                    <a:cubicBezTo>
                      <a:pt x="15716" y="66104"/>
                      <a:pt x="15812" y="67532"/>
                      <a:pt x="16097" y="68389"/>
                    </a:cubicBezTo>
                    <a:cubicBezTo>
                      <a:pt x="16383" y="69247"/>
                      <a:pt x="16859" y="70009"/>
                      <a:pt x="17621" y="70485"/>
                    </a:cubicBezTo>
                    <a:cubicBezTo>
                      <a:pt x="18383" y="70961"/>
                      <a:pt x="19526" y="71152"/>
                      <a:pt x="20955" y="71152"/>
                    </a:cubicBezTo>
                    <a:cubicBezTo>
                      <a:pt x="21812" y="71152"/>
                      <a:pt x="22765" y="71056"/>
                      <a:pt x="23813" y="70771"/>
                    </a:cubicBezTo>
                    <a:lnTo>
                      <a:pt x="24384" y="82868"/>
                    </a:lnTo>
                    <a:cubicBezTo>
                      <a:pt x="21717" y="83344"/>
                      <a:pt x="18955" y="83629"/>
                      <a:pt x="16097" y="83629"/>
                    </a:cubicBezTo>
                    <a:cubicBezTo>
                      <a:pt x="10668" y="83629"/>
                      <a:pt x="6572" y="82201"/>
                      <a:pt x="3905" y="79438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38" name="Freeform: Shape 171">
                <a:extLst>
                  <a:ext uri="{FF2B5EF4-FFF2-40B4-BE49-F238E27FC236}">
                    <a16:creationId xmlns:a16="http://schemas.microsoft.com/office/drawing/2014/main" id="{070F277E-71C4-ED59-B23D-41E3978F34FD}"/>
                  </a:ext>
                </a:extLst>
              </p:cNvPr>
              <p:cNvSpPr/>
              <p:nvPr/>
            </p:nvSpPr>
            <p:spPr>
              <a:xfrm>
                <a:off x="4286345" y="4213574"/>
                <a:ext cx="87058" cy="61722"/>
              </a:xfrm>
              <a:custGeom>
                <a:avLst/>
                <a:gdLst>
                  <a:gd name="connsiteX0" fmla="*/ 381 w 87058"/>
                  <a:gd name="connsiteY0" fmla="*/ 14669 h 61722"/>
                  <a:gd name="connsiteX1" fmla="*/ 286 w 87058"/>
                  <a:gd name="connsiteY1" fmla="*/ 6763 h 61722"/>
                  <a:gd name="connsiteX2" fmla="*/ 0 w 87058"/>
                  <a:gd name="connsiteY2" fmla="*/ 1238 h 61722"/>
                  <a:gd name="connsiteX3" fmla="*/ 14954 w 87058"/>
                  <a:gd name="connsiteY3" fmla="*/ 1238 h 61722"/>
                  <a:gd name="connsiteX4" fmla="*/ 15430 w 87058"/>
                  <a:gd name="connsiteY4" fmla="*/ 6191 h 61722"/>
                  <a:gd name="connsiteX5" fmla="*/ 15716 w 87058"/>
                  <a:gd name="connsiteY5" fmla="*/ 12097 h 61722"/>
                  <a:gd name="connsiteX6" fmla="*/ 15907 w 87058"/>
                  <a:gd name="connsiteY6" fmla="*/ 12097 h 61722"/>
                  <a:gd name="connsiteX7" fmla="*/ 23146 w 87058"/>
                  <a:gd name="connsiteY7" fmla="*/ 2953 h 61722"/>
                  <a:gd name="connsiteX8" fmla="*/ 33528 w 87058"/>
                  <a:gd name="connsiteY8" fmla="*/ 0 h 61722"/>
                  <a:gd name="connsiteX9" fmla="*/ 44577 w 87058"/>
                  <a:gd name="connsiteY9" fmla="*/ 3143 h 61722"/>
                  <a:gd name="connsiteX10" fmla="*/ 50292 w 87058"/>
                  <a:gd name="connsiteY10" fmla="*/ 12192 h 61722"/>
                  <a:gd name="connsiteX11" fmla="*/ 50673 w 87058"/>
                  <a:gd name="connsiteY11" fmla="*/ 12192 h 61722"/>
                  <a:gd name="connsiteX12" fmla="*/ 58102 w 87058"/>
                  <a:gd name="connsiteY12" fmla="*/ 2858 h 61722"/>
                  <a:gd name="connsiteX13" fmla="*/ 68961 w 87058"/>
                  <a:gd name="connsiteY13" fmla="*/ 95 h 61722"/>
                  <a:gd name="connsiteX14" fmla="*/ 82677 w 87058"/>
                  <a:gd name="connsiteY14" fmla="*/ 6477 h 61722"/>
                  <a:gd name="connsiteX15" fmla="*/ 87058 w 87058"/>
                  <a:gd name="connsiteY15" fmla="*/ 23431 h 61722"/>
                  <a:gd name="connsiteX16" fmla="*/ 87058 w 87058"/>
                  <a:gd name="connsiteY16" fmla="*/ 61722 h 61722"/>
                  <a:gd name="connsiteX17" fmla="*/ 71533 w 87058"/>
                  <a:gd name="connsiteY17" fmla="*/ 61722 h 61722"/>
                  <a:gd name="connsiteX18" fmla="*/ 71533 w 87058"/>
                  <a:gd name="connsiteY18" fmla="*/ 27908 h 61722"/>
                  <a:gd name="connsiteX19" fmla="*/ 69532 w 87058"/>
                  <a:gd name="connsiteY19" fmla="*/ 17431 h 61722"/>
                  <a:gd name="connsiteX20" fmla="*/ 62865 w 87058"/>
                  <a:gd name="connsiteY20" fmla="*/ 13716 h 61722"/>
                  <a:gd name="connsiteX21" fmla="*/ 57245 w 87058"/>
                  <a:gd name="connsiteY21" fmla="*/ 15621 h 61722"/>
                  <a:gd name="connsiteX22" fmla="*/ 53245 w 87058"/>
                  <a:gd name="connsiteY22" fmla="*/ 20860 h 61722"/>
                  <a:gd name="connsiteX23" fmla="*/ 51625 w 87058"/>
                  <a:gd name="connsiteY23" fmla="*/ 28575 h 61722"/>
                  <a:gd name="connsiteX24" fmla="*/ 51625 w 87058"/>
                  <a:gd name="connsiteY24" fmla="*/ 61722 h 61722"/>
                  <a:gd name="connsiteX25" fmla="*/ 36100 w 87058"/>
                  <a:gd name="connsiteY25" fmla="*/ 61722 h 61722"/>
                  <a:gd name="connsiteX26" fmla="*/ 36100 w 87058"/>
                  <a:gd name="connsiteY26" fmla="*/ 27908 h 61722"/>
                  <a:gd name="connsiteX27" fmla="*/ 34099 w 87058"/>
                  <a:gd name="connsiteY27" fmla="*/ 17431 h 61722"/>
                  <a:gd name="connsiteX28" fmla="*/ 27432 w 87058"/>
                  <a:gd name="connsiteY28" fmla="*/ 13716 h 61722"/>
                  <a:gd name="connsiteX29" fmla="*/ 21717 w 87058"/>
                  <a:gd name="connsiteY29" fmla="*/ 15716 h 61722"/>
                  <a:gd name="connsiteX30" fmla="*/ 17716 w 87058"/>
                  <a:gd name="connsiteY30" fmla="*/ 21241 h 61722"/>
                  <a:gd name="connsiteX31" fmla="*/ 16288 w 87058"/>
                  <a:gd name="connsiteY31" fmla="*/ 29337 h 61722"/>
                  <a:gd name="connsiteX32" fmla="*/ 16288 w 87058"/>
                  <a:gd name="connsiteY32" fmla="*/ 61722 h 61722"/>
                  <a:gd name="connsiteX33" fmla="*/ 571 w 87058"/>
                  <a:gd name="connsiteY33" fmla="*/ 61722 h 61722"/>
                  <a:gd name="connsiteX34" fmla="*/ 571 w 87058"/>
                  <a:gd name="connsiteY34" fmla="*/ 14859 h 61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87058" h="61722">
                    <a:moveTo>
                      <a:pt x="381" y="14669"/>
                    </a:moveTo>
                    <a:cubicBezTo>
                      <a:pt x="381" y="12097"/>
                      <a:pt x="381" y="9430"/>
                      <a:pt x="286" y="6763"/>
                    </a:cubicBezTo>
                    <a:cubicBezTo>
                      <a:pt x="190" y="4096"/>
                      <a:pt x="95" y="2191"/>
                      <a:pt x="0" y="1238"/>
                    </a:cubicBezTo>
                    <a:lnTo>
                      <a:pt x="14954" y="1238"/>
                    </a:lnTo>
                    <a:cubicBezTo>
                      <a:pt x="15145" y="2096"/>
                      <a:pt x="15240" y="3715"/>
                      <a:pt x="15430" y="6191"/>
                    </a:cubicBezTo>
                    <a:cubicBezTo>
                      <a:pt x="15621" y="8668"/>
                      <a:pt x="15716" y="10668"/>
                      <a:pt x="15716" y="12097"/>
                    </a:cubicBezTo>
                    <a:lnTo>
                      <a:pt x="15907" y="12097"/>
                    </a:lnTo>
                    <a:cubicBezTo>
                      <a:pt x="17812" y="8001"/>
                      <a:pt x="20193" y="4953"/>
                      <a:pt x="23146" y="2953"/>
                    </a:cubicBezTo>
                    <a:cubicBezTo>
                      <a:pt x="26098" y="953"/>
                      <a:pt x="29527" y="0"/>
                      <a:pt x="33528" y="0"/>
                    </a:cubicBezTo>
                    <a:cubicBezTo>
                      <a:pt x="38100" y="0"/>
                      <a:pt x="41720" y="1048"/>
                      <a:pt x="44577" y="3143"/>
                    </a:cubicBezTo>
                    <a:cubicBezTo>
                      <a:pt x="47434" y="5239"/>
                      <a:pt x="49339" y="8192"/>
                      <a:pt x="50292" y="12192"/>
                    </a:cubicBezTo>
                    <a:lnTo>
                      <a:pt x="50673" y="12192"/>
                    </a:lnTo>
                    <a:cubicBezTo>
                      <a:pt x="52673" y="7811"/>
                      <a:pt x="55245" y="4667"/>
                      <a:pt x="58102" y="2858"/>
                    </a:cubicBezTo>
                    <a:cubicBezTo>
                      <a:pt x="60960" y="1048"/>
                      <a:pt x="64675" y="95"/>
                      <a:pt x="68961" y="95"/>
                    </a:cubicBezTo>
                    <a:cubicBezTo>
                      <a:pt x="75247" y="95"/>
                      <a:pt x="79820" y="2191"/>
                      <a:pt x="82677" y="6477"/>
                    </a:cubicBezTo>
                    <a:cubicBezTo>
                      <a:pt x="85534" y="10763"/>
                      <a:pt x="87058" y="16383"/>
                      <a:pt x="87058" y="23431"/>
                    </a:cubicBezTo>
                    <a:lnTo>
                      <a:pt x="87058" y="61722"/>
                    </a:lnTo>
                    <a:lnTo>
                      <a:pt x="71533" y="61722"/>
                    </a:lnTo>
                    <a:lnTo>
                      <a:pt x="71533" y="27908"/>
                    </a:lnTo>
                    <a:cubicBezTo>
                      <a:pt x="71533" y="23336"/>
                      <a:pt x="70866" y="19907"/>
                      <a:pt x="69532" y="17431"/>
                    </a:cubicBezTo>
                    <a:cubicBezTo>
                      <a:pt x="68199" y="14954"/>
                      <a:pt x="66008" y="13716"/>
                      <a:pt x="62865" y="13716"/>
                    </a:cubicBezTo>
                    <a:cubicBezTo>
                      <a:pt x="60770" y="13716"/>
                      <a:pt x="58864" y="14383"/>
                      <a:pt x="57245" y="15621"/>
                    </a:cubicBezTo>
                    <a:cubicBezTo>
                      <a:pt x="55626" y="16859"/>
                      <a:pt x="54197" y="18574"/>
                      <a:pt x="53245" y="20860"/>
                    </a:cubicBezTo>
                    <a:cubicBezTo>
                      <a:pt x="52292" y="23146"/>
                      <a:pt x="51721" y="25718"/>
                      <a:pt x="51625" y="28575"/>
                    </a:cubicBezTo>
                    <a:lnTo>
                      <a:pt x="51625" y="61722"/>
                    </a:lnTo>
                    <a:lnTo>
                      <a:pt x="36100" y="61722"/>
                    </a:lnTo>
                    <a:lnTo>
                      <a:pt x="36100" y="27908"/>
                    </a:lnTo>
                    <a:cubicBezTo>
                      <a:pt x="36100" y="23336"/>
                      <a:pt x="35433" y="19907"/>
                      <a:pt x="34099" y="17431"/>
                    </a:cubicBezTo>
                    <a:cubicBezTo>
                      <a:pt x="32766" y="14954"/>
                      <a:pt x="30575" y="13716"/>
                      <a:pt x="27432" y="13716"/>
                    </a:cubicBezTo>
                    <a:cubicBezTo>
                      <a:pt x="25337" y="13716"/>
                      <a:pt x="23431" y="14383"/>
                      <a:pt x="21717" y="15716"/>
                    </a:cubicBezTo>
                    <a:cubicBezTo>
                      <a:pt x="20002" y="17050"/>
                      <a:pt x="18669" y="18860"/>
                      <a:pt x="17716" y="21241"/>
                    </a:cubicBezTo>
                    <a:cubicBezTo>
                      <a:pt x="16764" y="23622"/>
                      <a:pt x="16288" y="26289"/>
                      <a:pt x="16288" y="29337"/>
                    </a:cubicBezTo>
                    <a:lnTo>
                      <a:pt x="16288" y="61722"/>
                    </a:lnTo>
                    <a:lnTo>
                      <a:pt x="571" y="61722"/>
                    </a:lnTo>
                    <a:lnTo>
                      <a:pt x="571" y="14859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39" name="Freeform: Shape 172">
                <a:extLst>
                  <a:ext uri="{FF2B5EF4-FFF2-40B4-BE49-F238E27FC236}">
                    <a16:creationId xmlns:a16="http://schemas.microsoft.com/office/drawing/2014/main" id="{20347A4C-1F54-CCFB-8268-10E306E1E29F}"/>
                  </a:ext>
                </a:extLst>
              </p:cNvPr>
              <p:cNvSpPr/>
              <p:nvPr/>
            </p:nvSpPr>
            <p:spPr>
              <a:xfrm>
                <a:off x="4383976" y="4213669"/>
                <a:ext cx="53149" cy="62674"/>
              </a:xfrm>
              <a:custGeom>
                <a:avLst/>
                <a:gdLst>
                  <a:gd name="connsiteX0" fmla="*/ 8954 w 53149"/>
                  <a:gd name="connsiteY0" fmla="*/ 60388 h 62674"/>
                  <a:gd name="connsiteX1" fmla="*/ 2381 w 53149"/>
                  <a:gd name="connsiteY1" fmla="*/ 54197 h 62674"/>
                  <a:gd name="connsiteX2" fmla="*/ 0 w 53149"/>
                  <a:gd name="connsiteY2" fmla="*/ 44387 h 62674"/>
                  <a:gd name="connsiteX3" fmla="*/ 6477 w 53149"/>
                  <a:gd name="connsiteY3" fmla="*/ 29813 h 62674"/>
                  <a:gd name="connsiteX4" fmla="*/ 23908 w 53149"/>
                  <a:gd name="connsiteY4" fmla="*/ 25051 h 62674"/>
                  <a:gd name="connsiteX5" fmla="*/ 36957 w 53149"/>
                  <a:gd name="connsiteY5" fmla="*/ 24860 h 62674"/>
                  <a:gd name="connsiteX6" fmla="*/ 36957 w 53149"/>
                  <a:gd name="connsiteY6" fmla="*/ 22003 h 62674"/>
                  <a:gd name="connsiteX7" fmla="*/ 34290 w 53149"/>
                  <a:gd name="connsiteY7" fmla="*/ 14288 h 62674"/>
                  <a:gd name="connsiteX8" fmla="*/ 27051 w 53149"/>
                  <a:gd name="connsiteY8" fmla="*/ 12097 h 62674"/>
                  <a:gd name="connsiteX9" fmla="*/ 10763 w 53149"/>
                  <a:gd name="connsiteY9" fmla="*/ 19431 h 62674"/>
                  <a:gd name="connsiteX10" fmla="*/ 3334 w 53149"/>
                  <a:gd name="connsiteY10" fmla="*/ 9620 h 62674"/>
                  <a:gd name="connsiteX11" fmla="*/ 27908 w 53149"/>
                  <a:gd name="connsiteY11" fmla="*/ 0 h 62674"/>
                  <a:gd name="connsiteX12" fmla="*/ 46196 w 53149"/>
                  <a:gd name="connsiteY12" fmla="*/ 5620 h 62674"/>
                  <a:gd name="connsiteX13" fmla="*/ 52673 w 53149"/>
                  <a:gd name="connsiteY13" fmla="*/ 21622 h 62674"/>
                  <a:gd name="connsiteX14" fmla="*/ 52673 w 53149"/>
                  <a:gd name="connsiteY14" fmla="*/ 43720 h 62674"/>
                  <a:gd name="connsiteX15" fmla="*/ 53149 w 53149"/>
                  <a:gd name="connsiteY15" fmla="*/ 61531 h 62674"/>
                  <a:gd name="connsiteX16" fmla="*/ 38290 w 53149"/>
                  <a:gd name="connsiteY16" fmla="*/ 61531 h 62674"/>
                  <a:gd name="connsiteX17" fmla="*/ 37909 w 53149"/>
                  <a:gd name="connsiteY17" fmla="*/ 53054 h 62674"/>
                  <a:gd name="connsiteX18" fmla="*/ 37529 w 53149"/>
                  <a:gd name="connsiteY18" fmla="*/ 53054 h 62674"/>
                  <a:gd name="connsiteX19" fmla="*/ 29813 w 53149"/>
                  <a:gd name="connsiteY19" fmla="*/ 60198 h 62674"/>
                  <a:gd name="connsiteX20" fmla="*/ 18764 w 53149"/>
                  <a:gd name="connsiteY20" fmla="*/ 62674 h 62674"/>
                  <a:gd name="connsiteX21" fmla="*/ 8954 w 53149"/>
                  <a:gd name="connsiteY21" fmla="*/ 60579 h 62674"/>
                  <a:gd name="connsiteX22" fmla="*/ 30575 w 53149"/>
                  <a:gd name="connsiteY22" fmla="*/ 48768 h 62674"/>
                  <a:gd name="connsiteX23" fmla="*/ 35338 w 53149"/>
                  <a:gd name="connsiteY23" fmla="*/ 43910 h 62674"/>
                  <a:gd name="connsiteX24" fmla="*/ 37052 w 53149"/>
                  <a:gd name="connsiteY24" fmla="*/ 37529 h 62674"/>
                  <a:gd name="connsiteX25" fmla="*/ 37052 w 53149"/>
                  <a:gd name="connsiteY25" fmla="*/ 34480 h 62674"/>
                  <a:gd name="connsiteX26" fmla="*/ 28956 w 53149"/>
                  <a:gd name="connsiteY26" fmla="*/ 34480 h 62674"/>
                  <a:gd name="connsiteX27" fmla="*/ 22288 w 53149"/>
                  <a:gd name="connsiteY27" fmla="*/ 35433 h 62674"/>
                  <a:gd name="connsiteX28" fmla="*/ 18097 w 53149"/>
                  <a:gd name="connsiteY28" fmla="*/ 37814 h 62674"/>
                  <a:gd name="connsiteX29" fmla="*/ 16478 w 53149"/>
                  <a:gd name="connsiteY29" fmla="*/ 43053 h 62674"/>
                  <a:gd name="connsiteX30" fmla="*/ 18479 w 53149"/>
                  <a:gd name="connsiteY30" fmla="*/ 48673 h 62674"/>
                  <a:gd name="connsiteX31" fmla="*/ 23813 w 53149"/>
                  <a:gd name="connsiteY31" fmla="*/ 50578 h 62674"/>
                  <a:gd name="connsiteX32" fmla="*/ 30671 w 53149"/>
                  <a:gd name="connsiteY32" fmla="*/ 48768 h 62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53149" h="62674">
                    <a:moveTo>
                      <a:pt x="8954" y="60388"/>
                    </a:moveTo>
                    <a:cubicBezTo>
                      <a:pt x="6191" y="58960"/>
                      <a:pt x="4000" y="56864"/>
                      <a:pt x="2381" y="54197"/>
                    </a:cubicBezTo>
                    <a:cubicBezTo>
                      <a:pt x="762" y="51530"/>
                      <a:pt x="0" y="48196"/>
                      <a:pt x="0" y="44387"/>
                    </a:cubicBezTo>
                    <a:cubicBezTo>
                      <a:pt x="0" y="37719"/>
                      <a:pt x="2191" y="32861"/>
                      <a:pt x="6477" y="29813"/>
                    </a:cubicBezTo>
                    <a:cubicBezTo>
                      <a:pt x="10763" y="26765"/>
                      <a:pt x="16573" y="25241"/>
                      <a:pt x="23908" y="25051"/>
                    </a:cubicBezTo>
                    <a:lnTo>
                      <a:pt x="36957" y="24860"/>
                    </a:lnTo>
                    <a:lnTo>
                      <a:pt x="36957" y="22003"/>
                    </a:lnTo>
                    <a:cubicBezTo>
                      <a:pt x="36957" y="18288"/>
                      <a:pt x="36100" y="15716"/>
                      <a:pt x="34290" y="14288"/>
                    </a:cubicBezTo>
                    <a:cubicBezTo>
                      <a:pt x="32480" y="12859"/>
                      <a:pt x="30099" y="12097"/>
                      <a:pt x="27051" y="12097"/>
                    </a:cubicBezTo>
                    <a:cubicBezTo>
                      <a:pt x="21717" y="12097"/>
                      <a:pt x="16288" y="14573"/>
                      <a:pt x="10763" y="19431"/>
                    </a:cubicBezTo>
                    <a:lnTo>
                      <a:pt x="3334" y="9620"/>
                    </a:lnTo>
                    <a:cubicBezTo>
                      <a:pt x="10573" y="3238"/>
                      <a:pt x="18764" y="0"/>
                      <a:pt x="27908" y="0"/>
                    </a:cubicBezTo>
                    <a:cubicBezTo>
                      <a:pt x="35719" y="0"/>
                      <a:pt x="41815" y="1905"/>
                      <a:pt x="46196" y="5620"/>
                    </a:cubicBezTo>
                    <a:cubicBezTo>
                      <a:pt x="50578" y="9334"/>
                      <a:pt x="52673" y="14669"/>
                      <a:pt x="52673" y="21622"/>
                    </a:cubicBezTo>
                    <a:lnTo>
                      <a:pt x="52673" y="43720"/>
                    </a:lnTo>
                    <a:cubicBezTo>
                      <a:pt x="52673" y="50387"/>
                      <a:pt x="52864" y="56293"/>
                      <a:pt x="53149" y="61531"/>
                    </a:cubicBezTo>
                    <a:lnTo>
                      <a:pt x="38290" y="61531"/>
                    </a:lnTo>
                    <a:cubicBezTo>
                      <a:pt x="38005" y="58864"/>
                      <a:pt x="37909" y="56102"/>
                      <a:pt x="37909" y="53054"/>
                    </a:cubicBezTo>
                    <a:lnTo>
                      <a:pt x="37529" y="53054"/>
                    </a:lnTo>
                    <a:cubicBezTo>
                      <a:pt x="35528" y="56102"/>
                      <a:pt x="32956" y="58483"/>
                      <a:pt x="29813" y="60198"/>
                    </a:cubicBezTo>
                    <a:cubicBezTo>
                      <a:pt x="26670" y="61913"/>
                      <a:pt x="22955" y="62674"/>
                      <a:pt x="18764" y="62674"/>
                    </a:cubicBezTo>
                    <a:cubicBezTo>
                      <a:pt x="15049" y="62674"/>
                      <a:pt x="11811" y="62008"/>
                      <a:pt x="8954" y="60579"/>
                    </a:cubicBezTo>
                    <a:close/>
                    <a:moveTo>
                      <a:pt x="30575" y="48768"/>
                    </a:moveTo>
                    <a:cubicBezTo>
                      <a:pt x="32575" y="47530"/>
                      <a:pt x="34195" y="45911"/>
                      <a:pt x="35338" y="43910"/>
                    </a:cubicBezTo>
                    <a:cubicBezTo>
                      <a:pt x="36481" y="41910"/>
                      <a:pt x="37052" y="39814"/>
                      <a:pt x="37052" y="37529"/>
                    </a:cubicBezTo>
                    <a:lnTo>
                      <a:pt x="37052" y="34480"/>
                    </a:lnTo>
                    <a:lnTo>
                      <a:pt x="28956" y="34480"/>
                    </a:lnTo>
                    <a:cubicBezTo>
                      <a:pt x="26194" y="34766"/>
                      <a:pt x="24003" y="35052"/>
                      <a:pt x="22288" y="35433"/>
                    </a:cubicBezTo>
                    <a:cubicBezTo>
                      <a:pt x="20574" y="35814"/>
                      <a:pt x="19145" y="36576"/>
                      <a:pt x="18097" y="37814"/>
                    </a:cubicBezTo>
                    <a:cubicBezTo>
                      <a:pt x="17050" y="39053"/>
                      <a:pt x="16478" y="40767"/>
                      <a:pt x="16478" y="43053"/>
                    </a:cubicBezTo>
                    <a:cubicBezTo>
                      <a:pt x="16478" y="45339"/>
                      <a:pt x="17145" y="47339"/>
                      <a:pt x="18479" y="48673"/>
                    </a:cubicBezTo>
                    <a:cubicBezTo>
                      <a:pt x="19812" y="50006"/>
                      <a:pt x="21622" y="50578"/>
                      <a:pt x="23813" y="50578"/>
                    </a:cubicBezTo>
                    <a:cubicBezTo>
                      <a:pt x="26384" y="50578"/>
                      <a:pt x="28670" y="50006"/>
                      <a:pt x="30671" y="48768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40" name="Freeform: Shape 173">
                <a:extLst>
                  <a:ext uri="{FF2B5EF4-FFF2-40B4-BE49-F238E27FC236}">
                    <a16:creationId xmlns:a16="http://schemas.microsoft.com/office/drawing/2014/main" id="{4B6EA67E-67ED-B6D6-D703-6EA4548B2D97}"/>
                  </a:ext>
                </a:extLst>
              </p:cNvPr>
              <p:cNvSpPr/>
              <p:nvPr/>
            </p:nvSpPr>
            <p:spPr>
              <a:xfrm>
                <a:off x="4451508" y="4213574"/>
                <a:ext cx="55149" cy="61722"/>
              </a:xfrm>
              <a:custGeom>
                <a:avLst/>
                <a:gdLst>
                  <a:gd name="connsiteX0" fmla="*/ 381 w 55149"/>
                  <a:gd name="connsiteY0" fmla="*/ 14669 h 61722"/>
                  <a:gd name="connsiteX1" fmla="*/ 286 w 55149"/>
                  <a:gd name="connsiteY1" fmla="*/ 6763 h 61722"/>
                  <a:gd name="connsiteX2" fmla="*/ 0 w 55149"/>
                  <a:gd name="connsiteY2" fmla="*/ 1238 h 61722"/>
                  <a:gd name="connsiteX3" fmla="*/ 14954 w 55149"/>
                  <a:gd name="connsiteY3" fmla="*/ 1238 h 61722"/>
                  <a:gd name="connsiteX4" fmla="*/ 15430 w 55149"/>
                  <a:gd name="connsiteY4" fmla="*/ 6191 h 61722"/>
                  <a:gd name="connsiteX5" fmla="*/ 15716 w 55149"/>
                  <a:gd name="connsiteY5" fmla="*/ 12097 h 61722"/>
                  <a:gd name="connsiteX6" fmla="*/ 15907 w 55149"/>
                  <a:gd name="connsiteY6" fmla="*/ 12097 h 61722"/>
                  <a:gd name="connsiteX7" fmla="*/ 23908 w 55149"/>
                  <a:gd name="connsiteY7" fmla="*/ 2953 h 61722"/>
                  <a:gd name="connsiteX8" fmla="*/ 35338 w 55149"/>
                  <a:gd name="connsiteY8" fmla="*/ 0 h 61722"/>
                  <a:gd name="connsiteX9" fmla="*/ 50387 w 55149"/>
                  <a:gd name="connsiteY9" fmla="*/ 6382 h 61722"/>
                  <a:gd name="connsiteX10" fmla="*/ 55150 w 55149"/>
                  <a:gd name="connsiteY10" fmla="*/ 23336 h 61722"/>
                  <a:gd name="connsiteX11" fmla="*/ 55150 w 55149"/>
                  <a:gd name="connsiteY11" fmla="*/ 61627 h 61722"/>
                  <a:gd name="connsiteX12" fmla="*/ 39529 w 55149"/>
                  <a:gd name="connsiteY12" fmla="*/ 61627 h 61722"/>
                  <a:gd name="connsiteX13" fmla="*/ 39529 w 55149"/>
                  <a:gd name="connsiteY13" fmla="*/ 27813 h 61722"/>
                  <a:gd name="connsiteX14" fmla="*/ 37243 w 55149"/>
                  <a:gd name="connsiteY14" fmla="*/ 17240 h 61722"/>
                  <a:gd name="connsiteX15" fmla="*/ 29337 w 55149"/>
                  <a:gd name="connsiteY15" fmla="*/ 13526 h 61722"/>
                  <a:gd name="connsiteX16" fmla="*/ 22574 w 55149"/>
                  <a:gd name="connsiteY16" fmla="*/ 15526 h 61722"/>
                  <a:gd name="connsiteX17" fmla="*/ 17812 w 55149"/>
                  <a:gd name="connsiteY17" fmla="*/ 21146 h 61722"/>
                  <a:gd name="connsiteX18" fmla="*/ 16097 w 55149"/>
                  <a:gd name="connsiteY18" fmla="*/ 29337 h 61722"/>
                  <a:gd name="connsiteX19" fmla="*/ 16097 w 55149"/>
                  <a:gd name="connsiteY19" fmla="*/ 61722 h 61722"/>
                  <a:gd name="connsiteX20" fmla="*/ 381 w 55149"/>
                  <a:gd name="connsiteY20" fmla="*/ 61722 h 61722"/>
                  <a:gd name="connsiteX21" fmla="*/ 381 w 55149"/>
                  <a:gd name="connsiteY21" fmla="*/ 14859 h 61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55149" h="61722">
                    <a:moveTo>
                      <a:pt x="381" y="14669"/>
                    </a:moveTo>
                    <a:cubicBezTo>
                      <a:pt x="381" y="12097"/>
                      <a:pt x="381" y="9430"/>
                      <a:pt x="286" y="6763"/>
                    </a:cubicBezTo>
                    <a:cubicBezTo>
                      <a:pt x="190" y="4096"/>
                      <a:pt x="95" y="2191"/>
                      <a:pt x="0" y="1238"/>
                    </a:cubicBezTo>
                    <a:lnTo>
                      <a:pt x="14954" y="1238"/>
                    </a:lnTo>
                    <a:cubicBezTo>
                      <a:pt x="15145" y="2096"/>
                      <a:pt x="15240" y="3715"/>
                      <a:pt x="15430" y="6191"/>
                    </a:cubicBezTo>
                    <a:cubicBezTo>
                      <a:pt x="15621" y="8668"/>
                      <a:pt x="15716" y="10668"/>
                      <a:pt x="15716" y="12097"/>
                    </a:cubicBezTo>
                    <a:lnTo>
                      <a:pt x="15907" y="12097"/>
                    </a:lnTo>
                    <a:cubicBezTo>
                      <a:pt x="18002" y="8001"/>
                      <a:pt x="20669" y="4953"/>
                      <a:pt x="23908" y="2953"/>
                    </a:cubicBezTo>
                    <a:cubicBezTo>
                      <a:pt x="27146" y="953"/>
                      <a:pt x="30956" y="0"/>
                      <a:pt x="35338" y="0"/>
                    </a:cubicBezTo>
                    <a:cubicBezTo>
                      <a:pt x="42196" y="0"/>
                      <a:pt x="47244" y="2096"/>
                      <a:pt x="50387" y="6382"/>
                    </a:cubicBezTo>
                    <a:cubicBezTo>
                      <a:pt x="53530" y="10668"/>
                      <a:pt x="55150" y="16288"/>
                      <a:pt x="55150" y="23336"/>
                    </a:cubicBezTo>
                    <a:lnTo>
                      <a:pt x="55150" y="61627"/>
                    </a:lnTo>
                    <a:lnTo>
                      <a:pt x="39529" y="61627"/>
                    </a:lnTo>
                    <a:lnTo>
                      <a:pt x="39529" y="27813"/>
                    </a:lnTo>
                    <a:cubicBezTo>
                      <a:pt x="39529" y="23241"/>
                      <a:pt x="38767" y="19717"/>
                      <a:pt x="37243" y="17240"/>
                    </a:cubicBezTo>
                    <a:cubicBezTo>
                      <a:pt x="35719" y="14764"/>
                      <a:pt x="33052" y="13526"/>
                      <a:pt x="29337" y="13526"/>
                    </a:cubicBezTo>
                    <a:cubicBezTo>
                      <a:pt x="26765" y="13526"/>
                      <a:pt x="24574" y="14192"/>
                      <a:pt x="22574" y="15526"/>
                    </a:cubicBezTo>
                    <a:cubicBezTo>
                      <a:pt x="20574" y="16859"/>
                      <a:pt x="18955" y="18669"/>
                      <a:pt x="17812" y="21146"/>
                    </a:cubicBezTo>
                    <a:cubicBezTo>
                      <a:pt x="16669" y="23622"/>
                      <a:pt x="16097" y="26289"/>
                      <a:pt x="16097" y="29337"/>
                    </a:cubicBezTo>
                    <a:lnTo>
                      <a:pt x="16097" y="61722"/>
                    </a:lnTo>
                    <a:lnTo>
                      <a:pt x="381" y="61722"/>
                    </a:lnTo>
                    <a:lnTo>
                      <a:pt x="381" y="14859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41" name="Freeform: Shape 174">
                <a:extLst>
                  <a:ext uri="{FF2B5EF4-FFF2-40B4-BE49-F238E27FC236}">
                    <a16:creationId xmlns:a16="http://schemas.microsoft.com/office/drawing/2014/main" id="{32A98515-C647-640A-C36C-8B7DDA46FCA1}"/>
                  </a:ext>
                </a:extLst>
              </p:cNvPr>
              <p:cNvSpPr/>
              <p:nvPr/>
            </p:nvSpPr>
            <p:spPr>
              <a:xfrm>
                <a:off x="4517421" y="4213669"/>
                <a:ext cx="53149" cy="62674"/>
              </a:xfrm>
              <a:custGeom>
                <a:avLst/>
                <a:gdLst>
                  <a:gd name="connsiteX0" fmla="*/ 8954 w 53149"/>
                  <a:gd name="connsiteY0" fmla="*/ 60388 h 62674"/>
                  <a:gd name="connsiteX1" fmla="*/ 2381 w 53149"/>
                  <a:gd name="connsiteY1" fmla="*/ 54197 h 62674"/>
                  <a:gd name="connsiteX2" fmla="*/ 0 w 53149"/>
                  <a:gd name="connsiteY2" fmla="*/ 44387 h 62674"/>
                  <a:gd name="connsiteX3" fmla="*/ 6477 w 53149"/>
                  <a:gd name="connsiteY3" fmla="*/ 29813 h 62674"/>
                  <a:gd name="connsiteX4" fmla="*/ 23908 w 53149"/>
                  <a:gd name="connsiteY4" fmla="*/ 25051 h 62674"/>
                  <a:gd name="connsiteX5" fmla="*/ 36957 w 53149"/>
                  <a:gd name="connsiteY5" fmla="*/ 24860 h 62674"/>
                  <a:gd name="connsiteX6" fmla="*/ 36957 w 53149"/>
                  <a:gd name="connsiteY6" fmla="*/ 22003 h 62674"/>
                  <a:gd name="connsiteX7" fmla="*/ 34290 w 53149"/>
                  <a:gd name="connsiteY7" fmla="*/ 14288 h 62674"/>
                  <a:gd name="connsiteX8" fmla="*/ 27051 w 53149"/>
                  <a:gd name="connsiteY8" fmla="*/ 12097 h 62674"/>
                  <a:gd name="connsiteX9" fmla="*/ 10763 w 53149"/>
                  <a:gd name="connsiteY9" fmla="*/ 19431 h 62674"/>
                  <a:gd name="connsiteX10" fmla="*/ 3334 w 53149"/>
                  <a:gd name="connsiteY10" fmla="*/ 9620 h 62674"/>
                  <a:gd name="connsiteX11" fmla="*/ 27908 w 53149"/>
                  <a:gd name="connsiteY11" fmla="*/ 0 h 62674"/>
                  <a:gd name="connsiteX12" fmla="*/ 46196 w 53149"/>
                  <a:gd name="connsiteY12" fmla="*/ 5620 h 62674"/>
                  <a:gd name="connsiteX13" fmla="*/ 52673 w 53149"/>
                  <a:gd name="connsiteY13" fmla="*/ 21622 h 62674"/>
                  <a:gd name="connsiteX14" fmla="*/ 52673 w 53149"/>
                  <a:gd name="connsiteY14" fmla="*/ 43720 h 62674"/>
                  <a:gd name="connsiteX15" fmla="*/ 53150 w 53149"/>
                  <a:gd name="connsiteY15" fmla="*/ 61531 h 62674"/>
                  <a:gd name="connsiteX16" fmla="*/ 38291 w 53149"/>
                  <a:gd name="connsiteY16" fmla="*/ 61531 h 62674"/>
                  <a:gd name="connsiteX17" fmla="*/ 37910 w 53149"/>
                  <a:gd name="connsiteY17" fmla="*/ 53054 h 62674"/>
                  <a:gd name="connsiteX18" fmla="*/ 37529 w 53149"/>
                  <a:gd name="connsiteY18" fmla="*/ 53054 h 62674"/>
                  <a:gd name="connsiteX19" fmla="*/ 29813 w 53149"/>
                  <a:gd name="connsiteY19" fmla="*/ 60198 h 62674"/>
                  <a:gd name="connsiteX20" fmla="*/ 18764 w 53149"/>
                  <a:gd name="connsiteY20" fmla="*/ 62674 h 62674"/>
                  <a:gd name="connsiteX21" fmla="*/ 8954 w 53149"/>
                  <a:gd name="connsiteY21" fmla="*/ 60579 h 62674"/>
                  <a:gd name="connsiteX22" fmla="*/ 30575 w 53149"/>
                  <a:gd name="connsiteY22" fmla="*/ 48768 h 62674"/>
                  <a:gd name="connsiteX23" fmla="*/ 35338 w 53149"/>
                  <a:gd name="connsiteY23" fmla="*/ 43910 h 62674"/>
                  <a:gd name="connsiteX24" fmla="*/ 37052 w 53149"/>
                  <a:gd name="connsiteY24" fmla="*/ 37529 h 62674"/>
                  <a:gd name="connsiteX25" fmla="*/ 37052 w 53149"/>
                  <a:gd name="connsiteY25" fmla="*/ 34480 h 62674"/>
                  <a:gd name="connsiteX26" fmla="*/ 28956 w 53149"/>
                  <a:gd name="connsiteY26" fmla="*/ 34480 h 62674"/>
                  <a:gd name="connsiteX27" fmla="*/ 22288 w 53149"/>
                  <a:gd name="connsiteY27" fmla="*/ 35433 h 62674"/>
                  <a:gd name="connsiteX28" fmla="*/ 18098 w 53149"/>
                  <a:gd name="connsiteY28" fmla="*/ 37814 h 62674"/>
                  <a:gd name="connsiteX29" fmla="*/ 16478 w 53149"/>
                  <a:gd name="connsiteY29" fmla="*/ 43053 h 62674"/>
                  <a:gd name="connsiteX30" fmla="*/ 18479 w 53149"/>
                  <a:gd name="connsiteY30" fmla="*/ 48673 h 62674"/>
                  <a:gd name="connsiteX31" fmla="*/ 23813 w 53149"/>
                  <a:gd name="connsiteY31" fmla="*/ 50578 h 62674"/>
                  <a:gd name="connsiteX32" fmla="*/ 30671 w 53149"/>
                  <a:gd name="connsiteY32" fmla="*/ 48768 h 62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53149" h="62674">
                    <a:moveTo>
                      <a:pt x="8954" y="60388"/>
                    </a:moveTo>
                    <a:cubicBezTo>
                      <a:pt x="6191" y="58960"/>
                      <a:pt x="4001" y="56864"/>
                      <a:pt x="2381" y="54197"/>
                    </a:cubicBezTo>
                    <a:cubicBezTo>
                      <a:pt x="762" y="51530"/>
                      <a:pt x="0" y="48196"/>
                      <a:pt x="0" y="44387"/>
                    </a:cubicBezTo>
                    <a:cubicBezTo>
                      <a:pt x="0" y="37719"/>
                      <a:pt x="2191" y="32861"/>
                      <a:pt x="6477" y="29813"/>
                    </a:cubicBezTo>
                    <a:cubicBezTo>
                      <a:pt x="10763" y="26765"/>
                      <a:pt x="16574" y="25241"/>
                      <a:pt x="23908" y="25051"/>
                    </a:cubicBezTo>
                    <a:lnTo>
                      <a:pt x="36957" y="24860"/>
                    </a:lnTo>
                    <a:lnTo>
                      <a:pt x="36957" y="22003"/>
                    </a:lnTo>
                    <a:cubicBezTo>
                      <a:pt x="36957" y="18288"/>
                      <a:pt x="36100" y="15716"/>
                      <a:pt x="34290" y="14288"/>
                    </a:cubicBezTo>
                    <a:cubicBezTo>
                      <a:pt x="32480" y="12859"/>
                      <a:pt x="30099" y="12097"/>
                      <a:pt x="27051" y="12097"/>
                    </a:cubicBezTo>
                    <a:cubicBezTo>
                      <a:pt x="21717" y="12097"/>
                      <a:pt x="16288" y="14573"/>
                      <a:pt x="10763" y="19431"/>
                    </a:cubicBezTo>
                    <a:lnTo>
                      <a:pt x="3334" y="9620"/>
                    </a:lnTo>
                    <a:cubicBezTo>
                      <a:pt x="10573" y="3238"/>
                      <a:pt x="18764" y="0"/>
                      <a:pt x="27908" y="0"/>
                    </a:cubicBezTo>
                    <a:cubicBezTo>
                      <a:pt x="35719" y="0"/>
                      <a:pt x="41815" y="1905"/>
                      <a:pt x="46196" y="5620"/>
                    </a:cubicBezTo>
                    <a:cubicBezTo>
                      <a:pt x="50578" y="9334"/>
                      <a:pt x="52673" y="14669"/>
                      <a:pt x="52673" y="21622"/>
                    </a:cubicBezTo>
                    <a:lnTo>
                      <a:pt x="52673" y="43720"/>
                    </a:lnTo>
                    <a:cubicBezTo>
                      <a:pt x="52673" y="50387"/>
                      <a:pt x="52864" y="56293"/>
                      <a:pt x="53150" y="61531"/>
                    </a:cubicBezTo>
                    <a:lnTo>
                      <a:pt x="38291" y="61531"/>
                    </a:lnTo>
                    <a:cubicBezTo>
                      <a:pt x="38005" y="58864"/>
                      <a:pt x="37910" y="56102"/>
                      <a:pt x="37910" y="53054"/>
                    </a:cubicBezTo>
                    <a:lnTo>
                      <a:pt x="37529" y="53054"/>
                    </a:lnTo>
                    <a:cubicBezTo>
                      <a:pt x="35528" y="56102"/>
                      <a:pt x="32957" y="58483"/>
                      <a:pt x="29813" y="60198"/>
                    </a:cubicBezTo>
                    <a:cubicBezTo>
                      <a:pt x="26670" y="61913"/>
                      <a:pt x="22955" y="62674"/>
                      <a:pt x="18764" y="62674"/>
                    </a:cubicBezTo>
                    <a:cubicBezTo>
                      <a:pt x="15050" y="62674"/>
                      <a:pt x="11811" y="62008"/>
                      <a:pt x="8954" y="60579"/>
                    </a:cubicBezTo>
                    <a:close/>
                    <a:moveTo>
                      <a:pt x="30575" y="48768"/>
                    </a:moveTo>
                    <a:cubicBezTo>
                      <a:pt x="32576" y="47530"/>
                      <a:pt x="34195" y="45911"/>
                      <a:pt x="35338" y="43910"/>
                    </a:cubicBezTo>
                    <a:cubicBezTo>
                      <a:pt x="36481" y="41910"/>
                      <a:pt x="37052" y="39814"/>
                      <a:pt x="37052" y="37529"/>
                    </a:cubicBezTo>
                    <a:lnTo>
                      <a:pt x="37052" y="34480"/>
                    </a:lnTo>
                    <a:lnTo>
                      <a:pt x="28956" y="34480"/>
                    </a:lnTo>
                    <a:cubicBezTo>
                      <a:pt x="26194" y="34766"/>
                      <a:pt x="24003" y="35052"/>
                      <a:pt x="22288" y="35433"/>
                    </a:cubicBezTo>
                    <a:cubicBezTo>
                      <a:pt x="20574" y="35814"/>
                      <a:pt x="19145" y="36576"/>
                      <a:pt x="18098" y="37814"/>
                    </a:cubicBezTo>
                    <a:cubicBezTo>
                      <a:pt x="17050" y="39053"/>
                      <a:pt x="16478" y="40767"/>
                      <a:pt x="16478" y="43053"/>
                    </a:cubicBezTo>
                    <a:cubicBezTo>
                      <a:pt x="16478" y="45339"/>
                      <a:pt x="17145" y="47339"/>
                      <a:pt x="18479" y="48673"/>
                    </a:cubicBezTo>
                    <a:cubicBezTo>
                      <a:pt x="19812" y="50006"/>
                      <a:pt x="21622" y="50578"/>
                      <a:pt x="23813" y="50578"/>
                    </a:cubicBezTo>
                    <a:cubicBezTo>
                      <a:pt x="26384" y="50578"/>
                      <a:pt x="28670" y="50006"/>
                      <a:pt x="30671" y="48768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42" name="Freeform: Shape 175">
                <a:extLst>
                  <a:ext uri="{FF2B5EF4-FFF2-40B4-BE49-F238E27FC236}">
                    <a16:creationId xmlns:a16="http://schemas.microsoft.com/office/drawing/2014/main" id="{0DB4E3F4-48A9-276C-411E-AE059F32D488}"/>
                  </a:ext>
                </a:extLst>
              </p:cNvPr>
              <p:cNvSpPr/>
              <p:nvPr/>
            </p:nvSpPr>
            <p:spPr>
              <a:xfrm>
                <a:off x="4580858" y="4209097"/>
                <a:ext cx="60769" cy="89725"/>
              </a:xfrm>
              <a:custGeom>
                <a:avLst/>
                <a:gdLst>
                  <a:gd name="connsiteX0" fmla="*/ 48196 w 60769"/>
                  <a:gd name="connsiteY0" fmla="*/ 54293 h 89725"/>
                  <a:gd name="connsiteX1" fmla="*/ 57245 w 60769"/>
                  <a:gd name="connsiteY1" fmla="*/ 59246 h 89725"/>
                  <a:gd name="connsiteX2" fmla="*/ 60770 w 60769"/>
                  <a:gd name="connsiteY2" fmla="*/ 70866 h 89725"/>
                  <a:gd name="connsiteX3" fmla="*/ 53150 w 60769"/>
                  <a:gd name="connsiteY3" fmla="*/ 85058 h 89725"/>
                  <a:gd name="connsiteX4" fmla="*/ 28956 w 60769"/>
                  <a:gd name="connsiteY4" fmla="*/ 89726 h 89725"/>
                  <a:gd name="connsiteX5" fmla="*/ 12192 w 60769"/>
                  <a:gd name="connsiteY5" fmla="*/ 88297 h 89725"/>
                  <a:gd name="connsiteX6" fmla="*/ 2953 w 60769"/>
                  <a:gd name="connsiteY6" fmla="*/ 83629 h 89725"/>
                  <a:gd name="connsiteX7" fmla="*/ 0 w 60769"/>
                  <a:gd name="connsiteY7" fmla="*/ 74867 h 89725"/>
                  <a:gd name="connsiteX8" fmla="*/ 2000 w 60769"/>
                  <a:gd name="connsiteY8" fmla="*/ 68009 h 89725"/>
                  <a:gd name="connsiteX9" fmla="*/ 8001 w 60769"/>
                  <a:gd name="connsiteY9" fmla="*/ 62198 h 89725"/>
                  <a:gd name="connsiteX10" fmla="*/ 4286 w 60769"/>
                  <a:gd name="connsiteY10" fmla="*/ 53626 h 89725"/>
                  <a:gd name="connsiteX11" fmla="*/ 6191 w 60769"/>
                  <a:gd name="connsiteY11" fmla="*/ 46768 h 89725"/>
                  <a:gd name="connsiteX12" fmla="*/ 11621 w 60769"/>
                  <a:gd name="connsiteY12" fmla="*/ 40958 h 89725"/>
                  <a:gd name="connsiteX13" fmla="*/ 5144 w 60769"/>
                  <a:gd name="connsiteY13" fmla="*/ 34290 h 89725"/>
                  <a:gd name="connsiteX14" fmla="*/ 2953 w 60769"/>
                  <a:gd name="connsiteY14" fmla="*/ 24860 h 89725"/>
                  <a:gd name="connsiteX15" fmla="*/ 5525 w 60769"/>
                  <a:gd name="connsiteY15" fmla="*/ 14478 h 89725"/>
                  <a:gd name="connsiteX16" fmla="*/ 13811 w 60769"/>
                  <a:gd name="connsiteY16" fmla="*/ 7239 h 89725"/>
                  <a:gd name="connsiteX17" fmla="*/ 28289 w 60769"/>
                  <a:gd name="connsiteY17" fmla="*/ 4572 h 89725"/>
                  <a:gd name="connsiteX18" fmla="*/ 43720 w 60769"/>
                  <a:gd name="connsiteY18" fmla="*/ 7906 h 89725"/>
                  <a:gd name="connsiteX19" fmla="*/ 50102 w 60769"/>
                  <a:gd name="connsiteY19" fmla="*/ 2000 h 89725"/>
                  <a:gd name="connsiteX20" fmla="*/ 58388 w 60769"/>
                  <a:gd name="connsiteY20" fmla="*/ 0 h 89725"/>
                  <a:gd name="connsiteX21" fmla="*/ 58579 w 60769"/>
                  <a:gd name="connsiteY21" fmla="*/ 0 h 89725"/>
                  <a:gd name="connsiteX22" fmla="*/ 59150 w 60769"/>
                  <a:gd name="connsiteY22" fmla="*/ 12763 h 89725"/>
                  <a:gd name="connsiteX23" fmla="*/ 58960 w 60769"/>
                  <a:gd name="connsiteY23" fmla="*/ 12763 h 89725"/>
                  <a:gd name="connsiteX24" fmla="*/ 50578 w 60769"/>
                  <a:gd name="connsiteY24" fmla="*/ 14002 h 89725"/>
                  <a:gd name="connsiteX25" fmla="*/ 53530 w 60769"/>
                  <a:gd name="connsiteY25" fmla="*/ 24860 h 89725"/>
                  <a:gd name="connsiteX26" fmla="*/ 50863 w 60769"/>
                  <a:gd name="connsiteY26" fmla="*/ 35052 h 89725"/>
                  <a:gd name="connsiteX27" fmla="*/ 42482 w 60769"/>
                  <a:gd name="connsiteY27" fmla="*/ 42196 h 89725"/>
                  <a:gd name="connsiteX28" fmla="*/ 28099 w 60769"/>
                  <a:gd name="connsiteY28" fmla="*/ 44863 h 89725"/>
                  <a:gd name="connsiteX29" fmla="*/ 20479 w 60769"/>
                  <a:gd name="connsiteY29" fmla="*/ 44196 h 89725"/>
                  <a:gd name="connsiteX30" fmla="*/ 18764 w 60769"/>
                  <a:gd name="connsiteY30" fmla="*/ 46292 h 89725"/>
                  <a:gd name="connsiteX31" fmla="*/ 18193 w 60769"/>
                  <a:gd name="connsiteY31" fmla="*/ 48387 h 89725"/>
                  <a:gd name="connsiteX32" fmla="*/ 19336 w 60769"/>
                  <a:gd name="connsiteY32" fmla="*/ 50673 h 89725"/>
                  <a:gd name="connsiteX33" fmla="*/ 22670 w 60769"/>
                  <a:gd name="connsiteY33" fmla="*/ 51721 h 89725"/>
                  <a:gd name="connsiteX34" fmla="*/ 29623 w 60769"/>
                  <a:gd name="connsiteY34" fmla="*/ 52292 h 89725"/>
                  <a:gd name="connsiteX35" fmla="*/ 32385 w 60769"/>
                  <a:gd name="connsiteY35" fmla="*/ 52483 h 89725"/>
                  <a:gd name="connsiteX36" fmla="*/ 48387 w 60769"/>
                  <a:gd name="connsiteY36" fmla="*/ 54293 h 89725"/>
                  <a:gd name="connsiteX37" fmla="*/ 41815 w 60769"/>
                  <a:gd name="connsiteY37" fmla="*/ 77248 h 89725"/>
                  <a:gd name="connsiteX38" fmla="*/ 45815 w 60769"/>
                  <a:gd name="connsiteY38" fmla="*/ 72771 h 89725"/>
                  <a:gd name="connsiteX39" fmla="*/ 44196 w 60769"/>
                  <a:gd name="connsiteY39" fmla="*/ 69437 h 89725"/>
                  <a:gd name="connsiteX40" fmla="*/ 39434 w 60769"/>
                  <a:gd name="connsiteY40" fmla="*/ 67913 h 89725"/>
                  <a:gd name="connsiteX41" fmla="*/ 29432 w 60769"/>
                  <a:gd name="connsiteY41" fmla="*/ 66961 h 89725"/>
                  <a:gd name="connsiteX42" fmla="*/ 27242 w 60769"/>
                  <a:gd name="connsiteY42" fmla="*/ 66770 h 89725"/>
                  <a:gd name="connsiteX43" fmla="*/ 23146 w 60769"/>
                  <a:gd name="connsiteY43" fmla="*/ 66485 h 89725"/>
                  <a:gd name="connsiteX44" fmla="*/ 16764 w 60769"/>
                  <a:gd name="connsiteY44" fmla="*/ 65722 h 89725"/>
                  <a:gd name="connsiteX45" fmla="*/ 14764 w 60769"/>
                  <a:gd name="connsiteY45" fmla="*/ 69056 h 89725"/>
                  <a:gd name="connsiteX46" fmla="*/ 14097 w 60769"/>
                  <a:gd name="connsiteY46" fmla="*/ 72676 h 89725"/>
                  <a:gd name="connsiteX47" fmla="*/ 15716 w 60769"/>
                  <a:gd name="connsiteY47" fmla="*/ 76486 h 89725"/>
                  <a:gd name="connsiteX48" fmla="*/ 20479 w 60769"/>
                  <a:gd name="connsiteY48" fmla="*/ 78200 h 89725"/>
                  <a:gd name="connsiteX49" fmla="*/ 29432 w 60769"/>
                  <a:gd name="connsiteY49" fmla="*/ 78581 h 89725"/>
                  <a:gd name="connsiteX50" fmla="*/ 41815 w 60769"/>
                  <a:gd name="connsiteY50" fmla="*/ 77343 h 89725"/>
                  <a:gd name="connsiteX51" fmla="*/ 20288 w 60769"/>
                  <a:gd name="connsiteY51" fmla="*/ 17717 h 89725"/>
                  <a:gd name="connsiteX52" fmla="*/ 17717 w 60769"/>
                  <a:gd name="connsiteY52" fmla="*/ 24860 h 89725"/>
                  <a:gd name="connsiteX53" fmla="*/ 20288 w 60769"/>
                  <a:gd name="connsiteY53" fmla="*/ 31813 h 89725"/>
                  <a:gd name="connsiteX54" fmla="*/ 27718 w 60769"/>
                  <a:gd name="connsiteY54" fmla="*/ 34290 h 89725"/>
                  <a:gd name="connsiteX55" fmla="*/ 36004 w 60769"/>
                  <a:gd name="connsiteY55" fmla="*/ 31813 h 89725"/>
                  <a:gd name="connsiteX56" fmla="*/ 38481 w 60769"/>
                  <a:gd name="connsiteY56" fmla="*/ 24860 h 89725"/>
                  <a:gd name="connsiteX57" fmla="*/ 35909 w 60769"/>
                  <a:gd name="connsiteY57" fmla="*/ 17717 h 89725"/>
                  <a:gd name="connsiteX58" fmla="*/ 28004 w 60769"/>
                  <a:gd name="connsiteY58" fmla="*/ 15145 h 89725"/>
                  <a:gd name="connsiteX59" fmla="*/ 20193 w 60769"/>
                  <a:gd name="connsiteY59" fmla="*/ 17717 h 89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</a:cxnLst>
                <a:rect l="l" t="t" r="r" b="b"/>
                <a:pathLst>
                  <a:path w="60769" h="89725">
                    <a:moveTo>
                      <a:pt x="48196" y="54293"/>
                    </a:moveTo>
                    <a:cubicBezTo>
                      <a:pt x="51816" y="55054"/>
                      <a:pt x="54864" y="56674"/>
                      <a:pt x="57245" y="59246"/>
                    </a:cubicBezTo>
                    <a:cubicBezTo>
                      <a:pt x="59627" y="61817"/>
                      <a:pt x="60770" y="65627"/>
                      <a:pt x="60770" y="70866"/>
                    </a:cubicBezTo>
                    <a:cubicBezTo>
                      <a:pt x="60770" y="77248"/>
                      <a:pt x="58198" y="82010"/>
                      <a:pt x="53150" y="85058"/>
                    </a:cubicBezTo>
                    <a:cubicBezTo>
                      <a:pt x="48101" y="88106"/>
                      <a:pt x="40005" y="89726"/>
                      <a:pt x="28956" y="89726"/>
                    </a:cubicBezTo>
                    <a:cubicBezTo>
                      <a:pt x="22003" y="89726"/>
                      <a:pt x="16383" y="89249"/>
                      <a:pt x="12192" y="88297"/>
                    </a:cubicBezTo>
                    <a:cubicBezTo>
                      <a:pt x="8001" y="87344"/>
                      <a:pt x="4953" y="85820"/>
                      <a:pt x="2953" y="83629"/>
                    </a:cubicBezTo>
                    <a:cubicBezTo>
                      <a:pt x="953" y="81439"/>
                      <a:pt x="0" y="78581"/>
                      <a:pt x="0" y="74867"/>
                    </a:cubicBezTo>
                    <a:cubicBezTo>
                      <a:pt x="0" y="72295"/>
                      <a:pt x="667" y="70009"/>
                      <a:pt x="2000" y="68009"/>
                    </a:cubicBezTo>
                    <a:cubicBezTo>
                      <a:pt x="3334" y="66008"/>
                      <a:pt x="5334" y="64008"/>
                      <a:pt x="8001" y="62198"/>
                    </a:cubicBezTo>
                    <a:cubicBezTo>
                      <a:pt x="5525" y="60198"/>
                      <a:pt x="4286" y="57341"/>
                      <a:pt x="4286" y="53626"/>
                    </a:cubicBezTo>
                    <a:cubicBezTo>
                      <a:pt x="4286" y="51054"/>
                      <a:pt x="4953" y="48863"/>
                      <a:pt x="6191" y="46768"/>
                    </a:cubicBezTo>
                    <a:cubicBezTo>
                      <a:pt x="7429" y="44672"/>
                      <a:pt x="9239" y="42767"/>
                      <a:pt x="11621" y="40958"/>
                    </a:cubicBezTo>
                    <a:cubicBezTo>
                      <a:pt x="8763" y="39243"/>
                      <a:pt x="6668" y="37052"/>
                      <a:pt x="5144" y="34290"/>
                    </a:cubicBezTo>
                    <a:cubicBezTo>
                      <a:pt x="3620" y="31528"/>
                      <a:pt x="2953" y="28385"/>
                      <a:pt x="2953" y="24860"/>
                    </a:cubicBezTo>
                    <a:cubicBezTo>
                      <a:pt x="2953" y="20955"/>
                      <a:pt x="3810" y="17526"/>
                      <a:pt x="5525" y="14478"/>
                    </a:cubicBezTo>
                    <a:cubicBezTo>
                      <a:pt x="7239" y="11430"/>
                      <a:pt x="10001" y="8954"/>
                      <a:pt x="13811" y="7239"/>
                    </a:cubicBezTo>
                    <a:cubicBezTo>
                      <a:pt x="17621" y="5525"/>
                      <a:pt x="22384" y="4572"/>
                      <a:pt x="28289" y="4572"/>
                    </a:cubicBezTo>
                    <a:cubicBezTo>
                      <a:pt x="34480" y="4572"/>
                      <a:pt x="39624" y="5715"/>
                      <a:pt x="43720" y="7906"/>
                    </a:cubicBezTo>
                    <a:cubicBezTo>
                      <a:pt x="45625" y="5334"/>
                      <a:pt x="47816" y="3334"/>
                      <a:pt x="50102" y="2000"/>
                    </a:cubicBezTo>
                    <a:cubicBezTo>
                      <a:pt x="52388" y="667"/>
                      <a:pt x="55150" y="0"/>
                      <a:pt x="58388" y="0"/>
                    </a:cubicBezTo>
                    <a:lnTo>
                      <a:pt x="58579" y="0"/>
                    </a:lnTo>
                    <a:lnTo>
                      <a:pt x="59150" y="12763"/>
                    </a:lnTo>
                    <a:lnTo>
                      <a:pt x="58960" y="12763"/>
                    </a:lnTo>
                    <a:cubicBezTo>
                      <a:pt x="55721" y="12763"/>
                      <a:pt x="52959" y="13145"/>
                      <a:pt x="50578" y="14002"/>
                    </a:cubicBezTo>
                    <a:cubicBezTo>
                      <a:pt x="52578" y="17145"/>
                      <a:pt x="53530" y="20764"/>
                      <a:pt x="53530" y="24860"/>
                    </a:cubicBezTo>
                    <a:cubicBezTo>
                      <a:pt x="53530" y="28575"/>
                      <a:pt x="52673" y="32004"/>
                      <a:pt x="50863" y="35052"/>
                    </a:cubicBezTo>
                    <a:cubicBezTo>
                      <a:pt x="49054" y="38100"/>
                      <a:pt x="46292" y="40481"/>
                      <a:pt x="42482" y="42196"/>
                    </a:cubicBezTo>
                    <a:cubicBezTo>
                      <a:pt x="38671" y="43910"/>
                      <a:pt x="33814" y="44863"/>
                      <a:pt x="28099" y="44863"/>
                    </a:cubicBezTo>
                    <a:cubicBezTo>
                      <a:pt x="25337" y="44863"/>
                      <a:pt x="22860" y="44672"/>
                      <a:pt x="20479" y="44196"/>
                    </a:cubicBezTo>
                    <a:cubicBezTo>
                      <a:pt x="19717" y="44958"/>
                      <a:pt x="19145" y="45720"/>
                      <a:pt x="18764" y="46292"/>
                    </a:cubicBezTo>
                    <a:cubicBezTo>
                      <a:pt x="18383" y="46863"/>
                      <a:pt x="18193" y="47625"/>
                      <a:pt x="18193" y="48387"/>
                    </a:cubicBezTo>
                    <a:cubicBezTo>
                      <a:pt x="18193" y="49435"/>
                      <a:pt x="18574" y="50197"/>
                      <a:pt x="19336" y="50673"/>
                    </a:cubicBezTo>
                    <a:cubicBezTo>
                      <a:pt x="20098" y="51149"/>
                      <a:pt x="21241" y="51530"/>
                      <a:pt x="22670" y="51721"/>
                    </a:cubicBezTo>
                    <a:cubicBezTo>
                      <a:pt x="24098" y="51911"/>
                      <a:pt x="26479" y="52102"/>
                      <a:pt x="29623" y="52292"/>
                    </a:cubicBezTo>
                    <a:lnTo>
                      <a:pt x="32385" y="52483"/>
                    </a:lnTo>
                    <a:cubicBezTo>
                      <a:pt x="39434" y="52959"/>
                      <a:pt x="44768" y="53530"/>
                      <a:pt x="48387" y="54293"/>
                    </a:cubicBezTo>
                    <a:close/>
                    <a:moveTo>
                      <a:pt x="41815" y="77248"/>
                    </a:moveTo>
                    <a:cubicBezTo>
                      <a:pt x="44482" y="76391"/>
                      <a:pt x="45815" y="74962"/>
                      <a:pt x="45815" y="72771"/>
                    </a:cubicBezTo>
                    <a:cubicBezTo>
                      <a:pt x="45815" y="71247"/>
                      <a:pt x="45244" y="70199"/>
                      <a:pt x="44196" y="69437"/>
                    </a:cubicBezTo>
                    <a:cubicBezTo>
                      <a:pt x="43148" y="68675"/>
                      <a:pt x="41529" y="68199"/>
                      <a:pt x="39434" y="67913"/>
                    </a:cubicBezTo>
                    <a:cubicBezTo>
                      <a:pt x="37338" y="67628"/>
                      <a:pt x="34004" y="67246"/>
                      <a:pt x="29432" y="66961"/>
                    </a:cubicBezTo>
                    <a:lnTo>
                      <a:pt x="27242" y="66770"/>
                    </a:lnTo>
                    <a:cubicBezTo>
                      <a:pt x="27242" y="66770"/>
                      <a:pt x="25527" y="66675"/>
                      <a:pt x="23146" y="66485"/>
                    </a:cubicBezTo>
                    <a:cubicBezTo>
                      <a:pt x="20764" y="66294"/>
                      <a:pt x="18669" y="66008"/>
                      <a:pt x="16764" y="65722"/>
                    </a:cubicBezTo>
                    <a:cubicBezTo>
                      <a:pt x="15907" y="66866"/>
                      <a:pt x="15240" y="67913"/>
                      <a:pt x="14764" y="69056"/>
                    </a:cubicBezTo>
                    <a:cubicBezTo>
                      <a:pt x="14288" y="70199"/>
                      <a:pt x="14097" y="71342"/>
                      <a:pt x="14097" y="72676"/>
                    </a:cubicBezTo>
                    <a:cubicBezTo>
                      <a:pt x="14097" y="74390"/>
                      <a:pt x="14669" y="75629"/>
                      <a:pt x="15716" y="76486"/>
                    </a:cubicBezTo>
                    <a:cubicBezTo>
                      <a:pt x="16764" y="77343"/>
                      <a:pt x="18383" y="77914"/>
                      <a:pt x="20479" y="78200"/>
                    </a:cubicBezTo>
                    <a:cubicBezTo>
                      <a:pt x="22574" y="78486"/>
                      <a:pt x="25622" y="78581"/>
                      <a:pt x="29432" y="78581"/>
                    </a:cubicBezTo>
                    <a:cubicBezTo>
                      <a:pt x="35052" y="78581"/>
                      <a:pt x="39148" y="78200"/>
                      <a:pt x="41815" y="77343"/>
                    </a:cubicBezTo>
                    <a:close/>
                    <a:moveTo>
                      <a:pt x="20288" y="17717"/>
                    </a:moveTo>
                    <a:cubicBezTo>
                      <a:pt x="18574" y="19431"/>
                      <a:pt x="17717" y="21812"/>
                      <a:pt x="17717" y="24860"/>
                    </a:cubicBezTo>
                    <a:cubicBezTo>
                      <a:pt x="17717" y="27908"/>
                      <a:pt x="18574" y="30099"/>
                      <a:pt x="20288" y="31813"/>
                    </a:cubicBezTo>
                    <a:cubicBezTo>
                      <a:pt x="22003" y="33528"/>
                      <a:pt x="24479" y="34290"/>
                      <a:pt x="27718" y="34290"/>
                    </a:cubicBezTo>
                    <a:cubicBezTo>
                      <a:pt x="31623" y="34290"/>
                      <a:pt x="34385" y="33433"/>
                      <a:pt x="36004" y="31813"/>
                    </a:cubicBezTo>
                    <a:cubicBezTo>
                      <a:pt x="37624" y="30194"/>
                      <a:pt x="38481" y="27908"/>
                      <a:pt x="38481" y="24860"/>
                    </a:cubicBezTo>
                    <a:cubicBezTo>
                      <a:pt x="38481" y="21812"/>
                      <a:pt x="37624" y="19431"/>
                      <a:pt x="35909" y="17717"/>
                    </a:cubicBezTo>
                    <a:cubicBezTo>
                      <a:pt x="34195" y="16002"/>
                      <a:pt x="31623" y="15145"/>
                      <a:pt x="28004" y="15145"/>
                    </a:cubicBezTo>
                    <a:cubicBezTo>
                      <a:pt x="24384" y="15145"/>
                      <a:pt x="21908" y="16002"/>
                      <a:pt x="20193" y="17717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43" name="Freeform: Shape 176">
                <a:extLst>
                  <a:ext uri="{FF2B5EF4-FFF2-40B4-BE49-F238E27FC236}">
                    <a16:creationId xmlns:a16="http://schemas.microsoft.com/office/drawing/2014/main" id="{19DC487A-7713-F22C-F496-5DD10BBE2779}"/>
                  </a:ext>
                </a:extLst>
              </p:cNvPr>
              <p:cNvSpPr/>
              <p:nvPr/>
            </p:nvSpPr>
            <p:spPr>
              <a:xfrm>
                <a:off x="4646580" y="4213574"/>
                <a:ext cx="55245" cy="62769"/>
              </a:xfrm>
              <a:custGeom>
                <a:avLst/>
                <a:gdLst>
                  <a:gd name="connsiteX0" fmla="*/ 7716 w 55245"/>
                  <a:gd name="connsiteY0" fmla="*/ 54769 h 62769"/>
                  <a:gd name="connsiteX1" fmla="*/ 0 w 55245"/>
                  <a:gd name="connsiteY1" fmla="*/ 31242 h 62769"/>
                  <a:gd name="connsiteX2" fmla="*/ 3810 w 55245"/>
                  <a:gd name="connsiteY2" fmla="*/ 13716 h 62769"/>
                  <a:gd name="connsiteX3" fmla="*/ 14097 w 55245"/>
                  <a:gd name="connsiteY3" fmla="*/ 3334 h 62769"/>
                  <a:gd name="connsiteX4" fmla="*/ 28480 w 55245"/>
                  <a:gd name="connsiteY4" fmla="*/ 0 h 62769"/>
                  <a:gd name="connsiteX5" fmla="*/ 43720 w 55245"/>
                  <a:gd name="connsiteY5" fmla="*/ 4001 h 62769"/>
                  <a:gd name="connsiteX6" fmla="*/ 52483 w 55245"/>
                  <a:gd name="connsiteY6" fmla="*/ 14478 h 62769"/>
                  <a:gd name="connsiteX7" fmla="*/ 55245 w 55245"/>
                  <a:gd name="connsiteY7" fmla="*/ 29146 h 62769"/>
                  <a:gd name="connsiteX8" fmla="*/ 54864 w 55245"/>
                  <a:gd name="connsiteY8" fmla="*/ 35433 h 62769"/>
                  <a:gd name="connsiteX9" fmla="*/ 16478 w 55245"/>
                  <a:gd name="connsiteY9" fmla="*/ 35433 h 62769"/>
                  <a:gd name="connsiteX10" fmla="*/ 19812 w 55245"/>
                  <a:gd name="connsiteY10" fmla="*/ 46577 h 62769"/>
                  <a:gd name="connsiteX11" fmla="*/ 30194 w 55245"/>
                  <a:gd name="connsiteY11" fmla="*/ 50673 h 62769"/>
                  <a:gd name="connsiteX12" fmla="*/ 35909 w 55245"/>
                  <a:gd name="connsiteY12" fmla="*/ 50006 h 62769"/>
                  <a:gd name="connsiteX13" fmla="*/ 40958 w 55245"/>
                  <a:gd name="connsiteY13" fmla="*/ 48006 h 62769"/>
                  <a:gd name="connsiteX14" fmla="*/ 46958 w 55245"/>
                  <a:gd name="connsiteY14" fmla="*/ 44196 h 62769"/>
                  <a:gd name="connsiteX15" fmla="*/ 53340 w 55245"/>
                  <a:gd name="connsiteY15" fmla="*/ 54388 h 62769"/>
                  <a:gd name="connsiteX16" fmla="*/ 42672 w 55245"/>
                  <a:gd name="connsiteY16" fmla="*/ 60579 h 62769"/>
                  <a:gd name="connsiteX17" fmla="*/ 29433 w 55245"/>
                  <a:gd name="connsiteY17" fmla="*/ 62770 h 62769"/>
                  <a:gd name="connsiteX18" fmla="*/ 7811 w 55245"/>
                  <a:gd name="connsiteY18" fmla="*/ 54864 h 62769"/>
                  <a:gd name="connsiteX19" fmla="*/ 40005 w 55245"/>
                  <a:gd name="connsiteY19" fmla="*/ 24765 h 62769"/>
                  <a:gd name="connsiteX20" fmla="*/ 36862 w 55245"/>
                  <a:gd name="connsiteY20" fmla="*/ 14764 h 62769"/>
                  <a:gd name="connsiteX21" fmla="*/ 28385 w 55245"/>
                  <a:gd name="connsiteY21" fmla="*/ 11525 h 62769"/>
                  <a:gd name="connsiteX22" fmla="*/ 20003 w 55245"/>
                  <a:gd name="connsiteY22" fmla="*/ 14764 h 62769"/>
                  <a:gd name="connsiteX23" fmla="*/ 16669 w 55245"/>
                  <a:gd name="connsiteY23" fmla="*/ 24765 h 62769"/>
                  <a:gd name="connsiteX24" fmla="*/ 40100 w 55245"/>
                  <a:gd name="connsiteY24" fmla="*/ 24765 h 627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55245" h="62769">
                    <a:moveTo>
                      <a:pt x="7716" y="54769"/>
                    </a:moveTo>
                    <a:cubicBezTo>
                      <a:pt x="2572" y="49530"/>
                      <a:pt x="0" y="41624"/>
                      <a:pt x="0" y="31242"/>
                    </a:cubicBezTo>
                    <a:cubicBezTo>
                      <a:pt x="0" y="24289"/>
                      <a:pt x="1238" y="18383"/>
                      <a:pt x="3810" y="13716"/>
                    </a:cubicBezTo>
                    <a:cubicBezTo>
                      <a:pt x="6382" y="9049"/>
                      <a:pt x="9811" y="5620"/>
                      <a:pt x="14097" y="3334"/>
                    </a:cubicBezTo>
                    <a:cubicBezTo>
                      <a:pt x="18383" y="1048"/>
                      <a:pt x="23146" y="0"/>
                      <a:pt x="28480" y="0"/>
                    </a:cubicBezTo>
                    <a:cubicBezTo>
                      <a:pt x="34576" y="0"/>
                      <a:pt x="39719" y="1334"/>
                      <a:pt x="43720" y="4001"/>
                    </a:cubicBezTo>
                    <a:cubicBezTo>
                      <a:pt x="47720" y="6668"/>
                      <a:pt x="50673" y="10192"/>
                      <a:pt x="52483" y="14478"/>
                    </a:cubicBezTo>
                    <a:cubicBezTo>
                      <a:pt x="54293" y="18764"/>
                      <a:pt x="55245" y="23717"/>
                      <a:pt x="55245" y="29146"/>
                    </a:cubicBezTo>
                    <a:cubicBezTo>
                      <a:pt x="55245" y="31242"/>
                      <a:pt x="55150" y="33338"/>
                      <a:pt x="54864" y="35433"/>
                    </a:cubicBezTo>
                    <a:lnTo>
                      <a:pt x="16478" y="35433"/>
                    </a:lnTo>
                    <a:cubicBezTo>
                      <a:pt x="16478" y="40100"/>
                      <a:pt x="17621" y="43815"/>
                      <a:pt x="19812" y="46577"/>
                    </a:cubicBezTo>
                    <a:cubicBezTo>
                      <a:pt x="22003" y="49339"/>
                      <a:pt x="25527" y="50673"/>
                      <a:pt x="30194" y="50673"/>
                    </a:cubicBezTo>
                    <a:cubicBezTo>
                      <a:pt x="32290" y="50673"/>
                      <a:pt x="34195" y="50483"/>
                      <a:pt x="35909" y="50006"/>
                    </a:cubicBezTo>
                    <a:cubicBezTo>
                      <a:pt x="37624" y="49530"/>
                      <a:pt x="39338" y="48863"/>
                      <a:pt x="40958" y="48006"/>
                    </a:cubicBezTo>
                    <a:cubicBezTo>
                      <a:pt x="42577" y="47149"/>
                      <a:pt x="44577" y="45815"/>
                      <a:pt x="46958" y="44196"/>
                    </a:cubicBezTo>
                    <a:lnTo>
                      <a:pt x="53340" y="54388"/>
                    </a:lnTo>
                    <a:cubicBezTo>
                      <a:pt x="49816" y="57055"/>
                      <a:pt x="46196" y="59150"/>
                      <a:pt x="42672" y="60579"/>
                    </a:cubicBezTo>
                    <a:cubicBezTo>
                      <a:pt x="39148" y="62008"/>
                      <a:pt x="34671" y="62770"/>
                      <a:pt x="29433" y="62770"/>
                    </a:cubicBezTo>
                    <a:cubicBezTo>
                      <a:pt x="20193" y="62770"/>
                      <a:pt x="12954" y="60103"/>
                      <a:pt x="7811" y="54864"/>
                    </a:cubicBezTo>
                    <a:close/>
                    <a:moveTo>
                      <a:pt x="40005" y="24765"/>
                    </a:moveTo>
                    <a:cubicBezTo>
                      <a:pt x="39815" y="20193"/>
                      <a:pt x="38767" y="16859"/>
                      <a:pt x="36862" y="14764"/>
                    </a:cubicBezTo>
                    <a:cubicBezTo>
                      <a:pt x="34957" y="12668"/>
                      <a:pt x="32099" y="11525"/>
                      <a:pt x="28385" y="11525"/>
                    </a:cubicBezTo>
                    <a:cubicBezTo>
                      <a:pt x="24670" y="11525"/>
                      <a:pt x="22098" y="12573"/>
                      <a:pt x="20003" y="14764"/>
                    </a:cubicBezTo>
                    <a:cubicBezTo>
                      <a:pt x="17907" y="16954"/>
                      <a:pt x="16764" y="20288"/>
                      <a:pt x="16669" y="24765"/>
                    </a:cubicBezTo>
                    <a:lnTo>
                      <a:pt x="40100" y="24765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44" name="Freeform: Shape 177">
                <a:extLst>
                  <a:ext uri="{FF2B5EF4-FFF2-40B4-BE49-F238E27FC236}">
                    <a16:creationId xmlns:a16="http://schemas.microsoft.com/office/drawing/2014/main" id="{3E83AA5D-FF59-DB83-ECBD-15F592121FE4}"/>
                  </a:ext>
                </a:extLst>
              </p:cNvPr>
              <p:cNvSpPr/>
              <p:nvPr/>
            </p:nvSpPr>
            <p:spPr>
              <a:xfrm>
                <a:off x="4713350" y="4213574"/>
                <a:ext cx="87058" cy="61722"/>
              </a:xfrm>
              <a:custGeom>
                <a:avLst/>
                <a:gdLst>
                  <a:gd name="connsiteX0" fmla="*/ 381 w 87058"/>
                  <a:gd name="connsiteY0" fmla="*/ 14669 h 61722"/>
                  <a:gd name="connsiteX1" fmla="*/ 286 w 87058"/>
                  <a:gd name="connsiteY1" fmla="*/ 6763 h 61722"/>
                  <a:gd name="connsiteX2" fmla="*/ 0 w 87058"/>
                  <a:gd name="connsiteY2" fmla="*/ 1238 h 61722"/>
                  <a:gd name="connsiteX3" fmla="*/ 14954 w 87058"/>
                  <a:gd name="connsiteY3" fmla="*/ 1238 h 61722"/>
                  <a:gd name="connsiteX4" fmla="*/ 15430 w 87058"/>
                  <a:gd name="connsiteY4" fmla="*/ 6191 h 61722"/>
                  <a:gd name="connsiteX5" fmla="*/ 15716 w 87058"/>
                  <a:gd name="connsiteY5" fmla="*/ 12097 h 61722"/>
                  <a:gd name="connsiteX6" fmla="*/ 15907 w 87058"/>
                  <a:gd name="connsiteY6" fmla="*/ 12097 h 61722"/>
                  <a:gd name="connsiteX7" fmla="*/ 23146 w 87058"/>
                  <a:gd name="connsiteY7" fmla="*/ 2953 h 61722"/>
                  <a:gd name="connsiteX8" fmla="*/ 33528 w 87058"/>
                  <a:gd name="connsiteY8" fmla="*/ 0 h 61722"/>
                  <a:gd name="connsiteX9" fmla="*/ 44577 w 87058"/>
                  <a:gd name="connsiteY9" fmla="*/ 3143 h 61722"/>
                  <a:gd name="connsiteX10" fmla="*/ 50292 w 87058"/>
                  <a:gd name="connsiteY10" fmla="*/ 12192 h 61722"/>
                  <a:gd name="connsiteX11" fmla="*/ 50673 w 87058"/>
                  <a:gd name="connsiteY11" fmla="*/ 12192 h 61722"/>
                  <a:gd name="connsiteX12" fmla="*/ 58103 w 87058"/>
                  <a:gd name="connsiteY12" fmla="*/ 2858 h 61722"/>
                  <a:gd name="connsiteX13" fmla="*/ 68961 w 87058"/>
                  <a:gd name="connsiteY13" fmla="*/ 95 h 61722"/>
                  <a:gd name="connsiteX14" fmla="*/ 82677 w 87058"/>
                  <a:gd name="connsiteY14" fmla="*/ 6477 h 61722"/>
                  <a:gd name="connsiteX15" fmla="*/ 87059 w 87058"/>
                  <a:gd name="connsiteY15" fmla="*/ 23431 h 61722"/>
                  <a:gd name="connsiteX16" fmla="*/ 87059 w 87058"/>
                  <a:gd name="connsiteY16" fmla="*/ 61722 h 61722"/>
                  <a:gd name="connsiteX17" fmla="*/ 71533 w 87058"/>
                  <a:gd name="connsiteY17" fmla="*/ 61722 h 61722"/>
                  <a:gd name="connsiteX18" fmla="*/ 71533 w 87058"/>
                  <a:gd name="connsiteY18" fmla="*/ 27908 h 61722"/>
                  <a:gd name="connsiteX19" fmla="*/ 69533 w 87058"/>
                  <a:gd name="connsiteY19" fmla="*/ 17431 h 61722"/>
                  <a:gd name="connsiteX20" fmla="*/ 62865 w 87058"/>
                  <a:gd name="connsiteY20" fmla="*/ 13716 h 61722"/>
                  <a:gd name="connsiteX21" fmla="*/ 57245 w 87058"/>
                  <a:gd name="connsiteY21" fmla="*/ 15621 h 61722"/>
                  <a:gd name="connsiteX22" fmla="*/ 53245 w 87058"/>
                  <a:gd name="connsiteY22" fmla="*/ 20860 h 61722"/>
                  <a:gd name="connsiteX23" fmla="*/ 51626 w 87058"/>
                  <a:gd name="connsiteY23" fmla="*/ 28575 h 61722"/>
                  <a:gd name="connsiteX24" fmla="*/ 51626 w 87058"/>
                  <a:gd name="connsiteY24" fmla="*/ 61722 h 61722"/>
                  <a:gd name="connsiteX25" fmla="*/ 36100 w 87058"/>
                  <a:gd name="connsiteY25" fmla="*/ 61722 h 61722"/>
                  <a:gd name="connsiteX26" fmla="*/ 36100 w 87058"/>
                  <a:gd name="connsiteY26" fmla="*/ 27908 h 61722"/>
                  <a:gd name="connsiteX27" fmla="*/ 34100 w 87058"/>
                  <a:gd name="connsiteY27" fmla="*/ 17431 h 61722"/>
                  <a:gd name="connsiteX28" fmla="*/ 27432 w 87058"/>
                  <a:gd name="connsiteY28" fmla="*/ 13716 h 61722"/>
                  <a:gd name="connsiteX29" fmla="*/ 21717 w 87058"/>
                  <a:gd name="connsiteY29" fmla="*/ 15716 h 61722"/>
                  <a:gd name="connsiteX30" fmla="*/ 17717 w 87058"/>
                  <a:gd name="connsiteY30" fmla="*/ 21241 h 61722"/>
                  <a:gd name="connsiteX31" fmla="*/ 16288 w 87058"/>
                  <a:gd name="connsiteY31" fmla="*/ 29337 h 61722"/>
                  <a:gd name="connsiteX32" fmla="*/ 16288 w 87058"/>
                  <a:gd name="connsiteY32" fmla="*/ 61722 h 61722"/>
                  <a:gd name="connsiteX33" fmla="*/ 571 w 87058"/>
                  <a:gd name="connsiteY33" fmla="*/ 61722 h 61722"/>
                  <a:gd name="connsiteX34" fmla="*/ 571 w 87058"/>
                  <a:gd name="connsiteY34" fmla="*/ 14859 h 61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87058" h="61722">
                    <a:moveTo>
                      <a:pt x="381" y="14669"/>
                    </a:moveTo>
                    <a:cubicBezTo>
                      <a:pt x="381" y="12097"/>
                      <a:pt x="381" y="9430"/>
                      <a:pt x="286" y="6763"/>
                    </a:cubicBezTo>
                    <a:cubicBezTo>
                      <a:pt x="190" y="4096"/>
                      <a:pt x="95" y="2191"/>
                      <a:pt x="0" y="1238"/>
                    </a:cubicBezTo>
                    <a:lnTo>
                      <a:pt x="14954" y="1238"/>
                    </a:lnTo>
                    <a:cubicBezTo>
                      <a:pt x="15145" y="2096"/>
                      <a:pt x="15240" y="3715"/>
                      <a:pt x="15430" y="6191"/>
                    </a:cubicBezTo>
                    <a:cubicBezTo>
                      <a:pt x="15621" y="8668"/>
                      <a:pt x="15716" y="10668"/>
                      <a:pt x="15716" y="12097"/>
                    </a:cubicBezTo>
                    <a:lnTo>
                      <a:pt x="15907" y="12097"/>
                    </a:lnTo>
                    <a:cubicBezTo>
                      <a:pt x="17812" y="8001"/>
                      <a:pt x="20193" y="4953"/>
                      <a:pt x="23146" y="2953"/>
                    </a:cubicBezTo>
                    <a:cubicBezTo>
                      <a:pt x="26098" y="953"/>
                      <a:pt x="29528" y="0"/>
                      <a:pt x="33528" y="0"/>
                    </a:cubicBezTo>
                    <a:cubicBezTo>
                      <a:pt x="38100" y="0"/>
                      <a:pt x="41720" y="1048"/>
                      <a:pt x="44577" y="3143"/>
                    </a:cubicBezTo>
                    <a:cubicBezTo>
                      <a:pt x="47435" y="5239"/>
                      <a:pt x="49339" y="8192"/>
                      <a:pt x="50292" y="12192"/>
                    </a:cubicBezTo>
                    <a:lnTo>
                      <a:pt x="50673" y="12192"/>
                    </a:lnTo>
                    <a:cubicBezTo>
                      <a:pt x="52673" y="7811"/>
                      <a:pt x="55245" y="4667"/>
                      <a:pt x="58103" y="2858"/>
                    </a:cubicBezTo>
                    <a:cubicBezTo>
                      <a:pt x="60960" y="1048"/>
                      <a:pt x="64675" y="95"/>
                      <a:pt x="68961" y="95"/>
                    </a:cubicBezTo>
                    <a:cubicBezTo>
                      <a:pt x="75247" y="95"/>
                      <a:pt x="79820" y="2191"/>
                      <a:pt x="82677" y="6477"/>
                    </a:cubicBezTo>
                    <a:cubicBezTo>
                      <a:pt x="85535" y="10763"/>
                      <a:pt x="87059" y="16383"/>
                      <a:pt x="87059" y="23431"/>
                    </a:cubicBezTo>
                    <a:lnTo>
                      <a:pt x="87059" y="61722"/>
                    </a:lnTo>
                    <a:lnTo>
                      <a:pt x="71533" y="61722"/>
                    </a:lnTo>
                    <a:lnTo>
                      <a:pt x="71533" y="27908"/>
                    </a:lnTo>
                    <a:cubicBezTo>
                      <a:pt x="71533" y="23336"/>
                      <a:pt x="70866" y="19907"/>
                      <a:pt x="69533" y="17431"/>
                    </a:cubicBezTo>
                    <a:cubicBezTo>
                      <a:pt x="68199" y="14954"/>
                      <a:pt x="66008" y="13716"/>
                      <a:pt x="62865" y="13716"/>
                    </a:cubicBezTo>
                    <a:cubicBezTo>
                      <a:pt x="60770" y="13716"/>
                      <a:pt x="58864" y="14383"/>
                      <a:pt x="57245" y="15621"/>
                    </a:cubicBezTo>
                    <a:cubicBezTo>
                      <a:pt x="55626" y="16859"/>
                      <a:pt x="54197" y="18574"/>
                      <a:pt x="53245" y="20860"/>
                    </a:cubicBezTo>
                    <a:cubicBezTo>
                      <a:pt x="52292" y="23146"/>
                      <a:pt x="51721" y="25718"/>
                      <a:pt x="51626" y="28575"/>
                    </a:cubicBezTo>
                    <a:lnTo>
                      <a:pt x="51626" y="61722"/>
                    </a:lnTo>
                    <a:lnTo>
                      <a:pt x="36100" y="61722"/>
                    </a:lnTo>
                    <a:lnTo>
                      <a:pt x="36100" y="27908"/>
                    </a:lnTo>
                    <a:cubicBezTo>
                      <a:pt x="36100" y="23336"/>
                      <a:pt x="35433" y="19907"/>
                      <a:pt x="34100" y="17431"/>
                    </a:cubicBezTo>
                    <a:cubicBezTo>
                      <a:pt x="32766" y="14954"/>
                      <a:pt x="30575" y="13716"/>
                      <a:pt x="27432" y="13716"/>
                    </a:cubicBezTo>
                    <a:cubicBezTo>
                      <a:pt x="25337" y="13716"/>
                      <a:pt x="23431" y="14383"/>
                      <a:pt x="21717" y="15716"/>
                    </a:cubicBezTo>
                    <a:cubicBezTo>
                      <a:pt x="20003" y="17050"/>
                      <a:pt x="18669" y="18860"/>
                      <a:pt x="17717" y="21241"/>
                    </a:cubicBezTo>
                    <a:cubicBezTo>
                      <a:pt x="16764" y="23622"/>
                      <a:pt x="16288" y="26289"/>
                      <a:pt x="16288" y="29337"/>
                    </a:cubicBezTo>
                    <a:lnTo>
                      <a:pt x="16288" y="61722"/>
                    </a:lnTo>
                    <a:lnTo>
                      <a:pt x="571" y="61722"/>
                    </a:lnTo>
                    <a:lnTo>
                      <a:pt x="571" y="14859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45" name="Freeform: Shape 178">
                <a:extLst>
                  <a:ext uri="{FF2B5EF4-FFF2-40B4-BE49-F238E27FC236}">
                    <a16:creationId xmlns:a16="http://schemas.microsoft.com/office/drawing/2014/main" id="{DFBD4F9B-1E9C-4641-7916-BE5FE38736A9}"/>
                  </a:ext>
                </a:extLst>
              </p:cNvPr>
              <p:cNvSpPr/>
              <p:nvPr/>
            </p:nvSpPr>
            <p:spPr>
              <a:xfrm>
                <a:off x="4811839" y="4213574"/>
                <a:ext cx="55245" cy="62769"/>
              </a:xfrm>
              <a:custGeom>
                <a:avLst/>
                <a:gdLst>
                  <a:gd name="connsiteX0" fmla="*/ 7715 w 55245"/>
                  <a:gd name="connsiteY0" fmla="*/ 54769 h 62769"/>
                  <a:gd name="connsiteX1" fmla="*/ 0 w 55245"/>
                  <a:gd name="connsiteY1" fmla="*/ 31242 h 62769"/>
                  <a:gd name="connsiteX2" fmla="*/ 3810 w 55245"/>
                  <a:gd name="connsiteY2" fmla="*/ 13716 h 62769"/>
                  <a:gd name="connsiteX3" fmla="*/ 14097 w 55245"/>
                  <a:gd name="connsiteY3" fmla="*/ 3334 h 62769"/>
                  <a:gd name="connsiteX4" fmla="*/ 28480 w 55245"/>
                  <a:gd name="connsiteY4" fmla="*/ 0 h 62769"/>
                  <a:gd name="connsiteX5" fmla="*/ 43720 w 55245"/>
                  <a:gd name="connsiteY5" fmla="*/ 4001 h 62769"/>
                  <a:gd name="connsiteX6" fmla="*/ 52483 w 55245"/>
                  <a:gd name="connsiteY6" fmla="*/ 14478 h 62769"/>
                  <a:gd name="connsiteX7" fmla="*/ 55245 w 55245"/>
                  <a:gd name="connsiteY7" fmla="*/ 29146 h 62769"/>
                  <a:gd name="connsiteX8" fmla="*/ 54864 w 55245"/>
                  <a:gd name="connsiteY8" fmla="*/ 35433 h 62769"/>
                  <a:gd name="connsiteX9" fmla="*/ 16478 w 55245"/>
                  <a:gd name="connsiteY9" fmla="*/ 35433 h 62769"/>
                  <a:gd name="connsiteX10" fmla="*/ 19812 w 55245"/>
                  <a:gd name="connsiteY10" fmla="*/ 46577 h 62769"/>
                  <a:gd name="connsiteX11" fmla="*/ 30194 w 55245"/>
                  <a:gd name="connsiteY11" fmla="*/ 50673 h 62769"/>
                  <a:gd name="connsiteX12" fmla="*/ 35909 w 55245"/>
                  <a:gd name="connsiteY12" fmla="*/ 50006 h 62769"/>
                  <a:gd name="connsiteX13" fmla="*/ 40958 w 55245"/>
                  <a:gd name="connsiteY13" fmla="*/ 48006 h 62769"/>
                  <a:gd name="connsiteX14" fmla="*/ 46958 w 55245"/>
                  <a:gd name="connsiteY14" fmla="*/ 44196 h 62769"/>
                  <a:gd name="connsiteX15" fmla="*/ 53340 w 55245"/>
                  <a:gd name="connsiteY15" fmla="*/ 54388 h 62769"/>
                  <a:gd name="connsiteX16" fmla="*/ 42672 w 55245"/>
                  <a:gd name="connsiteY16" fmla="*/ 60579 h 62769"/>
                  <a:gd name="connsiteX17" fmla="*/ 29432 w 55245"/>
                  <a:gd name="connsiteY17" fmla="*/ 62770 h 62769"/>
                  <a:gd name="connsiteX18" fmla="*/ 7811 w 55245"/>
                  <a:gd name="connsiteY18" fmla="*/ 54864 h 62769"/>
                  <a:gd name="connsiteX19" fmla="*/ 40005 w 55245"/>
                  <a:gd name="connsiteY19" fmla="*/ 24765 h 62769"/>
                  <a:gd name="connsiteX20" fmla="*/ 36862 w 55245"/>
                  <a:gd name="connsiteY20" fmla="*/ 14764 h 62769"/>
                  <a:gd name="connsiteX21" fmla="*/ 28385 w 55245"/>
                  <a:gd name="connsiteY21" fmla="*/ 11525 h 62769"/>
                  <a:gd name="connsiteX22" fmla="*/ 20003 w 55245"/>
                  <a:gd name="connsiteY22" fmla="*/ 14764 h 62769"/>
                  <a:gd name="connsiteX23" fmla="*/ 16669 w 55245"/>
                  <a:gd name="connsiteY23" fmla="*/ 24765 h 62769"/>
                  <a:gd name="connsiteX24" fmla="*/ 40100 w 55245"/>
                  <a:gd name="connsiteY24" fmla="*/ 24765 h 627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55245" h="62769">
                    <a:moveTo>
                      <a:pt x="7715" y="54769"/>
                    </a:moveTo>
                    <a:cubicBezTo>
                      <a:pt x="2572" y="49530"/>
                      <a:pt x="0" y="41624"/>
                      <a:pt x="0" y="31242"/>
                    </a:cubicBezTo>
                    <a:cubicBezTo>
                      <a:pt x="0" y="24289"/>
                      <a:pt x="1238" y="18383"/>
                      <a:pt x="3810" y="13716"/>
                    </a:cubicBezTo>
                    <a:cubicBezTo>
                      <a:pt x="6382" y="9049"/>
                      <a:pt x="9811" y="5620"/>
                      <a:pt x="14097" y="3334"/>
                    </a:cubicBezTo>
                    <a:cubicBezTo>
                      <a:pt x="18383" y="1048"/>
                      <a:pt x="23146" y="0"/>
                      <a:pt x="28480" y="0"/>
                    </a:cubicBezTo>
                    <a:cubicBezTo>
                      <a:pt x="34576" y="0"/>
                      <a:pt x="39719" y="1334"/>
                      <a:pt x="43720" y="4001"/>
                    </a:cubicBezTo>
                    <a:cubicBezTo>
                      <a:pt x="47720" y="6668"/>
                      <a:pt x="50673" y="10192"/>
                      <a:pt x="52483" y="14478"/>
                    </a:cubicBezTo>
                    <a:cubicBezTo>
                      <a:pt x="54293" y="18764"/>
                      <a:pt x="55245" y="23717"/>
                      <a:pt x="55245" y="29146"/>
                    </a:cubicBezTo>
                    <a:cubicBezTo>
                      <a:pt x="55245" y="31242"/>
                      <a:pt x="55150" y="33338"/>
                      <a:pt x="54864" y="35433"/>
                    </a:cubicBezTo>
                    <a:lnTo>
                      <a:pt x="16478" y="35433"/>
                    </a:lnTo>
                    <a:cubicBezTo>
                      <a:pt x="16478" y="40100"/>
                      <a:pt x="17621" y="43815"/>
                      <a:pt x="19812" y="46577"/>
                    </a:cubicBezTo>
                    <a:cubicBezTo>
                      <a:pt x="22003" y="49339"/>
                      <a:pt x="25527" y="50673"/>
                      <a:pt x="30194" y="50673"/>
                    </a:cubicBezTo>
                    <a:cubicBezTo>
                      <a:pt x="32290" y="50673"/>
                      <a:pt x="34195" y="50483"/>
                      <a:pt x="35909" y="50006"/>
                    </a:cubicBezTo>
                    <a:cubicBezTo>
                      <a:pt x="37624" y="49530"/>
                      <a:pt x="39338" y="48863"/>
                      <a:pt x="40958" y="48006"/>
                    </a:cubicBezTo>
                    <a:cubicBezTo>
                      <a:pt x="42577" y="47149"/>
                      <a:pt x="44577" y="45815"/>
                      <a:pt x="46958" y="44196"/>
                    </a:cubicBezTo>
                    <a:lnTo>
                      <a:pt x="53340" y="54388"/>
                    </a:lnTo>
                    <a:cubicBezTo>
                      <a:pt x="49816" y="57055"/>
                      <a:pt x="46196" y="59150"/>
                      <a:pt x="42672" y="60579"/>
                    </a:cubicBezTo>
                    <a:cubicBezTo>
                      <a:pt x="39148" y="62008"/>
                      <a:pt x="34671" y="62770"/>
                      <a:pt x="29432" y="62770"/>
                    </a:cubicBezTo>
                    <a:cubicBezTo>
                      <a:pt x="20193" y="62770"/>
                      <a:pt x="12954" y="60103"/>
                      <a:pt x="7811" y="54864"/>
                    </a:cubicBezTo>
                    <a:close/>
                    <a:moveTo>
                      <a:pt x="40005" y="24765"/>
                    </a:moveTo>
                    <a:cubicBezTo>
                      <a:pt x="39814" y="20193"/>
                      <a:pt x="38767" y="16859"/>
                      <a:pt x="36862" y="14764"/>
                    </a:cubicBezTo>
                    <a:cubicBezTo>
                      <a:pt x="34957" y="12668"/>
                      <a:pt x="32099" y="11525"/>
                      <a:pt x="28385" y="11525"/>
                    </a:cubicBezTo>
                    <a:cubicBezTo>
                      <a:pt x="24670" y="11525"/>
                      <a:pt x="22098" y="12573"/>
                      <a:pt x="20003" y="14764"/>
                    </a:cubicBezTo>
                    <a:cubicBezTo>
                      <a:pt x="17907" y="16954"/>
                      <a:pt x="16764" y="20288"/>
                      <a:pt x="16669" y="24765"/>
                    </a:cubicBezTo>
                    <a:lnTo>
                      <a:pt x="40100" y="24765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46" name="Freeform: Shape 179">
                <a:extLst>
                  <a:ext uri="{FF2B5EF4-FFF2-40B4-BE49-F238E27FC236}">
                    <a16:creationId xmlns:a16="http://schemas.microsoft.com/office/drawing/2014/main" id="{9702F82B-DFCF-3ACC-BFAC-C0B6958652FB}"/>
                  </a:ext>
                </a:extLst>
              </p:cNvPr>
              <p:cNvSpPr/>
              <p:nvPr/>
            </p:nvSpPr>
            <p:spPr>
              <a:xfrm>
                <a:off x="4878514" y="4213574"/>
                <a:ext cx="55149" cy="61722"/>
              </a:xfrm>
              <a:custGeom>
                <a:avLst/>
                <a:gdLst>
                  <a:gd name="connsiteX0" fmla="*/ 381 w 55149"/>
                  <a:gd name="connsiteY0" fmla="*/ 14669 h 61722"/>
                  <a:gd name="connsiteX1" fmla="*/ 286 w 55149"/>
                  <a:gd name="connsiteY1" fmla="*/ 6763 h 61722"/>
                  <a:gd name="connsiteX2" fmla="*/ 0 w 55149"/>
                  <a:gd name="connsiteY2" fmla="*/ 1238 h 61722"/>
                  <a:gd name="connsiteX3" fmla="*/ 14954 w 55149"/>
                  <a:gd name="connsiteY3" fmla="*/ 1238 h 61722"/>
                  <a:gd name="connsiteX4" fmla="*/ 15430 w 55149"/>
                  <a:gd name="connsiteY4" fmla="*/ 6191 h 61722"/>
                  <a:gd name="connsiteX5" fmla="*/ 15716 w 55149"/>
                  <a:gd name="connsiteY5" fmla="*/ 12097 h 61722"/>
                  <a:gd name="connsiteX6" fmla="*/ 15907 w 55149"/>
                  <a:gd name="connsiteY6" fmla="*/ 12097 h 61722"/>
                  <a:gd name="connsiteX7" fmla="*/ 23908 w 55149"/>
                  <a:gd name="connsiteY7" fmla="*/ 2953 h 61722"/>
                  <a:gd name="connsiteX8" fmla="*/ 35338 w 55149"/>
                  <a:gd name="connsiteY8" fmla="*/ 0 h 61722"/>
                  <a:gd name="connsiteX9" fmla="*/ 50387 w 55149"/>
                  <a:gd name="connsiteY9" fmla="*/ 6382 h 61722"/>
                  <a:gd name="connsiteX10" fmla="*/ 55150 w 55149"/>
                  <a:gd name="connsiteY10" fmla="*/ 23336 h 61722"/>
                  <a:gd name="connsiteX11" fmla="*/ 55150 w 55149"/>
                  <a:gd name="connsiteY11" fmla="*/ 61627 h 61722"/>
                  <a:gd name="connsiteX12" fmla="*/ 39529 w 55149"/>
                  <a:gd name="connsiteY12" fmla="*/ 61627 h 61722"/>
                  <a:gd name="connsiteX13" fmla="*/ 39529 w 55149"/>
                  <a:gd name="connsiteY13" fmla="*/ 27813 h 61722"/>
                  <a:gd name="connsiteX14" fmla="*/ 37243 w 55149"/>
                  <a:gd name="connsiteY14" fmla="*/ 17240 h 61722"/>
                  <a:gd name="connsiteX15" fmla="*/ 29337 w 55149"/>
                  <a:gd name="connsiteY15" fmla="*/ 13526 h 61722"/>
                  <a:gd name="connsiteX16" fmla="*/ 22574 w 55149"/>
                  <a:gd name="connsiteY16" fmla="*/ 15526 h 61722"/>
                  <a:gd name="connsiteX17" fmla="*/ 17812 w 55149"/>
                  <a:gd name="connsiteY17" fmla="*/ 21146 h 61722"/>
                  <a:gd name="connsiteX18" fmla="*/ 16097 w 55149"/>
                  <a:gd name="connsiteY18" fmla="*/ 29337 h 61722"/>
                  <a:gd name="connsiteX19" fmla="*/ 16097 w 55149"/>
                  <a:gd name="connsiteY19" fmla="*/ 61722 h 61722"/>
                  <a:gd name="connsiteX20" fmla="*/ 381 w 55149"/>
                  <a:gd name="connsiteY20" fmla="*/ 61722 h 61722"/>
                  <a:gd name="connsiteX21" fmla="*/ 381 w 55149"/>
                  <a:gd name="connsiteY21" fmla="*/ 14859 h 61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55149" h="61722">
                    <a:moveTo>
                      <a:pt x="381" y="14669"/>
                    </a:moveTo>
                    <a:cubicBezTo>
                      <a:pt x="381" y="12097"/>
                      <a:pt x="381" y="9430"/>
                      <a:pt x="286" y="6763"/>
                    </a:cubicBezTo>
                    <a:cubicBezTo>
                      <a:pt x="191" y="4096"/>
                      <a:pt x="95" y="2191"/>
                      <a:pt x="0" y="1238"/>
                    </a:cubicBezTo>
                    <a:lnTo>
                      <a:pt x="14954" y="1238"/>
                    </a:lnTo>
                    <a:cubicBezTo>
                      <a:pt x="15145" y="2096"/>
                      <a:pt x="15240" y="3715"/>
                      <a:pt x="15430" y="6191"/>
                    </a:cubicBezTo>
                    <a:cubicBezTo>
                      <a:pt x="15621" y="8668"/>
                      <a:pt x="15716" y="10668"/>
                      <a:pt x="15716" y="12097"/>
                    </a:cubicBezTo>
                    <a:lnTo>
                      <a:pt x="15907" y="12097"/>
                    </a:lnTo>
                    <a:cubicBezTo>
                      <a:pt x="18002" y="8001"/>
                      <a:pt x="20669" y="4953"/>
                      <a:pt x="23908" y="2953"/>
                    </a:cubicBezTo>
                    <a:cubicBezTo>
                      <a:pt x="27146" y="953"/>
                      <a:pt x="30956" y="0"/>
                      <a:pt x="35338" y="0"/>
                    </a:cubicBezTo>
                    <a:cubicBezTo>
                      <a:pt x="42196" y="0"/>
                      <a:pt x="47244" y="2096"/>
                      <a:pt x="50387" y="6382"/>
                    </a:cubicBezTo>
                    <a:cubicBezTo>
                      <a:pt x="53530" y="10668"/>
                      <a:pt x="55150" y="16288"/>
                      <a:pt x="55150" y="23336"/>
                    </a:cubicBezTo>
                    <a:lnTo>
                      <a:pt x="55150" y="61627"/>
                    </a:lnTo>
                    <a:lnTo>
                      <a:pt x="39529" y="61627"/>
                    </a:lnTo>
                    <a:lnTo>
                      <a:pt x="39529" y="27813"/>
                    </a:lnTo>
                    <a:cubicBezTo>
                      <a:pt x="39529" y="23241"/>
                      <a:pt x="38767" y="19717"/>
                      <a:pt x="37243" y="17240"/>
                    </a:cubicBezTo>
                    <a:cubicBezTo>
                      <a:pt x="35719" y="14764"/>
                      <a:pt x="33052" y="13526"/>
                      <a:pt x="29337" y="13526"/>
                    </a:cubicBezTo>
                    <a:cubicBezTo>
                      <a:pt x="26765" y="13526"/>
                      <a:pt x="24575" y="14192"/>
                      <a:pt x="22574" y="15526"/>
                    </a:cubicBezTo>
                    <a:cubicBezTo>
                      <a:pt x="20574" y="16859"/>
                      <a:pt x="18955" y="18669"/>
                      <a:pt x="17812" y="21146"/>
                    </a:cubicBezTo>
                    <a:cubicBezTo>
                      <a:pt x="16669" y="23622"/>
                      <a:pt x="16097" y="26289"/>
                      <a:pt x="16097" y="29337"/>
                    </a:cubicBezTo>
                    <a:lnTo>
                      <a:pt x="16097" y="61722"/>
                    </a:lnTo>
                    <a:lnTo>
                      <a:pt x="381" y="61722"/>
                    </a:lnTo>
                    <a:lnTo>
                      <a:pt x="381" y="14859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47" name="Freeform: Shape 180">
                <a:extLst>
                  <a:ext uri="{FF2B5EF4-FFF2-40B4-BE49-F238E27FC236}">
                    <a16:creationId xmlns:a16="http://schemas.microsoft.com/office/drawing/2014/main" id="{CF117DB3-860F-2EAD-E082-1C25611B6AE0}"/>
                  </a:ext>
                </a:extLst>
              </p:cNvPr>
              <p:cNvSpPr/>
              <p:nvPr/>
            </p:nvSpPr>
            <p:spPr>
              <a:xfrm>
                <a:off x="4942141" y="4200048"/>
                <a:ext cx="35814" cy="76104"/>
              </a:xfrm>
              <a:custGeom>
                <a:avLst/>
                <a:gdLst>
                  <a:gd name="connsiteX0" fmla="*/ 11621 w 35814"/>
                  <a:gd name="connsiteY0" fmla="*/ 71914 h 76104"/>
                  <a:gd name="connsiteX1" fmla="*/ 7620 w 35814"/>
                  <a:gd name="connsiteY1" fmla="*/ 59722 h 76104"/>
                  <a:gd name="connsiteX2" fmla="*/ 7620 w 35814"/>
                  <a:gd name="connsiteY2" fmla="*/ 26384 h 76104"/>
                  <a:gd name="connsiteX3" fmla="*/ 0 w 35814"/>
                  <a:gd name="connsiteY3" fmla="*/ 26384 h 76104"/>
                  <a:gd name="connsiteX4" fmla="*/ 0 w 35814"/>
                  <a:gd name="connsiteY4" fmla="*/ 14764 h 76104"/>
                  <a:gd name="connsiteX5" fmla="*/ 8382 w 35814"/>
                  <a:gd name="connsiteY5" fmla="*/ 14764 h 76104"/>
                  <a:gd name="connsiteX6" fmla="*/ 9144 w 35814"/>
                  <a:gd name="connsiteY6" fmla="*/ 1143 h 76104"/>
                  <a:gd name="connsiteX7" fmla="*/ 23051 w 35814"/>
                  <a:gd name="connsiteY7" fmla="*/ 0 h 76104"/>
                  <a:gd name="connsiteX8" fmla="*/ 23051 w 35814"/>
                  <a:gd name="connsiteY8" fmla="*/ 14764 h 76104"/>
                  <a:gd name="connsiteX9" fmla="*/ 35052 w 35814"/>
                  <a:gd name="connsiteY9" fmla="*/ 14764 h 76104"/>
                  <a:gd name="connsiteX10" fmla="*/ 35052 w 35814"/>
                  <a:gd name="connsiteY10" fmla="*/ 26384 h 76104"/>
                  <a:gd name="connsiteX11" fmla="*/ 23051 w 35814"/>
                  <a:gd name="connsiteY11" fmla="*/ 26384 h 76104"/>
                  <a:gd name="connsiteX12" fmla="*/ 23051 w 35814"/>
                  <a:gd name="connsiteY12" fmla="*/ 55531 h 76104"/>
                  <a:gd name="connsiteX13" fmla="*/ 24479 w 35814"/>
                  <a:gd name="connsiteY13" fmla="*/ 61246 h 76104"/>
                  <a:gd name="connsiteX14" fmla="*/ 28956 w 35814"/>
                  <a:gd name="connsiteY14" fmla="*/ 63055 h 76104"/>
                  <a:gd name="connsiteX15" fmla="*/ 34671 w 35814"/>
                  <a:gd name="connsiteY15" fmla="*/ 62389 h 76104"/>
                  <a:gd name="connsiteX16" fmla="*/ 35814 w 35814"/>
                  <a:gd name="connsiteY16" fmla="*/ 74295 h 76104"/>
                  <a:gd name="connsiteX17" fmla="*/ 23051 w 35814"/>
                  <a:gd name="connsiteY17" fmla="*/ 76105 h 76104"/>
                  <a:gd name="connsiteX18" fmla="*/ 11525 w 35814"/>
                  <a:gd name="connsiteY18" fmla="*/ 72009 h 761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814" h="76104">
                    <a:moveTo>
                      <a:pt x="11621" y="71914"/>
                    </a:moveTo>
                    <a:cubicBezTo>
                      <a:pt x="8954" y="69151"/>
                      <a:pt x="7620" y="65151"/>
                      <a:pt x="7620" y="59722"/>
                    </a:cubicBezTo>
                    <a:lnTo>
                      <a:pt x="7620" y="26384"/>
                    </a:lnTo>
                    <a:lnTo>
                      <a:pt x="0" y="26384"/>
                    </a:lnTo>
                    <a:lnTo>
                      <a:pt x="0" y="14764"/>
                    </a:lnTo>
                    <a:lnTo>
                      <a:pt x="8382" y="14764"/>
                    </a:lnTo>
                    <a:lnTo>
                      <a:pt x="9144" y="1143"/>
                    </a:lnTo>
                    <a:lnTo>
                      <a:pt x="23051" y="0"/>
                    </a:lnTo>
                    <a:lnTo>
                      <a:pt x="23051" y="14764"/>
                    </a:lnTo>
                    <a:lnTo>
                      <a:pt x="35052" y="14764"/>
                    </a:lnTo>
                    <a:lnTo>
                      <a:pt x="35052" y="26384"/>
                    </a:lnTo>
                    <a:lnTo>
                      <a:pt x="23051" y="26384"/>
                    </a:lnTo>
                    <a:lnTo>
                      <a:pt x="23051" y="55531"/>
                    </a:lnTo>
                    <a:cubicBezTo>
                      <a:pt x="23051" y="58102"/>
                      <a:pt x="23527" y="60007"/>
                      <a:pt x="24479" y="61246"/>
                    </a:cubicBezTo>
                    <a:cubicBezTo>
                      <a:pt x="25432" y="62484"/>
                      <a:pt x="26861" y="63055"/>
                      <a:pt x="28956" y="63055"/>
                    </a:cubicBezTo>
                    <a:cubicBezTo>
                      <a:pt x="30575" y="63055"/>
                      <a:pt x="32480" y="62865"/>
                      <a:pt x="34671" y="62389"/>
                    </a:cubicBezTo>
                    <a:lnTo>
                      <a:pt x="35814" y="74295"/>
                    </a:lnTo>
                    <a:cubicBezTo>
                      <a:pt x="31528" y="75438"/>
                      <a:pt x="27337" y="76105"/>
                      <a:pt x="23051" y="76105"/>
                    </a:cubicBezTo>
                    <a:cubicBezTo>
                      <a:pt x="18002" y="76105"/>
                      <a:pt x="14192" y="74771"/>
                      <a:pt x="11525" y="72009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37" name="Graphic 2">
              <a:extLst>
                <a:ext uri="{FF2B5EF4-FFF2-40B4-BE49-F238E27FC236}">
                  <a16:creationId xmlns:a16="http://schemas.microsoft.com/office/drawing/2014/main" id="{1BA2ADD7-EFF4-2F20-AB04-D1C7A5A8A199}"/>
                </a:ext>
              </a:extLst>
            </p:cNvPr>
            <p:cNvGrpSpPr/>
            <p:nvPr/>
          </p:nvGrpSpPr>
          <p:grpSpPr>
            <a:xfrm>
              <a:off x="9090474" y="3434777"/>
              <a:ext cx="919318" cy="518530"/>
              <a:chOff x="7230046" y="3920966"/>
              <a:chExt cx="691610" cy="377856"/>
            </a:xfrm>
            <a:solidFill>
              <a:srgbClr val="231F20"/>
            </a:solidFill>
          </p:grpSpPr>
          <p:sp>
            <p:nvSpPr>
              <p:cNvPr id="86" name="Freeform: Shape 129">
                <a:extLst>
                  <a:ext uri="{FF2B5EF4-FFF2-40B4-BE49-F238E27FC236}">
                    <a16:creationId xmlns:a16="http://schemas.microsoft.com/office/drawing/2014/main" id="{8455F9ED-D352-2511-8E18-59BE384EE91E}"/>
                  </a:ext>
                </a:extLst>
              </p:cNvPr>
              <p:cNvSpPr/>
              <p:nvPr/>
            </p:nvSpPr>
            <p:spPr>
              <a:xfrm>
                <a:off x="7314342" y="3920966"/>
                <a:ext cx="74009" cy="80772"/>
              </a:xfrm>
              <a:custGeom>
                <a:avLst/>
                <a:gdLst>
                  <a:gd name="connsiteX0" fmla="*/ 18098 w 74009"/>
                  <a:gd name="connsiteY0" fmla="*/ 75724 h 80772"/>
                  <a:gd name="connsiteX1" fmla="*/ 4572 w 74009"/>
                  <a:gd name="connsiteY1" fmla="*/ 61341 h 80772"/>
                  <a:gd name="connsiteX2" fmla="*/ 0 w 74009"/>
                  <a:gd name="connsiteY2" fmla="*/ 40100 h 80772"/>
                  <a:gd name="connsiteX3" fmla="*/ 4668 w 74009"/>
                  <a:gd name="connsiteY3" fmla="*/ 18860 h 80772"/>
                  <a:gd name="connsiteX4" fmla="*/ 18193 w 74009"/>
                  <a:gd name="connsiteY4" fmla="*/ 4953 h 80772"/>
                  <a:gd name="connsiteX5" fmla="*/ 38958 w 74009"/>
                  <a:gd name="connsiteY5" fmla="*/ 0 h 80772"/>
                  <a:gd name="connsiteX6" fmla="*/ 59817 w 74009"/>
                  <a:gd name="connsiteY6" fmla="*/ 5048 h 80772"/>
                  <a:gd name="connsiteX7" fmla="*/ 72676 w 74009"/>
                  <a:gd name="connsiteY7" fmla="*/ 18860 h 80772"/>
                  <a:gd name="connsiteX8" fmla="*/ 58960 w 74009"/>
                  <a:gd name="connsiteY8" fmla="*/ 25527 h 80772"/>
                  <a:gd name="connsiteX9" fmla="*/ 51340 w 74009"/>
                  <a:gd name="connsiteY9" fmla="*/ 17336 h 80772"/>
                  <a:gd name="connsiteX10" fmla="*/ 39244 w 74009"/>
                  <a:gd name="connsiteY10" fmla="*/ 14097 h 80772"/>
                  <a:gd name="connsiteX11" fmla="*/ 27337 w 74009"/>
                  <a:gd name="connsiteY11" fmla="*/ 17336 h 80772"/>
                  <a:gd name="connsiteX12" fmla="*/ 19336 w 74009"/>
                  <a:gd name="connsiteY12" fmla="*/ 26479 h 80772"/>
                  <a:gd name="connsiteX13" fmla="*/ 16479 w 74009"/>
                  <a:gd name="connsiteY13" fmla="*/ 40196 h 80772"/>
                  <a:gd name="connsiteX14" fmla="*/ 19145 w 74009"/>
                  <a:gd name="connsiteY14" fmla="*/ 54102 h 80772"/>
                  <a:gd name="connsiteX15" fmla="*/ 26956 w 74009"/>
                  <a:gd name="connsiteY15" fmla="*/ 63437 h 80772"/>
                  <a:gd name="connsiteX16" fmla="*/ 39624 w 74009"/>
                  <a:gd name="connsiteY16" fmla="*/ 66770 h 80772"/>
                  <a:gd name="connsiteX17" fmla="*/ 60484 w 74009"/>
                  <a:gd name="connsiteY17" fmla="*/ 53340 h 80772"/>
                  <a:gd name="connsiteX18" fmla="*/ 74009 w 74009"/>
                  <a:gd name="connsiteY18" fmla="*/ 60293 h 80772"/>
                  <a:gd name="connsiteX19" fmla="*/ 61436 w 74009"/>
                  <a:gd name="connsiteY19" fmla="*/ 75057 h 80772"/>
                  <a:gd name="connsiteX20" fmla="*/ 39624 w 74009"/>
                  <a:gd name="connsiteY20" fmla="*/ 80772 h 80772"/>
                  <a:gd name="connsiteX21" fmla="*/ 18002 w 74009"/>
                  <a:gd name="connsiteY21" fmla="*/ 75629 h 807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74009" h="80772">
                    <a:moveTo>
                      <a:pt x="18098" y="75724"/>
                    </a:moveTo>
                    <a:cubicBezTo>
                      <a:pt x="12192" y="72295"/>
                      <a:pt x="7620" y="67437"/>
                      <a:pt x="4572" y="61341"/>
                    </a:cubicBezTo>
                    <a:cubicBezTo>
                      <a:pt x="1524" y="55245"/>
                      <a:pt x="0" y="48101"/>
                      <a:pt x="0" y="40100"/>
                    </a:cubicBezTo>
                    <a:cubicBezTo>
                      <a:pt x="0" y="32099"/>
                      <a:pt x="1524" y="24860"/>
                      <a:pt x="4668" y="18860"/>
                    </a:cubicBezTo>
                    <a:cubicBezTo>
                      <a:pt x="7811" y="12859"/>
                      <a:pt x="12288" y="8192"/>
                      <a:pt x="18193" y="4953"/>
                    </a:cubicBezTo>
                    <a:cubicBezTo>
                      <a:pt x="24099" y="1714"/>
                      <a:pt x="30956" y="0"/>
                      <a:pt x="38958" y="0"/>
                    </a:cubicBezTo>
                    <a:cubicBezTo>
                      <a:pt x="46959" y="0"/>
                      <a:pt x="54197" y="1714"/>
                      <a:pt x="59817" y="5048"/>
                    </a:cubicBezTo>
                    <a:cubicBezTo>
                      <a:pt x="65437" y="8382"/>
                      <a:pt x="69723" y="13049"/>
                      <a:pt x="72676" y="18860"/>
                    </a:cubicBezTo>
                    <a:lnTo>
                      <a:pt x="58960" y="25527"/>
                    </a:lnTo>
                    <a:cubicBezTo>
                      <a:pt x="57245" y="22193"/>
                      <a:pt x="54674" y="19526"/>
                      <a:pt x="51340" y="17336"/>
                    </a:cubicBezTo>
                    <a:cubicBezTo>
                      <a:pt x="48006" y="15145"/>
                      <a:pt x="44006" y="14097"/>
                      <a:pt x="39244" y="14097"/>
                    </a:cubicBezTo>
                    <a:cubicBezTo>
                      <a:pt x="34481" y="14097"/>
                      <a:pt x="30766" y="15145"/>
                      <a:pt x="27337" y="17336"/>
                    </a:cubicBezTo>
                    <a:cubicBezTo>
                      <a:pt x="23908" y="19526"/>
                      <a:pt x="21241" y="22574"/>
                      <a:pt x="19336" y="26479"/>
                    </a:cubicBezTo>
                    <a:cubicBezTo>
                      <a:pt x="17431" y="30385"/>
                      <a:pt x="16479" y="34957"/>
                      <a:pt x="16479" y="40196"/>
                    </a:cubicBezTo>
                    <a:cubicBezTo>
                      <a:pt x="16479" y="45434"/>
                      <a:pt x="17336" y="50102"/>
                      <a:pt x="19145" y="54102"/>
                    </a:cubicBezTo>
                    <a:cubicBezTo>
                      <a:pt x="20955" y="58103"/>
                      <a:pt x="23527" y="61246"/>
                      <a:pt x="26956" y="63437"/>
                    </a:cubicBezTo>
                    <a:cubicBezTo>
                      <a:pt x="30385" y="65627"/>
                      <a:pt x="34671" y="66770"/>
                      <a:pt x="39624" y="66770"/>
                    </a:cubicBezTo>
                    <a:cubicBezTo>
                      <a:pt x="48959" y="66770"/>
                      <a:pt x="55912" y="62294"/>
                      <a:pt x="60484" y="53340"/>
                    </a:cubicBezTo>
                    <a:lnTo>
                      <a:pt x="74009" y="60293"/>
                    </a:lnTo>
                    <a:cubicBezTo>
                      <a:pt x="71247" y="66294"/>
                      <a:pt x="67056" y="71247"/>
                      <a:pt x="61436" y="75057"/>
                    </a:cubicBezTo>
                    <a:cubicBezTo>
                      <a:pt x="55817" y="78867"/>
                      <a:pt x="48578" y="80772"/>
                      <a:pt x="39624" y="80772"/>
                    </a:cubicBezTo>
                    <a:cubicBezTo>
                      <a:pt x="30671" y="80772"/>
                      <a:pt x="23908" y="79058"/>
                      <a:pt x="18002" y="75629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297" name="Freeform: Shape 130">
                <a:extLst>
                  <a:ext uri="{FF2B5EF4-FFF2-40B4-BE49-F238E27FC236}">
                    <a16:creationId xmlns:a16="http://schemas.microsoft.com/office/drawing/2014/main" id="{1FCE02D8-CA82-87FA-3771-88C5F9805EDE}"/>
                  </a:ext>
                </a:extLst>
              </p:cNvPr>
              <p:cNvSpPr/>
              <p:nvPr/>
            </p:nvSpPr>
            <p:spPr>
              <a:xfrm>
                <a:off x="7397972" y="3940492"/>
                <a:ext cx="55244" cy="61531"/>
              </a:xfrm>
              <a:custGeom>
                <a:avLst/>
                <a:gdLst>
                  <a:gd name="connsiteX0" fmla="*/ 4763 w 55244"/>
                  <a:gd name="connsiteY0" fmla="*/ 55150 h 61531"/>
                  <a:gd name="connsiteX1" fmla="*/ 0 w 55244"/>
                  <a:gd name="connsiteY1" fmla="*/ 38290 h 61531"/>
                  <a:gd name="connsiteX2" fmla="*/ 0 w 55244"/>
                  <a:gd name="connsiteY2" fmla="*/ 0 h 61531"/>
                  <a:gd name="connsiteX3" fmla="*/ 15716 w 55244"/>
                  <a:gd name="connsiteY3" fmla="*/ 0 h 61531"/>
                  <a:gd name="connsiteX4" fmla="*/ 15716 w 55244"/>
                  <a:gd name="connsiteY4" fmla="*/ 33814 h 61531"/>
                  <a:gd name="connsiteX5" fmla="*/ 18002 w 55244"/>
                  <a:gd name="connsiteY5" fmla="*/ 44291 h 61531"/>
                  <a:gd name="connsiteX6" fmla="*/ 25908 w 55244"/>
                  <a:gd name="connsiteY6" fmla="*/ 48006 h 61531"/>
                  <a:gd name="connsiteX7" fmla="*/ 32671 w 55244"/>
                  <a:gd name="connsiteY7" fmla="*/ 46006 h 61531"/>
                  <a:gd name="connsiteX8" fmla="*/ 37433 w 55244"/>
                  <a:gd name="connsiteY8" fmla="*/ 40481 h 61531"/>
                  <a:gd name="connsiteX9" fmla="*/ 39148 w 55244"/>
                  <a:gd name="connsiteY9" fmla="*/ 32290 h 61531"/>
                  <a:gd name="connsiteX10" fmla="*/ 39148 w 55244"/>
                  <a:gd name="connsiteY10" fmla="*/ 0 h 61531"/>
                  <a:gd name="connsiteX11" fmla="*/ 54864 w 55244"/>
                  <a:gd name="connsiteY11" fmla="*/ 0 h 61531"/>
                  <a:gd name="connsiteX12" fmla="*/ 54864 w 55244"/>
                  <a:gd name="connsiteY12" fmla="*/ 46863 h 61531"/>
                  <a:gd name="connsiteX13" fmla="*/ 54959 w 55244"/>
                  <a:gd name="connsiteY13" fmla="*/ 54769 h 61531"/>
                  <a:gd name="connsiteX14" fmla="*/ 55245 w 55244"/>
                  <a:gd name="connsiteY14" fmla="*/ 60388 h 61531"/>
                  <a:gd name="connsiteX15" fmla="*/ 40291 w 55244"/>
                  <a:gd name="connsiteY15" fmla="*/ 60388 h 61531"/>
                  <a:gd name="connsiteX16" fmla="*/ 39910 w 55244"/>
                  <a:gd name="connsiteY16" fmla="*/ 55340 h 61531"/>
                  <a:gd name="connsiteX17" fmla="*/ 39624 w 55244"/>
                  <a:gd name="connsiteY17" fmla="*/ 49530 h 61531"/>
                  <a:gd name="connsiteX18" fmla="*/ 39338 w 55244"/>
                  <a:gd name="connsiteY18" fmla="*/ 49530 h 61531"/>
                  <a:gd name="connsiteX19" fmla="*/ 31432 w 55244"/>
                  <a:gd name="connsiteY19" fmla="*/ 58674 h 61531"/>
                  <a:gd name="connsiteX20" fmla="*/ 19908 w 55244"/>
                  <a:gd name="connsiteY20" fmla="*/ 61531 h 61531"/>
                  <a:gd name="connsiteX21" fmla="*/ 4858 w 55244"/>
                  <a:gd name="connsiteY21" fmla="*/ 55245 h 615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55244" h="61531">
                    <a:moveTo>
                      <a:pt x="4763" y="55150"/>
                    </a:moveTo>
                    <a:cubicBezTo>
                      <a:pt x="1619" y="50959"/>
                      <a:pt x="0" y="45339"/>
                      <a:pt x="0" y="38290"/>
                    </a:cubicBezTo>
                    <a:lnTo>
                      <a:pt x="0" y="0"/>
                    </a:lnTo>
                    <a:lnTo>
                      <a:pt x="15716" y="0"/>
                    </a:lnTo>
                    <a:lnTo>
                      <a:pt x="15716" y="33814"/>
                    </a:lnTo>
                    <a:cubicBezTo>
                      <a:pt x="15716" y="38290"/>
                      <a:pt x="16478" y="41815"/>
                      <a:pt x="18002" y="44291"/>
                    </a:cubicBezTo>
                    <a:cubicBezTo>
                      <a:pt x="19526" y="46767"/>
                      <a:pt x="22193" y="48006"/>
                      <a:pt x="25908" y="48006"/>
                    </a:cubicBezTo>
                    <a:cubicBezTo>
                      <a:pt x="28384" y="48006"/>
                      <a:pt x="30670" y="47339"/>
                      <a:pt x="32671" y="46006"/>
                    </a:cubicBezTo>
                    <a:cubicBezTo>
                      <a:pt x="34671" y="44672"/>
                      <a:pt x="36290" y="42863"/>
                      <a:pt x="37433" y="40481"/>
                    </a:cubicBezTo>
                    <a:cubicBezTo>
                      <a:pt x="38576" y="38100"/>
                      <a:pt x="39148" y="35338"/>
                      <a:pt x="39148" y="32290"/>
                    </a:cubicBezTo>
                    <a:lnTo>
                      <a:pt x="39148" y="0"/>
                    </a:lnTo>
                    <a:lnTo>
                      <a:pt x="54864" y="0"/>
                    </a:lnTo>
                    <a:lnTo>
                      <a:pt x="54864" y="46863"/>
                    </a:lnTo>
                    <a:cubicBezTo>
                      <a:pt x="54864" y="49435"/>
                      <a:pt x="54864" y="52006"/>
                      <a:pt x="54959" y="54769"/>
                    </a:cubicBezTo>
                    <a:cubicBezTo>
                      <a:pt x="55054" y="57531"/>
                      <a:pt x="55150" y="59341"/>
                      <a:pt x="55245" y="60388"/>
                    </a:cubicBezTo>
                    <a:lnTo>
                      <a:pt x="40291" y="60388"/>
                    </a:lnTo>
                    <a:cubicBezTo>
                      <a:pt x="40195" y="59531"/>
                      <a:pt x="40005" y="57817"/>
                      <a:pt x="39910" y="55340"/>
                    </a:cubicBezTo>
                    <a:cubicBezTo>
                      <a:pt x="39814" y="52864"/>
                      <a:pt x="39624" y="50959"/>
                      <a:pt x="39624" y="49530"/>
                    </a:cubicBezTo>
                    <a:lnTo>
                      <a:pt x="39338" y="49530"/>
                    </a:lnTo>
                    <a:cubicBezTo>
                      <a:pt x="37338" y="53626"/>
                      <a:pt x="34671" y="56674"/>
                      <a:pt x="31432" y="58674"/>
                    </a:cubicBezTo>
                    <a:cubicBezTo>
                      <a:pt x="28194" y="60674"/>
                      <a:pt x="24384" y="61531"/>
                      <a:pt x="19908" y="61531"/>
                    </a:cubicBezTo>
                    <a:cubicBezTo>
                      <a:pt x="13049" y="61531"/>
                      <a:pt x="8001" y="59436"/>
                      <a:pt x="4858" y="55245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298" name="Freeform: Shape 131">
                <a:extLst>
                  <a:ext uri="{FF2B5EF4-FFF2-40B4-BE49-F238E27FC236}">
                    <a16:creationId xmlns:a16="http://schemas.microsoft.com/office/drawing/2014/main" id="{1E4D7F2C-8C6D-08A9-B5A6-EBE4E47AECC9}"/>
                  </a:ext>
                </a:extLst>
              </p:cNvPr>
              <p:cNvSpPr/>
              <p:nvPr/>
            </p:nvSpPr>
            <p:spPr>
              <a:xfrm>
                <a:off x="7463408" y="3939254"/>
                <a:ext cx="50768" cy="62769"/>
              </a:xfrm>
              <a:custGeom>
                <a:avLst/>
                <a:gdLst>
                  <a:gd name="connsiteX0" fmla="*/ 11716 w 50768"/>
                  <a:gd name="connsiteY0" fmla="*/ 60579 h 62769"/>
                  <a:gd name="connsiteX1" fmla="*/ 0 w 50768"/>
                  <a:gd name="connsiteY1" fmla="*/ 54007 h 62769"/>
                  <a:gd name="connsiteX2" fmla="*/ 7048 w 50768"/>
                  <a:gd name="connsiteY2" fmla="*/ 43243 h 62769"/>
                  <a:gd name="connsiteX3" fmla="*/ 16383 w 50768"/>
                  <a:gd name="connsiteY3" fmla="*/ 49054 h 62769"/>
                  <a:gd name="connsiteX4" fmla="*/ 25622 w 50768"/>
                  <a:gd name="connsiteY4" fmla="*/ 50959 h 62769"/>
                  <a:gd name="connsiteX5" fmla="*/ 33338 w 50768"/>
                  <a:gd name="connsiteY5" fmla="*/ 49721 h 62769"/>
                  <a:gd name="connsiteX6" fmla="*/ 36100 w 50768"/>
                  <a:gd name="connsiteY6" fmla="*/ 45244 h 62769"/>
                  <a:gd name="connsiteX7" fmla="*/ 34671 w 50768"/>
                  <a:gd name="connsiteY7" fmla="*/ 41529 h 62769"/>
                  <a:gd name="connsiteX8" fmla="*/ 30956 w 50768"/>
                  <a:gd name="connsiteY8" fmla="*/ 39338 h 62769"/>
                  <a:gd name="connsiteX9" fmla="*/ 24575 w 50768"/>
                  <a:gd name="connsiteY9" fmla="*/ 37624 h 62769"/>
                  <a:gd name="connsiteX10" fmla="*/ 21622 w 50768"/>
                  <a:gd name="connsiteY10" fmla="*/ 36862 h 62769"/>
                  <a:gd name="connsiteX11" fmla="*/ 11525 w 50768"/>
                  <a:gd name="connsiteY11" fmla="*/ 33338 h 62769"/>
                  <a:gd name="connsiteX12" fmla="*/ 4953 w 50768"/>
                  <a:gd name="connsiteY12" fmla="*/ 27813 h 62769"/>
                  <a:gd name="connsiteX13" fmla="*/ 2381 w 50768"/>
                  <a:gd name="connsiteY13" fmla="*/ 18288 h 62769"/>
                  <a:gd name="connsiteX14" fmla="*/ 5143 w 50768"/>
                  <a:gd name="connsiteY14" fmla="*/ 8477 h 62769"/>
                  <a:gd name="connsiteX15" fmla="*/ 13145 w 50768"/>
                  <a:gd name="connsiteY15" fmla="*/ 2191 h 62769"/>
                  <a:gd name="connsiteX16" fmla="*/ 25908 w 50768"/>
                  <a:gd name="connsiteY16" fmla="*/ 0 h 62769"/>
                  <a:gd name="connsiteX17" fmla="*/ 38958 w 50768"/>
                  <a:gd name="connsiteY17" fmla="*/ 2191 h 62769"/>
                  <a:gd name="connsiteX18" fmla="*/ 49054 w 50768"/>
                  <a:gd name="connsiteY18" fmla="*/ 8763 h 62769"/>
                  <a:gd name="connsiteX19" fmla="*/ 41053 w 50768"/>
                  <a:gd name="connsiteY19" fmla="*/ 18002 h 62769"/>
                  <a:gd name="connsiteX20" fmla="*/ 26098 w 50768"/>
                  <a:gd name="connsiteY20" fmla="*/ 11716 h 62769"/>
                  <a:gd name="connsiteX21" fmla="*/ 16859 w 50768"/>
                  <a:gd name="connsiteY21" fmla="*/ 17050 h 62769"/>
                  <a:gd name="connsiteX22" fmla="*/ 18098 w 50768"/>
                  <a:gd name="connsiteY22" fmla="*/ 20288 h 62769"/>
                  <a:gd name="connsiteX23" fmla="*/ 21241 w 50768"/>
                  <a:gd name="connsiteY23" fmla="*/ 22193 h 62769"/>
                  <a:gd name="connsiteX24" fmla="*/ 26861 w 50768"/>
                  <a:gd name="connsiteY24" fmla="*/ 23717 h 62769"/>
                  <a:gd name="connsiteX25" fmla="*/ 29718 w 50768"/>
                  <a:gd name="connsiteY25" fmla="*/ 24384 h 62769"/>
                  <a:gd name="connsiteX26" fmla="*/ 40767 w 50768"/>
                  <a:gd name="connsiteY26" fmla="*/ 28004 h 62769"/>
                  <a:gd name="connsiteX27" fmla="*/ 47911 w 50768"/>
                  <a:gd name="connsiteY27" fmla="*/ 33814 h 62769"/>
                  <a:gd name="connsiteX28" fmla="*/ 50768 w 50768"/>
                  <a:gd name="connsiteY28" fmla="*/ 44005 h 62769"/>
                  <a:gd name="connsiteX29" fmla="*/ 47816 w 50768"/>
                  <a:gd name="connsiteY29" fmla="*/ 54007 h 62769"/>
                  <a:gd name="connsiteX30" fmla="*/ 39243 w 50768"/>
                  <a:gd name="connsiteY30" fmla="*/ 60484 h 62769"/>
                  <a:gd name="connsiteX31" fmla="*/ 25813 w 50768"/>
                  <a:gd name="connsiteY31" fmla="*/ 62770 h 62769"/>
                  <a:gd name="connsiteX32" fmla="*/ 11906 w 50768"/>
                  <a:gd name="connsiteY32" fmla="*/ 60674 h 627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50768" h="62769">
                    <a:moveTo>
                      <a:pt x="11716" y="60579"/>
                    </a:moveTo>
                    <a:cubicBezTo>
                      <a:pt x="7620" y="59246"/>
                      <a:pt x="3715" y="56959"/>
                      <a:pt x="0" y="54007"/>
                    </a:cubicBezTo>
                    <a:lnTo>
                      <a:pt x="7048" y="43243"/>
                    </a:lnTo>
                    <a:cubicBezTo>
                      <a:pt x="10383" y="45815"/>
                      <a:pt x="13525" y="47720"/>
                      <a:pt x="16383" y="49054"/>
                    </a:cubicBezTo>
                    <a:cubicBezTo>
                      <a:pt x="19241" y="50387"/>
                      <a:pt x="22289" y="50959"/>
                      <a:pt x="25622" y="50959"/>
                    </a:cubicBezTo>
                    <a:cubicBezTo>
                      <a:pt x="28956" y="50959"/>
                      <a:pt x="31528" y="50578"/>
                      <a:pt x="33338" y="49721"/>
                    </a:cubicBezTo>
                    <a:cubicBezTo>
                      <a:pt x="35147" y="48863"/>
                      <a:pt x="36100" y="47339"/>
                      <a:pt x="36100" y="45244"/>
                    </a:cubicBezTo>
                    <a:cubicBezTo>
                      <a:pt x="36100" y="43720"/>
                      <a:pt x="35623" y="42481"/>
                      <a:pt x="34671" y="41529"/>
                    </a:cubicBezTo>
                    <a:cubicBezTo>
                      <a:pt x="33718" y="40576"/>
                      <a:pt x="32480" y="39910"/>
                      <a:pt x="30956" y="39338"/>
                    </a:cubicBezTo>
                    <a:cubicBezTo>
                      <a:pt x="29433" y="38767"/>
                      <a:pt x="27337" y="38290"/>
                      <a:pt x="24575" y="37624"/>
                    </a:cubicBezTo>
                    <a:lnTo>
                      <a:pt x="21622" y="36862"/>
                    </a:lnTo>
                    <a:cubicBezTo>
                      <a:pt x="17526" y="35814"/>
                      <a:pt x="14192" y="34671"/>
                      <a:pt x="11525" y="33338"/>
                    </a:cubicBezTo>
                    <a:cubicBezTo>
                      <a:pt x="8858" y="32004"/>
                      <a:pt x="6668" y="30194"/>
                      <a:pt x="4953" y="27813"/>
                    </a:cubicBezTo>
                    <a:cubicBezTo>
                      <a:pt x="3239" y="25432"/>
                      <a:pt x="2381" y="22193"/>
                      <a:pt x="2381" y="18288"/>
                    </a:cubicBezTo>
                    <a:cubicBezTo>
                      <a:pt x="2381" y="14383"/>
                      <a:pt x="3334" y="11239"/>
                      <a:pt x="5143" y="8477"/>
                    </a:cubicBezTo>
                    <a:cubicBezTo>
                      <a:pt x="6953" y="5715"/>
                      <a:pt x="9620" y="3620"/>
                      <a:pt x="13145" y="2191"/>
                    </a:cubicBezTo>
                    <a:cubicBezTo>
                      <a:pt x="16669" y="762"/>
                      <a:pt x="20955" y="0"/>
                      <a:pt x="25908" y="0"/>
                    </a:cubicBezTo>
                    <a:cubicBezTo>
                      <a:pt x="30861" y="0"/>
                      <a:pt x="35052" y="762"/>
                      <a:pt x="38958" y="2191"/>
                    </a:cubicBezTo>
                    <a:cubicBezTo>
                      <a:pt x="42863" y="3620"/>
                      <a:pt x="46196" y="5810"/>
                      <a:pt x="49054" y="8763"/>
                    </a:cubicBezTo>
                    <a:lnTo>
                      <a:pt x="41053" y="18002"/>
                    </a:lnTo>
                    <a:cubicBezTo>
                      <a:pt x="36766" y="13811"/>
                      <a:pt x="31814" y="11716"/>
                      <a:pt x="26098" y="11716"/>
                    </a:cubicBezTo>
                    <a:cubicBezTo>
                      <a:pt x="19908" y="11716"/>
                      <a:pt x="16859" y="13525"/>
                      <a:pt x="16859" y="17050"/>
                    </a:cubicBezTo>
                    <a:cubicBezTo>
                      <a:pt x="16859" y="18383"/>
                      <a:pt x="17240" y="19526"/>
                      <a:pt x="18098" y="20288"/>
                    </a:cubicBezTo>
                    <a:cubicBezTo>
                      <a:pt x="18955" y="21050"/>
                      <a:pt x="19908" y="21717"/>
                      <a:pt x="21241" y="22193"/>
                    </a:cubicBezTo>
                    <a:cubicBezTo>
                      <a:pt x="22574" y="22670"/>
                      <a:pt x="24384" y="23146"/>
                      <a:pt x="26861" y="23717"/>
                    </a:cubicBezTo>
                    <a:lnTo>
                      <a:pt x="29718" y="24384"/>
                    </a:lnTo>
                    <a:cubicBezTo>
                      <a:pt x="34195" y="25527"/>
                      <a:pt x="37815" y="26670"/>
                      <a:pt x="40767" y="28004"/>
                    </a:cubicBezTo>
                    <a:cubicBezTo>
                      <a:pt x="43720" y="29337"/>
                      <a:pt x="46006" y="31242"/>
                      <a:pt x="47911" y="33814"/>
                    </a:cubicBezTo>
                    <a:cubicBezTo>
                      <a:pt x="49816" y="36386"/>
                      <a:pt x="50768" y="39814"/>
                      <a:pt x="50768" y="44005"/>
                    </a:cubicBezTo>
                    <a:cubicBezTo>
                      <a:pt x="50768" y="47815"/>
                      <a:pt x="49816" y="51149"/>
                      <a:pt x="47816" y="54007"/>
                    </a:cubicBezTo>
                    <a:cubicBezTo>
                      <a:pt x="45815" y="56864"/>
                      <a:pt x="43053" y="58960"/>
                      <a:pt x="39243" y="60484"/>
                    </a:cubicBezTo>
                    <a:cubicBezTo>
                      <a:pt x="35433" y="62008"/>
                      <a:pt x="31052" y="62770"/>
                      <a:pt x="25813" y="62770"/>
                    </a:cubicBezTo>
                    <a:cubicBezTo>
                      <a:pt x="20574" y="62770"/>
                      <a:pt x="16002" y="62103"/>
                      <a:pt x="11906" y="60674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299" name="Freeform: Shape 132">
                <a:extLst>
                  <a:ext uri="{FF2B5EF4-FFF2-40B4-BE49-F238E27FC236}">
                    <a16:creationId xmlns:a16="http://schemas.microsoft.com/office/drawing/2014/main" id="{FA737773-DE31-FF98-E46B-1E91A34C8793}"/>
                  </a:ext>
                </a:extLst>
              </p:cNvPr>
              <p:cNvSpPr/>
              <p:nvPr/>
            </p:nvSpPr>
            <p:spPr>
              <a:xfrm>
                <a:off x="7518939" y="3925728"/>
                <a:ext cx="35814" cy="76104"/>
              </a:xfrm>
              <a:custGeom>
                <a:avLst/>
                <a:gdLst>
                  <a:gd name="connsiteX0" fmla="*/ 11620 w 35814"/>
                  <a:gd name="connsiteY0" fmla="*/ 71914 h 76104"/>
                  <a:gd name="connsiteX1" fmla="*/ 7620 w 35814"/>
                  <a:gd name="connsiteY1" fmla="*/ 59722 h 76104"/>
                  <a:gd name="connsiteX2" fmla="*/ 7620 w 35814"/>
                  <a:gd name="connsiteY2" fmla="*/ 26384 h 76104"/>
                  <a:gd name="connsiteX3" fmla="*/ 0 w 35814"/>
                  <a:gd name="connsiteY3" fmla="*/ 26384 h 76104"/>
                  <a:gd name="connsiteX4" fmla="*/ 0 w 35814"/>
                  <a:gd name="connsiteY4" fmla="*/ 14764 h 76104"/>
                  <a:gd name="connsiteX5" fmla="*/ 8382 w 35814"/>
                  <a:gd name="connsiteY5" fmla="*/ 14764 h 76104"/>
                  <a:gd name="connsiteX6" fmla="*/ 9144 w 35814"/>
                  <a:gd name="connsiteY6" fmla="*/ 1143 h 76104"/>
                  <a:gd name="connsiteX7" fmla="*/ 23050 w 35814"/>
                  <a:gd name="connsiteY7" fmla="*/ 0 h 76104"/>
                  <a:gd name="connsiteX8" fmla="*/ 23050 w 35814"/>
                  <a:gd name="connsiteY8" fmla="*/ 14764 h 76104"/>
                  <a:gd name="connsiteX9" fmla="*/ 35052 w 35814"/>
                  <a:gd name="connsiteY9" fmla="*/ 14764 h 76104"/>
                  <a:gd name="connsiteX10" fmla="*/ 35052 w 35814"/>
                  <a:gd name="connsiteY10" fmla="*/ 26384 h 76104"/>
                  <a:gd name="connsiteX11" fmla="*/ 23050 w 35814"/>
                  <a:gd name="connsiteY11" fmla="*/ 26384 h 76104"/>
                  <a:gd name="connsiteX12" fmla="*/ 23050 w 35814"/>
                  <a:gd name="connsiteY12" fmla="*/ 55531 h 76104"/>
                  <a:gd name="connsiteX13" fmla="*/ 24479 w 35814"/>
                  <a:gd name="connsiteY13" fmla="*/ 61246 h 76104"/>
                  <a:gd name="connsiteX14" fmla="*/ 28956 w 35814"/>
                  <a:gd name="connsiteY14" fmla="*/ 63055 h 76104"/>
                  <a:gd name="connsiteX15" fmla="*/ 34671 w 35814"/>
                  <a:gd name="connsiteY15" fmla="*/ 62389 h 76104"/>
                  <a:gd name="connsiteX16" fmla="*/ 35814 w 35814"/>
                  <a:gd name="connsiteY16" fmla="*/ 74295 h 76104"/>
                  <a:gd name="connsiteX17" fmla="*/ 23050 w 35814"/>
                  <a:gd name="connsiteY17" fmla="*/ 76105 h 76104"/>
                  <a:gd name="connsiteX18" fmla="*/ 11525 w 35814"/>
                  <a:gd name="connsiteY18" fmla="*/ 72009 h 761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814" h="76104">
                    <a:moveTo>
                      <a:pt x="11620" y="71914"/>
                    </a:moveTo>
                    <a:cubicBezTo>
                      <a:pt x="8954" y="69152"/>
                      <a:pt x="7620" y="65151"/>
                      <a:pt x="7620" y="59722"/>
                    </a:cubicBezTo>
                    <a:lnTo>
                      <a:pt x="7620" y="26384"/>
                    </a:lnTo>
                    <a:lnTo>
                      <a:pt x="0" y="26384"/>
                    </a:lnTo>
                    <a:lnTo>
                      <a:pt x="0" y="14764"/>
                    </a:lnTo>
                    <a:lnTo>
                      <a:pt x="8382" y="14764"/>
                    </a:lnTo>
                    <a:lnTo>
                      <a:pt x="9144" y="1143"/>
                    </a:lnTo>
                    <a:lnTo>
                      <a:pt x="23050" y="0"/>
                    </a:lnTo>
                    <a:lnTo>
                      <a:pt x="23050" y="14764"/>
                    </a:lnTo>
                    <a:lnTo>
                      <a:pt x="35052" y="14764"/>
                    </a:lnTo>
                    <a:lnTo>
                      <a:pt x="35052" y="26384"/>
                    </a:lnTo>
                    <a:lnTo>
                      <a:pt x="23050" y="26384"/>
                    </a:lnTo>
                    <a:lnTo>
                      <a:pt x="23050" y="55531"/>
                    </a:lnTo>
                    <a:cubicBezTo>
                      <a:pt x="23050" y="58103"/>
                      <a:pt x="23526" y="60008"/>
                      <a:pt x="24479" y="61246"/>
                    </a:cubicBezTo>
                    <a:cubicBezTo>
                      <a:pt x="25432" y="62484"/>
                      <a:pt x="26861" y="63055"/>
                      <a:pt x="28956" y="63055"/>
                    </a:cubicBezTo>
                    <a:cubicBezTo>
                      <a:pt x="30575" y="63055"/>
                      <a:pt x="32480" y="62865"/>
                      <a:pt x="34671" y="62389"/>
                    </a:cubicBezTo>
                    <a:lnTo>
                      <a:pt x="35814" y="74295"/>
                    </a:lnTo>
                    <a:cubicBezTo>
                      <a:pt x="31528" y="75438"/>
                      <a:pt x="27337" y="76105"/>
                      <a:pt x="23050" y="76105"/>
                    </a:cubicBezTo>
                    <a:cubicBezTo>
                      <a:pt x="18002" y="76105"/>
                      <a:pt x="14192" y="74771"/>
                      <a:pt x="11525" y="72009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00" name="Freeform: Shape 133">
                <a:extLst>
                  <a:ext uri="{FF2B5EF4-FFF2-40B4-BE49-F238E27FC236}">
                    <a16:creationId xmlns:a16="http://schemas.microsoft.com/office/drawing/2014/main" id="{7B5F71FC-92C9-12F2-9CFF-90918C21E1B8}"/>
                  </a:ext>
                </a:extLst>
              </p:cNvPr>
              <p:cNvSpPr/>
              <p:nvPr/>
            </p:nvSpPr>
            <p:spPr>
              <a:xfrm>
                <a:off x="7560564" y="3939349"/>
                <a:ext cx="60864" cy="62674"/>
              </a:xfrm>
              <a:custGeom>
                <a:avLst/>
                <a:gdLst>
                  <a:gd name="connsiteX0" fmla="*/ 13906 w 60864"/>
                  <a:gd name="connsiteY0" fmla="*/ 58388 h 62674"/>
                  <a:gd name="connsiteX1" fmla="*/ 3524 w 60864"/>
                  <a:gd name="connsiteY1" fmla="*/ 47149 h 62674"/>
                  <a:gd name="connsiteX2" fmla="*/ 0 w 60864"/>
                  <a:gd name="connsiteY2" fmla="*/ 31147 h 62674"/>
                  <a:gd name="connsiteX3" fmla="*/ 3429 w 60864"/>
                  <a:gd name="connsiteY3" fmla="*/ 15431 h 62674"/>
                  <a:gd name="connsiteX4" fmla="*/ 13716 w 60864"/>
                  <a:gd name="connsiteY4" fmla="*/ 4191 h 62674"/>
                  <a:gd name="connsiteX5" fmla="*/ 30480 w 60864"/>
                  <a:gd name="connsiteY5" fmla="*/ 0 h 62674"/>
                  <a:gd name="connsiteX6" fmla="*/ 47720 w 60864"/>
                  <a:gd name="connsiteY6" fmla="*/ 4191 h 62674"/>
                  <a:gd name="connsiteX7" fmla="*/ 57721 w 60864"/>
                  <a:gd name="connsiteY7" fmla="*/ 15335 h 62674"/>
                  <a:gd name="connsiteX8" fmla="*/ 60865 w 60864"/>
                  <a:gd name="connsiteY8" fmla="*/ 31242 h 62674"/>
                  <a:gd name="connsiteX9" fmla="*/ 57341 w 60864"/>
                  <a:gd name="connsiteY9" fmla="*/ 47244 h 62674"/>
                  <a:gd name="connsiteX10" fmla="*/ 46958 w 60864"/>
                  <a:gd name="connsiteY10" fmla="*/ 58484 h 62674"/>
                  <a:gd name="connsiteX11" fmla="*/ 30194 w 60864"/>
                  <a:gd name="connsiteY11" fmla="*/ 62675 h 62674"/>
                  <a:gd name="connsiteX12" fmla="*/ 13906 w 60864"/>
                  <a:gd name="connsiteY12" fmla="*/ 58579 h 62674"/>
                  <a:gd name="connsiteX13" fmla="*/ 40767 w 60864"/>
                  <a:gd name="connsiteY13" fmla="*/ 45149 h 62674"/>
                  <a:gd name="connsiteX14" fmla="*/ 44482 w 60864"/>
                  <a:gd name="connsiteY14" fmla="*/ 31052 h 62674"/>
                  <a:gd name="connsiteX15" fmla="*/ 40957 w 60864"/>
                  <a:gd name="connsiteY15" fmla="*/ 17145 h 62674"/>
                  <a:gd name="connsiteX16" fmla="*/ 30766 w 60864"/>
                  <a:gd name="connsiteY16" fmla="*/ 12287 h 62674"/>
                  <a:gd name="connsiteX17" fmla="*/ 20193 w 60864"/>
                  <a:gd name="connsiteY17" fmla="*/ 17145 h 62674"/>
                  <a:gd name="connsiteX18" fmla="*/ 16478 w 60864"/>
                  <a:gd name="connsiteY18" fmla="*/ 31052 h 62674"/>
                  <a:gd name="connsiteX19" fmla="*/ 18192 w 60864"/>
                  <a:gd name="connsiteY19" fmla="*/ 41339 h 62674"/>
                  <a:gd name="connsiteX20" fmla="*/ 22955 w 60864"/>
                  <a:gd name="connsiteY20" fmla="*/ 47816 h 62674"/>
                  <a:gd name="connsiteX21" fmla="*/ 30099 w 60864"/>
                  <a:gd name="connsiteY21" fmla="*/ 50006 h 62674"/>
                  <a:gd name="connsiteX22" fmla="*/ 40767 w 60864"/>
                  <a:gd name="connsiteY22" fmla="*/ 45053 h 62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60864" h="62674">
                    <a:moveTo>
                      <a:pt x="13906" y="58388"/>
                    </a:moveTo>
                    <a:cubicBezTo>
                      <a:pt x="9334" y="55626"/>
                      <a:pt x="5905" y="51911"/>
                      <a:pt x="3524" y="47149"/>
                    </a:cubicBezTo>
                    <a:cubicBezTo>
                      <a:pt x="1143" y="42386"/>
                      <a:pt x="0" y="37052"/>
                      <a:pt x="0" y="31147"/>
                    </a:cubicBezTo>
                    <a:cubicBezTo>
                      <a:pt x="0" y="25241"/>
                      <a:pt x="1143" y="20098"/>
                      <a:pt x="3429" y="15431"/>
                    </a:cubicBezTo>
                    <a:cubicBezTo>
                      <a:pt x="5715" y="10763"/>
                      <a:pt x="9144" y="6953"/>
                      <a:pt x="13716" y="4191"/>
                    </a:cubicBezTo>
                    <a:cubicBezTo>
                      <a:pt x="18288" y="1429"/>
                      <a:pt x="23908" y="0"/>
                      <a:pt x="30480" y="0"/>
                    </a:cubicBezTo>
                    <a:cubicBezTo>
                      <a:pt x="37433" y="0"/>
                      <a:pt x="43148" y="1429"/>
                      <a:pt x="47720" y="4191"/>
                    </a:cubicBezTo>
                    <a:cubicBezTo>
                      <a:pt x="52292" y="6953"/>
                      <a:pt x="55531" y="10668"/>
                      <a:pt x="57721" y="15335"/>
                    </a:cubicBezTo>
                    <a:cubicBezTo>
                      <a:pt x="59912" y="20003"/>
                      <a:pt x="60865" y="25337"/>
                      <a:pt x="60865" y="31242"/>
                    </a:cubicBezTo>
                    <a:cubicBezTo>
                      <a:pt x="60865" y="37148"/>
                      <a:pt x="59722" y="42482"/>
                      <a:pt x="57341" y="47244"/>
                    </a:cubicBezTo>
                    <a:cubicBezTo>
                      <a:pt x="54959" y="52007"/>
                      <a:pt x="51530" y="55721"/>
                      <a:pt x="46958" y="58484"/>
                    </a:cubicBezTo>
                    <a:cubicBezTo>
                      <a:pt x="42386" y="61246"/>
                      <a:pt x="36766" y="62675"/>
                      <a:pt x="30194" y="62675"/>
                    </a:cubicBezTo>
                    <a:cubicBezTo>
                      <a:pt x="23622" y="62675"/>
                      <a:pt x="18383" y="61341"/>
                      <a:pt x="13906" y="58579"/>
                    </a:cubicBezTo>
                    <a:close/>
                    <a:moveTo>
                      <a:pt x="40767" y="45149"/>
                    </a:moveTo>
                    <a:cubicBezTo>
                      <a:pt x="43243" y="41910"/>
                      <a:pt x="44482" y="37148"/>
                      <a:pt x="44482" y="31052"/>
                    </a:cubicBezTo>
                    <a:cubicBezTo>
                      <a:pt x="44482" y="24956"/>
                      <a:pt x="43339" y="20384"/>
                      <a:pt x="40957" y="17145"/>
                    </a:cubicBezTo>
                    <a:cubicBezTo>
                      <a:pt x="38576" y="13907"/>
                      <a:pt x="35243" y="12287"/>
                      <a:pt x="30766" y="12287"/>
                    </a:cubicBezTo>
                    <a:cubicBezTo>
                      <a:pt x="26289" y="12287"/>
                      <a:pt x="22574" y="13907"/>
                      <a:pt x="20193" y="17145"/>
                    </a:cubicBezTo>
                    <a:cubicBezTo>
                      <a:pt x="17812" y="20384"/>
                      <a:pt x="16478" y="25051"/>
                      <a:pt x="16478" y="31052"/>
                    </a:cubicBezTo>
                    <a:cubicBezTo>
                      <a:pt x="16478" y="35052"/>
                      <a:pt x="17050" y="38481"/>
                      <a:pt x="18192" y="41339"/>
                    </a:cubicBezTo>
                    <a:cubicBezTo>
                      <a:pt x="19335" y="44196"/>
                      <a:pt x="20955" y="46387"/>
                      <a:pt x="22955" y="47816"/>
                    </a:cubicBezTo>
                    <a:cubicBezTo>
                      <a:pt x="24955" y="49244"/>
                      <a:pt x="27337" y="50006"/>
                      <a:pt x="30099" y="50006"/>
                    </a:cubicBezTo>
                    <a:cubicBezTo>
                      <a:pt x="34766" y="50006"/>
                      <a:pt x="38291" y="48387"/>
                      <a:pt x="40767" y="45053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01" name="Freeform: Shape 134">
                <a:extLst>
                  <a:ext uri="{FF2B5EF4-FFF2-40B4-BE49-F238E27FC236}">
                    <a16:creationId xmlns:a16="http://schemas.microsoft.com/office/drawing/2014/main" id="{D0BE53BC-5FA4-20F7-3AE6-914AEE155B9C}"/>
                  </a:ext>
                </a:extLst>
              </p:cNvPr>
              <p:cNvSpPr/>
              <p:nvPr/>
            </p:nvSpPr>
            <p:spPr>
              <a:xfrm>
                <a:off x="7633620" y="3939254"/>
                <a:ext cx="87058" cy="61721"/>
              </a:xfrm>
              <a:custGeom>
                <a:avLst/>
                <a:gdLst>
                  <a:gd name="connsiteX0" fmla="*/ 381 w 87058"/>
                  <a:gd name="connsiteY0" fmla="*/ 14668 h 61721"/>
                  <a:gd name="connsiteX1" fmla="*/ 286 w 87058"/>
                  <a:gd name="connsiteY1" fmla="*/ 6763 h 61721"/>
                  <a:gd name="connsiteX2" fmla="*/ 0 w 87058"/>
                  <a:gd name="connsiteY2" fmla="*/ 1238 h 61721"/>
                  <a:gd name="connsiteX3" fmla="*/ 14954 w 87058"/>
                  <a:gd name="connsiteY3" fmla="*/ 1238 h 61721"/>
                  <a:gd name="connsiteX4" fmla="*/ 15430 w 87058"/>
                  <a:gd name="connsiteY4" fmla="*/ 6191 h 61721"/>
                  <a:gd name="connsiteX5" fmla="*/ 15716 w 87058"/>
                  <a:gd name="connsiteY5" fmla="*/ 12097 h 61721"/>
                  <a:gd name="connsiteX6" fmla="*/ 15907 w 87058"/>
                  <a:gd name="connsiteY6" fmla="*/ 12097 h 61721"/>
                  <a:gd name="connsiteX7" fmla="*/ 23146 w 87058"/>
                  <a:gd name="connsiteY7" fmla="*/ 2953 h 61721"/>
                  <a:gd name="connsiteX8" fmla="*/ 33528 w 87058"/>
                  <a:gd name="connsiteY8" fmla="*/ 0 h 61721"/>
                  <a:gd name="connsiteX9" fmla="*/ 44577 w 87058"/>
                  <a:gd name="connsiteY9" fmla="*/ 3143 h 61721"/>
                  <a:gd name="connsiteX10" fmla="*/ 50292 w 87058"/>
                  <a:gd name="connsiteY10" fmla="*/ 12192 h 61721"/>
                  <a:gd name="connsiteX11" fmla="*/ 50673 w 87058"/>
                  <a:gd name="connsiteY11" fmla="*/ 12192 h 61721"/>
                  <a:gd name="connsiteX12" fmla="*/ 58103 w 87058"/>
                  <a:gd name="connsiteY12" fmla="*/ 2857 h 61721"/>
                  <a:gd name="connsiteX13" fmla="*/ 68961 w 87058"/>
                  <a:gd name="connsiteY13" fmla="*/ 95 h 61721"/>
                  <a:gd name="connsiteX14" fmla="*/ 82677 w 87058"/>
                  <a:gd name="connsiteY14" fmla="*/ 6477 h 61721"/>
                  <a:gd name="connsiteX15" fmla="*/ 87059 w 87058"/>
                  <a:gd name="connsiteY15" fmla="*/ 23431 h 61721"/>
                  <a:gd name="connsiteX16" fmla="*/ 87059 w 87058"/>
                  <a:gd name="connsiteY16" fmla="*/ 61722 h 61721"/>
                  <a:gd name="connsiteX17" fmla="*/ 71533 w 87058"/>
                  <a:gd name="connsiteY17" fmla="*/ 61722 h 61721"/>
                  <a:gd name="connsiteX18" fmla="*/ 71533 w 87058"/>
                  <a:gd name="connsiteY18" fmla="*/ 27908 h 61721"/>
                  <a:gd name="connsiteX19" fmla="*/ 69532 w 87058"/>
                  <a:gd name="connsiteY19" fmla="*/ 17431 h 61721"/>
                  <a:gd name="connsiteX20" fmla="*/ 62865 w 87058"/>
                  <a:gd name="connsiteY20" fmla="*/ 13716 h 61721"/>
                  <a:gd name="connsiteX21" fmla="*/ 57245 w 87058"/>
                  <a:gd name="connsiteY21" fmla="*/ 15621 h 61721"/>
                  <a:gd name="connsiteX22" fmla="*/ 53245 w 87058"/>
                  <a:gd name="connsiteY22" fmla="*/ 20860 h 61721"/>
                  <a:gd name="connsiteX23" fmla="*/ 51625 w 87058"/>
                  <a:gd name="connsiteY23" fmla="*/ 28575 h 61721"/>
                  <a:gd name="connsiteX24" fmla="*/ 51625 w 87058"/>
                  <a:gd name="connsiteY24" fmla="*/ 61722 h 61721"/>
                  <a:gd name="connsiteX25" fmla="*/ 36100 w 87058"/>
                  <a:gd name="connsiteY25" fmla="*/ 61722 h 61721"/>
                  <a:gd name="connsiteX26" fmla="*/ 36100 w 87058"/>
                  <a:gd name="connsiteY26" fmla="*/ 27908 h 61721"/>
                  <a:gd name="connsiteX27" fmla="*/ 34100 w 87058"/>
                  <a:gd name="connsiteY27" fmla="*/ 17431 h 61721"/>
                  <a:gd name="connsiteX28" fmla="*/ 27432 w 87058"/>
                  <a:gd name="connsiteY28" fmla="*/ 13716 h 61721"/>
                  <a:gd name="connsiteX29" fmla="*/ 21717 w 87058"/>
                  <a:gd name="connsiteY29" fmla="*/ 15716 h 61721"/>
                  <a:gd name="connsiteX30" fmla="*/ 17716 w 87058"/>
                  <a:gd name="connsiteY30" fmla="*/ 21241 h 61721"/>
                  <a:gd name="connsiteX31" fmla="*/ 16288 w 87058"/>
                  <a:gd name="connsiteY31" fmla="*/ 29337 h 61721"/>
                  <a:gd name="connsiteX32" fmla="*/ 16288 w 87058"/>
                  <a:gd name="connsiteY32" fmla="*/ 61722 h 61721"/>
                  <a:gd name="connsiteX33" fmla="*/ 571 w 87058"/>
                  <a:gd name="connsiteY33" fmla="*/ 61722 h 61721"/>
                  <a:gd name="connsiteX34" fmla="*/ 571 w 87058"/>
                  <a:gd name="connsiteY34" fmla="*/ 14859 h 617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87058" h="61721">
                    <a:moveTo>
                      <a:pt x="381" y="14668"/>
                    </a:moveTo>
                    <a:cubicBezTo>
                      <a:pt x="381" y="12097"/>
                      <a:pt x="381" y="9430"/>
                      <a:pt x="286" y="6763"/>
                    </a:cubicBezTo>
                    <a:cubicBezTo>
                      <a:pt x="191" y="4096"/>
                      <a:pt x="95" y="2191"/>
                      <a:pt x="0" y="1238"/>
                    </a:cubicBezTo>
                    <a:lnTo>
                      <a:pt x="14954" y="1238"/>
                    </a:lnTo>
                    <a:cubicBezTo>
                      <a:pt x="15145" y="2096"/>
                      <a:pt x="15240" y="3715"/>
                      <a:pt x="15430" y="6191"/>
                    </a:cubicBezTo>
                    <a:cubicBezTo>
                      <a:pt x="15621" y="8668"/>
                      <a:pt x="15716" y="10668"/>
                      <a:pt x="15716" y="12097"/>
                    </a:cubicBezTo>
                    <a:lnTo>
                      <a:pt x="15907" y="12097"/>
                    </a:lnTo>
                    <a:cubicBezTo>
                      <a:pt x="17812" y="8001"/>
                      <a:pt x="20193" y="4953"/>
                      <a:pt x="23146" y="2953"/>
                    </a:cubicBezTo>
                    <a:cubicBezTo>
                      <a:pt x="26098" y="953"/>
                      <a:pt x="29528" y="0"/>
                      <a:pt x="33528" y="0"/>
                    </a:cubicBezTo>
                    <a:cubicBezTo>
                      <a:pt x="38100" y="0"/>
                      <a:pt x="41720" y="1048"/>
                      <a:pt x="44577" y="3143"/>
                    </a:cubicBezTo>
                    <a:cubicBezTo>
                      <a:pt x="47434" y="5239"/>
                      <a:pt x="49339" y="8191"/>
                      <a:pt x="50292" y="12192"/>
                    </a:cubicBezTo>
                    <a:lnTo>
                      <a:pt x="50673" y="12192"/>
                    </a:lnTo>
                    <a:cubicBezTo>
                      <a:pt x="52674" y="7811"/>
                      <a:pt x="55245" y="4667"/>
                      <a:pt x="58103" y="2857"/>
                    </a:cubicBezTo>
                    <a:cubicBezTo>
                      <a:pt x="60960" y="1048"/>
                      <a:pt x="64675" y="95"/>
                      <a:pt x="68961" y="95"/>
                    </a:cubicBezTo>
                    <a:cubicBezTo>
                      <a:pt x="75248" y="95"/>
                      <a:pt x="79820" y="2191"/>
                      <a:pt x="82677" y="6477"/>
                    </a:cubicBezTo>
                    <a:cubicBezTo>
                      <a:pt x="85534" y="10763"/>
                      <a:pt x="87059" y="16383"/>
                      <a:pt x="87059" y="23431"/>
                    </a:cubicBezTo>
                    <a:lnTo>
                      <a:pt x="87059" y="61722"/>
                    </a:lnTo>
                    <a:lnTo>
                      <a:pt x="71533" y="61722"/>
                    </a:lnTo>
                    <a:lnTo>
                      <a:pt x="71533" y="27908"/>
                    </a:lnTo>
                    <a:cubicBezTo>
                      <a:pt x="71533" y="23336"/>
                      <a:pt x="70866" y="19907"/>
                      <a:pt x="69532" y="17431"/>
                    </a:cubicBezTo>
                    <a:cubicBezTo>
                      <a:pt x="68199" y="14954"/>
                      <a:pt x="66008" y="13716"/>
                      <a:pt x="62865" y="13716"/>
                    </a:cubicBezTo>
                    <a:cubicBezTo>
                      <a:pt x="60770" y="13716"/>
                      <a:pt x="58864" y="14383"/>
                      <a:pt x="57245" y="15621"/>
                    </a:cubicBezTo>
                    <a:cubicBezTo>
                      <a:pt x="55626" y="16859"/>
                      <a:pt x="54197" y="18574"/>
                      <a:pt x="53245" y="20860"/>
                    </a:cubicBezTo>
                    <a:cubicBezTo>
                      <a:pt x="52292" y="23146"/>
                      <a:pt x="51721" y="25717"/>
                      <a:pt x="51625" y="28575"/>
                    </a:cubicBezTo>
                    <a:lnTo>
                      <a:pt x="51625" y="61722"/>
                    </a:lnTo>
                    <a:lnTo>
                      <a:pt x="36100" y="61722"/>
                    </a:lnTo>
                    <a:lnTo>
                      <a:pt x="36100" y="27908"/>
                    </a:lnTo>
                    <a:cubicBezTo>
                      <a:pt x="36100" y="23336"/>
                      <a:pt x="35433" y="19907"/>
                      <a:pt x="34100" y="17431"/>
                    </a:cubicBezTo>
                    <a:cubicBezTo>
                      <a:pt x="32766" y="14954"/>
                      <a:pt x="30575" y="13716"/>
                      <a:pt x="27432" y="13716"/>
                    </a:cubicBezTo>
                    <a:cubicBezTo>
                      <a:pt x="25337" y="13716"/>
                      <a:pt x="23432" y="14383"/>
                      <a:pt x="21717" y="15716"/>
                    </a:cubicBezTo>
                    <a:cubicBezTo>
                      <a:pt x="20003" y="17050"/>
                      <a:pt x="18669" y="18859"/>
                      <a:pt x="17716" y="21241"/>
                    </a:cubicBezTo>
                    <a:cubicBezTo>
                      <a:pt x="16764" y="23622"/>
                      <a:pt x="16288" y="26289"/>
                      <a:pt x="16288" y="29337"/>
                    </a:cubicBezTo>
                    <a:lnTo>
                      <a:pt x="16288" y="61722"/>
                    </a:lnTo>
                    <a:lnTo>
                      <a:pt x="571" y="61722"/>
                    </a:lnTo>
                    <a:lnTo>
                      <a:pt x="571" y="14859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02" name="Freeform: Shape 135">
                <a:extLst>
                  <a:ext uri="{FF2B5EF4-FFF2-40B4-BE49-F238E27FC236}">
                    <a16:creationId xmlns:a16="http://schemas.microsoft.com/office/drawing/2014/main" id="{00D4D337-2C03-148A-5857-5D72D048A54B}"/>
                  </a:ext>
                </a:extLst>
              </p:cNvPr>
              <p:cNvSpPr/>
              <p:nvPr/>
            </p:nvSpPr>
            <p:spPr>
              <a:xfrm>
                <a:off x="7732109" y="3939254"/>
                <a:ext cx="55244" cy="62769"/>
              </a:xfrm>
              <a:custGeom>
                <a:avLst/>
                <a:gdLst>
                  <a:gd name="connsiteX0" fmla="*/ 7715 w 55244"/>
                  <a:gd name="connsiteY0" fmla="*/ 54769 h 62769"/>
                  <a:gd name="connsiteX1" fmla="*/ 0 w 55244"/>
                  <a:gd name="connsiteY1" fmla="*/ 31242 h 62769"/>
                  <a:gd name="connsiteX2" fmla="*/ 3810 w 55244"/>
                  <a:gd name="connsiteY2" fmla="*/ 13716 h 62769"/>
                  <a:gd name="connsiteX3" fmla="*/ 14097 w 55244"/>
                  <a:gd name="connsiteY3" fmla="*/ 3334 h 62769"/>
                  <a:gd name="connsiteX4" fmla="*/ 28480 w 55244"/>
                  <a:gd name="connsiteY4" fmla="*/ 0 h 62769"/>
                  <a:gd name="connsiteX5" fmla="*/ 43719 w 55244"/>
                  <a:gd name="connsiteY5" fmla="*/ 4000 h 62769"/>
                  <a:gd name="connsiteX6" fmla="*/ 52483 w 55244"/>
                  <a:gd name="connsiteY6" fmla="*/ 14478 h 62769"/>
                  <a:gd name="connsiteX7" fmla="*/ 55245 w 55244"/>
                  <a:gd name="connsiteY7" fmla="*/ 29146 h 62769"/>
                  <a:gd name="connsiteX8" fmla="*/ 54864 w 55244"/>
                  <a:gd name="connsiteY8" fmla="*/ 35433 h 62769"/>
                  <a:gd name="connsiteX9" fmla="*/ 16478 w 55244"/>
                  <a:gd name="connsiteY9" fmla="*/ 35433 h 62769"/>
                  <a:gd name="connsiteX10" fmla="*/ 19812 w 55244"/>
                  <a:gd name="connsiteY10" fmla="*/ 46577 h 62769"/>
                  <a:gd name="connsiteX11" fmla="*/ 30194 w 55244"/>
                  <a:gd name="connsiteY11" fmla="*/ 50673 h 62769"/>
                  <a:gd name="connsiteX12" fmla="*/ 35909 w 55244"/>
                  <a:gd name="connsiteY12" fmla="*/ 50006 h 62769"/>
                  <a:gd name="connsiteX13" fmla="*/ 40957 w 55244"/>
                  <a:gd name="connsiteY13" fmla="*/ 48006 h 62769"/>
                  <a:gd name="connsiteX14" fmla="*/ 46958 w 55244"/>
                  <a:gd name="connsiteY14" fmla="*/ 44196 h 62769"/>
                  <a:gd name="connsiteX15" fmla="*/ 53340 w 55244"/>
                  <a:gd name="connsiteY15" fmla="*/ 54388 h 62769"/>
                  <a:gd name="connsiteX16" fmla="*/ 42672 w 55244"/>
                  <a:gd name="connsiteY16" fmla="*/ 60579 h 62769"/>
                  <a:gd name="connsiteX17" fmla="*/ 29432 w 55244"/>
                  <a:gd name="connsiteY17" fmla="*/ 62770 h 62769"/>
                  <a:gd name="connsiteX18" fmla="*/ 7811 w 55244"/>
                  <a:gd name="connsiteY18" fmla="*/ 54864 h 62769"/>
                  <a:gd name="connsiteX19" fmla="*/ 40005 w 55244"/>
                  <a:gd name="connsiteY19" fmla="*/ 24765 h 62769"/>
                  <a:gd name="connsiteX20" fmla="*/ 36862 w 55244"/>
                  <a:gd name="connsiteY20" fmla="*/ 14764 h 62769"/>
                  <a:gd name="connsiteX21" fmla="*/ 28384 w 55244"/>
                  <a:gd name="connsiteY21" fmla="*/ 11525 h 62769"/>
                  <a:gd name="connsiteX22" fmla="*/ 20002 w 55244"/>
                  <a:gd name="connsiteY22" fmla="*/ 14764 h 62769"/>
                  <a:gd name="connsiteX23" fmla="*/ 16669 w 55244"/>
                  <a:gd name="connsiteY23" fmla="*/ 24765 h 62769"/>
                  <a:gd name="connsiteX24" fmla="*/ 40100 w 55244"/>
                  <a:gd name="connsiteY24" fmla="*/ 24765 h 627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55244" h="62769">
                    <a:moveTo>
                      <a:pt x="7715" y="54769"/>
                    </a:moveTo>
                    <a:cubicBezTo>
                      <a:pt x="2571" y="49530"/>
                      <a:pt x="0" y="41624"/>
                      <a:pt x="0" y="31242"/>
                    </a:cubicBezTo>
                    <a:cubicBezTo>
                      <a:pt x="0" y="24289"/>
                      <a:pt x="1238" y="18383"/>
                      <a:pt x="3810" y="13716"/>
                    </a:cubicBezTo>
                    <a:cubicBezTo>
                      <a:pt x="6382" y="9049"/>
                      <a:pt x="9810" y="5620"/>
                      <a:pt x="14097" y="3334"/>
                    </a:cubicBezTo>
                    <a:cubicBezTo>
                      <a:pt x="18383" y="1048"/>
                      <a:pt x="23146" y="0"/>
                      <a:pt x="28480" y="0"/>
                    </a:cubicBezTo>
                    <a:cubicBezTo>
                      <a:pt x="34576" y="0"/>
                      <a:pt x="39719" y="1333"/>
                      <a:pt x="43719" y="4000"/>
                    </a:cubicBezTo>
                    <a:cubicBezTo>
                      <a:pt x="47720" y="6667"/>
                      <a:pt x="50673" y="10192"/>
                      <a:pt x="52483" y="14478"/>
                    </a:cubicBezTo>
                    <a:cubicBezTo>
                      <a:pt x="54292" y="18764"/>
                      <a:pt x="55245" y="23717"/>
                      <a:pt x="55245" y="29146"/>
                    </a:cubicBezTo>
                    <a:cubicBezTo>
                      <a:pt x="55245" y="31242"/>
                      <a:pt x="55150" y="33338"/>
                      <a:pt x="54864" y="35433"/>
                    </a:cubicBezTo>
                    <a:lnTo>
                      <a:pt x="16478" y="35433"/>
                    </a:lnTo>
                    <a:cubicBezTo>
                      <a:pt x="16478" y="40100"/>
                      <a:pt x="17621" y="43815"/>
                      <a:pt x="19812" y="46577"/>
                    </a:cubicBezTo>
                    <a:cubicBezTo>
                      <a:pt x="22003" y="49339"/>
                      <a:pt x="25527" y="50673"/>
                      <a:pt x="30194" y="50673"/>
                    </a:cubicBezTo>
                    <a:cubicBezTo>
                      <a:pt x="32289" y="50673"/>
                      <a:pt x="34194" y="50482"/>
                      <a:pt x="35909" y="50006"/>
                    </a:cubicBezTo>
                    <a:cubicBezTo>
                      <a:pt x="37623" y="49530"/>
                      <a:pt x="39338" y="48863"/>
                      <a:pt x="40957" y="48006"/>
                    </a:cubicBezTo>
                    <a:cubicBezTo>
                      <a:pt x="42576" y="47149"/>
                      <a:pt x="44577" y="45815"/>
                      <a:pt x="46958" y="44196"/>
                    </a:cubicBezTo>
                    <a:lnTo>
                      <a:pt x="53340" y="54388"/>
                    </a:lnTo>
                    <a:cubicBezTo>
                      <a:pt x="49816" y="57055"/>
                      <a:pt x="46196" y="59150"/>
                      <a:pt x="42672" y="60579"/>
                    </a:cubicBezTo>
                    <a:cubicBezTo>
                      <a:pt x="39148" y="62008"/>
                      <a:pt x="34671" y="62770"/>
                      <a:pt x="29432" y="62770"/>
                    </a:cubicBezTo>
                    <a:cubicBezTo>
                      <a:pt x="20193" y="62770"/>
                      <a:pt x="12954" y="60103"/>
                      <a:pt x="7811" y="54864"/>
                    </a:cubicBezTo>
                    <a:close/>
                    <a:moveTo>
                      <a:pt x="40005" y="24765"/>
                    </a:moveTo>
                    <a:cubicBezTo>
                      <a:pt x="39814" y="20193"/>
                      <a:pt x="38767" y="16859"/>
                      <a:pt x="36862" y="14764"/>
                    </a:cubicBezTo>
                    <a:cubicBezTo>
                      <a:pt x="34957" y="12668"/>
                      <a:pt x="32099" y="11525"/>
                      <a:pt x="28384" y="11525"/>
                    </a:cubicBezTo>
                    <a:cubicBezTo>
                      <a:pt x="24669" y="11525"/>
                      <a:pt x="22098" y="12573"/>
                      <a:pt x="20002" y="14764"/>
                    </a:cubicBezTo>
                    <a:cubicBezTo>
                      <a:pt x="17907" y="16954"/>
                      <a:pt x="16764" y="20288"/>
                      <a:pt x="16669" y="24765"/>
                    </a:cubicBezTo>
                    <a:lnTo>
                      <a:pt x="40100" y="24765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03" name="Freeform: Shape 136">
                <a:extLst>
                  <a:ext uri="{FF2B5EF4-FFF2-40B4-BE49-F238E27FC236}">
                    <a16:creationId xmlns:a16="http://schemas.microsoft.com/office/drawing/2014/main" id="{060D9E29-1D4E-E5EF-843B-5964DCB4A0E1}"/>
                  </a:ext>
                </a:extLst>
              </p:cNvPr>
              <p:cNvSpPr/>
              <p:nvPr/>
            </p:nvSpPr>
            <p:spPr>
              <a:xfrm>
                <a:off x="7798784" y="3939063"/>
                <a:ext cx="35242" cy="61722"/>
              </a:xfrm>
              <a:custGeom>
                <a:avLst/>
                <a:gdLst>
                  <a:gd name="connsiteX0" fmla="*/ 381 w 35242"/>
                  <a:gd name="connsiteY0" fmla="*/ 15526 h 61722"/>
                  <a:gd name="connsiteX1" fmla="*/ 285 w 35242"/>
                  <a:gd name="connsiteY1" fmla="*/ 7144 h 61722"/>
                  <a:gd name="connsiteX2" fmla="*/ 0 w 35242"/>
                  <a:gd name="connsiteY2" fmla="*/ 1334 h 61722"/>
                  <a:gd name="connsiteX3" fmla="*/ 14954 w 35242"/>
                  <a:gd name="connsiteY3" fmla="*/ 1334 h 61722"/>
                  <a:gd name="connsiteX4" fmla="*/ 15430 w 35242"/>
                  <a:gd name="connsiteY4" fmla="*/ 6096 h 61722"/>
                  <a:gd name="connsiteX5" fmla="*/ 15716 w 35242"/>
                  <a:gd name="connsiteY5" fmla="*/ 11811 h 61722"/>
                  <a:gd name="connsiteX6" fmla="*/ 15907 w 35242"/>
                  <a:gd name="connsiteY6" fmla="*/ 11811 h 61722"/>
                  <a:gd name="connsiteX7" fmla="*/ 19335 w 35242"/>
                  <a:gd name="connsiteY7" fmla="*/ 5144 h 61722"/>
                  <a:gd name="connsiteX8" fmla="*/ 23526 w 35242"/>
                  <a:gd name="connsiteY8" fmla="*/ 1334 h 61722"/>
                  <a:gd name="connsiteX9" fmla="*/ 30194 w 35242"/>
                  <a:gd name="connsiteY9" fmla="*/ 0 h 61722"/>
                  <a:gd name="connsiteX10" fmla="*/ 33147 w 35242"/>
                  <a:gd name="connsiteY10" fmla="*/ 286 h 61722"/>
                  <a:gd name="connsiteX11" fmla="*/ 35242 w 35242"/>
                  <a:gd name="connsiteY11" fmla="*/ 953 h 61722"/>
                  <a:gd name="connsiteX12" fmla="*/ 34766 w 35242"/>
                  <a:gd name="connsiteY12" fmla="*/ 14478 h 61722"/>
                  <a:gd name="connsiteX13" fmla="*/ 33623 w 35242"/>
                  <a:gd name="connsiteY13" fmla="*/ 14288 h 61722"/>
                  <a:gd name="connsiteX14" fmla="*/ 28480 w 35242"/>
                  <a:gd name="connsiteY14" fmla="*/ 13716 h 61722"/>
                  <a:gd name="connsiteX15" fmla="*/ 19431 w 35242"/>
                  <a:gd name="connsiteY15" fmla="*/ 18479 h 61722"/>
                  <a:gd name="connsiteX16" fmla="*/ 16192 w 35242"/>
                  <a:gd name="connsiteY16" fmla="*/ 32099 h 61722"/>
                  <a:gd name="connsiteX17" fmla="*/ 16192 w 35242"/>
                  <a:gd name="connsiteY17" fmla="*/ 61722 h 61722"/>
                  <a:gd name="connsiteX18" fmla="*/ 476 w 35242"/>
                  <a:gd name="connsiteY18" fmla="*/ 61722 h 61722"/>
                  <a:gd name="connsiteX19" fmla="*/ 476 w 35242"/>
                  <a:gd name="connsiteY19" fmla="*/ 15526 h 61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35242" h="61722">
                    <a:moveTo>
                      <a:pt x="381" y="15526"/>
                    </a:moveTo>
                    <a:cubicBezTo>
                      <a:pt x="381" y="12954"/>
                      <a:pt x="381" y="10096"/>
                      <a:pt x="285" y="7144"/>
                    </a:cubicBezTo>
                    <a:cubicBezTo>
                      <a:pt x="190" y="4191"/>
                      <a:pt x="95" y="2286"/>
                      <a:pt x="0" y="1334"/>
                    </a:cubicBezTo>
                    <a:lnTo>
                      <a:pt x="14954" y="1334"/>
                    </a:lnTo>
                    <a:cubicBezTo>
                      <a:pt x="15144" y="2000"/>
                      <a:pt x="15240" y="3620"/>
                      <a:pt x="15430" y="6096"/>
                    </a:cubicBezTo>
                    <a:cubicBezTo>
                      <a:pt x="15621" y="8573"/>
                      <a:pt x="15716" y="10478"/>
                      <a:pt x="15716" y="11811"/>
                    </a:cubicBezTo>
                    <a:lnTo>
                      <a:pt x="15907" y="11811"/>
                    </a:lnTo>
                    <a:cubicBezTo>
                      <a:pt x="17050" y="8954"/>
                      <a:pt x="18192" y="6763"/>
                      <a:pt x="19335" y="5144"/>
                    </a:cubicBezTo>
                    <a:cubicBezTo>
                      <a:pt x="20478" y="3524"/>
                      <a:pt x="21812" y="2286"/>
                      <a:pt x="23526" y="1334"/>
                    </a:cubicBezTo>
                    <a:cubicBezTo>
                      <a:pt x="25241" y="381"/>
                      <a:pt x="27432" y="0"/>
                      <a:pt x="30194" y="0"/>
                    </a:cubicBezTo>
                    <a:cubicBezTo>
                      <a:pt x="31242" y="0"/>
                      <a:pt x="32195" y="0"/>
                      <a:pt x="33147" y="286"/>
                    </a:cubicBezTo>
                    <a:cubicBezTo>
                      <a:pt x="34099" y="571"/>
                      <a:pt x="34766" y="667"/>
                      <a:pt x="35242" y="953"/>
                    </a:cubicBezTo>
                    <a:lnTo>
                      <a:pt x="34766" y="14478"/>
                    </a:lnTo>
                    <a:cubicBezTo>
                      <a:pt x="34290" y="14478"/>
                      <a:pt x="33814" y="14288"/>
                      <a:pt x="33623" y="14288"/>
                    </a:cubicBezTo>
                    <a:cubicBezTo>
                      <a:pt x="31623" y="13907"/>
                      <a:pt x="29908" y="13716"/>
                      <a:pt x="28480" y="13716"/>
                    </a:cubicBezTo>
                    <a:cubicBezTo>
                      <a:pt x="24574" y="13716"/>
                      <a:pt x="21621" y="15335"/>
                      <a:pt x="19431" y="18479"/>
                    </a:cubicBezTo>
                    <a:cubicBezTo>
                      <a:pt x="17240" y="21622"/>
                      <a:pt x="16192" y="26194"/>
                      <a:pt x="16192" y="32099"/>
                    </a:cubicBezTo>
                    <a:lnTo>
                      <a:pt x="16192" y="61722"/>
                    </a:lnTo>
                    <a:lnTo>
                      <a:pt x="476" y="61722"/>
                    </a:lnTo>
                    <a:lnTo>
                      <a:pt x="476" y="15526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04" name="Freeform: Shape 137">
                <a:extLst>
                  <a:ext uri="{FF2B5EF4-FFF2-40B4-BE49-F238E27FC236}">
                    <a16:creationId xmlns:a16="http://schemas.microsoft.com/office/drawing/2014/main" id="{6D8EF3BF-5CFD-4A81-E408-A9A627CCC86C}"/>
                  </a:ext>
                </a:extLst>
              </p:cNvPr>
              <p:cNvSpPr/>
              <p:nvPr/>
            </p:nvSpPr>
            <p:spPr>
              <a:xfrm>
                <a:off x="7258336" y="4076223"/>
                <a:ext cx="35242" cy="61721"/>
              </a:xfrm>
              <a:custGeom>
                <a:avLst/>
                <a:gdLst>
                  <a:gd name="connsiteX0" fmla="*/ 381 w 35242"/>
                  <a:gd name="connsiteY0" fmla="*/ 15526 h 61721"/>
                  <a:gd name="connsiteX1" fmla="*/ 285 w 35242"/>
                  <a:gd name="connsiteY1" fmla="*/ 7144 h 61721"/>
                  <a:gd name="connsiteX2" fmla="*/ 0 w 35242"/>
                  <a:gd name="connsiteY2" fmla="*/ 1333 h 61721"/>
                  <a:gd name="connsiteX3" fmla="*/ 14954 w 35242"/>
                  <a:gd name="connsiteY3" fmla="*/ 1333 h 61721"/>
                  <a:gd name="connsiteX4" fmla="*/ 15430 w 35242"/>
                  <a:gd name="connsiteY4" fmla="*/ 6096 h 61721"/>
                  <a:gd name="connsiteX5" fmla="*/ 15716 w 35242"/>
                  <a:gd name="connsiteY5" fmla="*/ 11811 h 61721"/>
                  <a:gd name="connsiteX6" fmla="*/ 15907 w 35242"/>
                  <a:gd name="connsiteY6" fmla="*/ 11811 h 61721"/>
                  <a:gd name="connsiteX7" fmla="*/ 19335 w 35242"/>
                  <a:gd name="connsiteY7" fmla="*/ 5143 h 61721"/>
                  <a:gd name="connsiteX8" fmla="*/ 23526 w 35242"/>
                  <a:gd name="connsiteY8" fmla="*/ 1333 h 61721"/>
                  <a:gd name="connsiteX9" fmla="*/ 30194 w 35242"/>
                  <a:gd name="connsiteY9" fmla="*/ 0 h 61721"/>
                  <a:gd name="connsiteX10" fmla="*/ 33147 w 35242"/>
                  <a:gd name="connsiteY10" fmla="*/ 286 h 61721"/>
                  <a:gd name="connsiteX11" fmla="*/ 35242 w 35242"/>
                  <a:gd name="connsiteY11" fmla="*/ 952 h 61721"/>
                  <a:gd name="connsiteX12" fmla="*/ 34766 w 35242"/>
                  <a:gd name="connsiteY12" fmla="*/ 14478 h 61721"/>
                  <a:gd name="connsiteX13" fmla="*/ 33623 w 35242"/>
                  <a:gd name="connsiteY13" fmla="*/ 14288 h 61721"/>
                  <a:gd name="connsiteX14" fmla="*/ 28480 w 35242"/>
                  <a:gd name="connsiteY14" fmla="*/ 13716 h 61721"/>
                  <a:gd name="connsiteX15" fmla="*/ 19431 w 35242"/>
                  <a:gd name="connsiteY15" fmla="*/ 18479 h 61721"/>
                  <a:gd name="connsiteX16" fmla="*/ 16192 w 35242"/>
                  <a:gd name="connsiteY16" fmla="*/ 32099 h 61721"/>
                  <a:gd name="connsiteX17" fmla="*/ 16192 w 35242"/>
                  <a:gd name="connsiteY17" fmla="*/ 61722 h 61721"/>
                  <a:gd name="connsiteX18" fmla="*/ 476 w 35242"/>
                  <a:gd name="connsiteY18" fmla="*/ 61722 h 61721"/>
                  <a:gd name="connsiteX19" fmla="*/ 476 w 35242"/>
                  <a:gd name="connsiteY19" fmla="*/ 15526 h 617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35242" h="61721">
                    <a:moveTo>
                      <a:pt x="381" y="15526"/>
                    </a:moveTo>
                    <a:cubicBezTo>
                      <a:pt x="381" y="12954"/>
                      <a:pt x="381" y="10096"/>
                      <a:pt x="285" y="7144"/>
                    </a:cubicBezTo>
                    <a:cubicBezTo>
                      <a:pt x="190" y="4191"/>
                      <a:pt x="95" y="2286"/>
                      <a:pt x="0" y="1333"/>
                    </a:cubicBezTo>
                    <a:lnTo>
                      <a:pt x="14954" y="1333"/>
                    </a:lnTo>
                    <a:cubicBezTo>
                      <a:pt x="15144" y="2000"/>
                      <a:pt x="15240" y="3619"/>
                      <a:pt x="15430" y="6096"/>
                    </a:cubicBezTo>
                    <a:cubicBezTo>
                      <a:pt x="15621" y="8572"/>
                      <a:pt x="15716" y="10477"/>
                      <a:pt x="15716" y="11811"/>
                    </a:cubicBezTo>
                    <a:lnTo>
                      <a:pt x="15907" y="11811"/>
                    </a:lnTo>
                    <a:cubicBezTo>
                      <a:pt x="17050" y="8954"/>
                      <a:pt x="18192" y="6763"/>
                      <a:pt x="19335" y="5143"/>
                    </a:cubicBezTo>
                    <a:cubicBezTo>
                      <a:pt x="20478" y="3524"/>
                      <a:pt x="21812" y="2286"/>
                      <a:pt x="23526" y="1333"/>
                    </a:cubicBezTo>
                    <a:cubicBezTo>
                      <a:pt x="25241" y="381"/>
                      <a:pt x="27431" y="0"/>
                      <a:pt x="30194" y="0"/>
                    </a:cubicBezTo>
                    <a:cubicBezTo>
                      <a:pt x="31242" y="0"/>
                      <a:pt x="32194" y="0"/>
                      <a:pt x="33147" y="286"/>
                    </a:cubicBezTo>
                    <a:cubicBezTo>
                      <a:pt x="34099" y="571"/>
                      <a:pt x="34766" y="667"/>
                      <a:pt x="35242" y="952"/>
                    </a:cubicBezTo>
                    <a:lnTo>
                      <a:pt x="34766" y="14478"/>
                    </a:lnTo>
                    <a:cubicBezTo>
                      <a:pt x="34290" y="14478"/>
                      <a:pt x="33814" y="14288"/>
                      <a:pt x="33623" y="14288"/>
                    </a:cubicBezTo>
                    <a:cubicBezTo>
                      <a:pt x="31622" y="13906"/>
                      <a:pt x="29908" y="13716"/>
                      <a:pt x="28480" y="13716"/>
                    </a:cubicBezTo>
                    <a:cubicBezTo>
                      <a:pt x="24574" y="13716"/>
                      <a:pt x="21621" y="15335"/>
                      <a:pt x="19431" y="18479"/>
                    </a:cubicBezTo>
                    <a:cubicBezTo>
                      <a:pt x="17240" y="21622"/>
                      <a:pt x="16192" y="26194"/>
                      <a:pt x="16192" y="32099"/>
                    </a:cubicBezTo>
                    <a:lnTo>
                      <a:pt x="16192" y="61722"/>
                    </a:lnTo>
                    <a:lnTo>
                      <a:pt x="476" y="61722"/>
                    </a:lnTo>
                    <a:lnTo>
                      <a:pt x="476" y="15526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05" name="Freeform: Shape 138">
                <a:extLst>
                  <a:ext uri="{FF2B5EF4-FFF2-40B4-BE49-F238E27FC236}">
                    <a16:creationId xmlns:a16="http://schemas.microsoft.com/office/drawing/2014/main" id="{59FCAEB8-E723-3175-DBC8-C79831D0819D}"/>
                  </a:ext>
                </a:extLst>
              </p:cNvPr>
              <p:cNvSpPr/>
              <p:nvPr/>
            </p:nvSpPr>
            <p:spPr>
              <a:xfrm>
                <a:off x="7298531" y="4076414"/>
                <a:ext cx="55244" cy="62769"/>
              </a:xfrm>
              <a:custGeom>
                <a:avLst/>
                <a:gdLst>
                  <a:gd name="connsiteX0" fmla="*/ 7715 w 55244"/>
                  <a:gd name="connsiteY0" fmla="*/ 54769 h 62769"/>
                  <a:gd name="connsiteX1" fmla="*/ 0 w 55244"/>
                  <a:gd name="connsiteY1" fmla="*/ 31242 h 62769"/>
                  <a:gd name="connsiteX2" fmla="*/ 3810 w 55244"/>
                  <a:gd name="connsiteY2" fmla="*/ 13716 h 62769"/>
                  <a:gd name="connsiteX3" fmla="*/ 14097 w 55244"/>
                  <a:gd name="connsiteY3" fmla="*/ 3334 h 62769"/>
                  <a:gd name="connsiteX4" fmla="*/ 28480 w 55244"/>
                  <a:gd name="connsiteY4" fmla="*/ 0 h 62769"/>
                  <a:gd name="connsiteX5" fmla="*/ 43720 w 55244"/>
                  <a:gd name="connsiteY5" fmla="*/ 4001 h 62769"/>
                  <a:gd name="connsiteX6" fmla="*/ 52483 w 55244"/>
                  <a:gd name="connsiteY6" fmla="*/ 14478 h 62769"/>
                  <a:gd name="connsiteX7" fmla="*/ 55245 w 55244"/>
                  <a:gd name="connsiteY7" fmla="*/ 29146 h 62769"/>
                  <a:gd name="connsiteX8" fmla="*/ 54864 w 55244"/>
                  <a:gd name="connsiteY8" fmla="*/ 35433 h 62769"/>
                  <a:gd name="connsiteX9" fmla="*/ 16478 w 55244"/>
                  <a:gd name="connsiteY9" fmla="*/ 35433 h 62769"/>
                  <a:gd name="connsiteX10" fmla="*/ 19812 w 55244"/>
                  <a:gd name="connsiteY10" fmla="*/ 46577 h 62769"/>
                  <a:gd name="connsiteX11" fmla="*/ 30194 w 55244"/>
                  <a:gd name="connsiteY11" fmla="*/ 50673 h 62769"/>
                  <a:gd name="connsiteX12" fmla="*/ 35909 w 55244"/>
                  <a:gd name="connsiteY12" fmla="*/ 50006 h 62769"/>
                  <a:gd name="connsiteX13" fmla="*/ 40957 w 55244"/>
                  <a:gd name="connsiteY13" fmla="*/ 48006 h 62769"/>
                  <a:gd name="connsiteX14" fmla="*/ 46958 w 55244"/>
                  <a:gd name="connsiteY14" fmla="*/ 44196 h 62769"/>
                  <a:gd name="connsiteX15" fmla="*/ 53340 w 55244"/>
                  <a:gd name="connsiteY15" fmla="*/ 54388 h 62769"/>
                  <a:gd name="connsiteX16" fmla="*/ 42672 w 55244"/>
                  <a:gd name="connsiteY16" fmla="*/ 60579 h 62769"/>
                  <a:gd name="connsiteX17" fmla="*/ 29433 w 55244"/>
                  <a:gd name="connsiteY17" fmla="*/ 62770 h 62769"/>
                  <a:gd name="connsiteX18" fmla="*/ 7811 w 55244"/>
                  <a:gd name="connsiteY18" fmla="*/ 54864 h 62769"/>
                  <a:gd name="connsiteX19" fmla="*/ 40005 w 55244"/>
                  <a:gd name="connsiteY19" fmla="*/ 24765 h 62769"/>
                  <a:gd name="connsiteX20" fmla="*/ 36862 w 55244"/>
                  <a:gd name="connsiteY20" fmla="*/ 14764 h 62769"/>
                  <a:gd name="connsiteX21" fmla="*/ 28384 w 55244"/>
                  <a:gd name="connsiteY21" fmla="*/ 11525 h 62769"/>
                  <a:gd name="connsiteX22" fmla="*/ 20002 w 55244"/>
                  <a:gd name="connsiteY22" fmla="*/ 14764 h 62769"/>
                  <a:gd name="connsiteX23" fmla="*/ 16669 w 55244"/>
                  <a:gd name="connsiteY23" fmla="*/ 24765 h 62769"/>
                  <a:gd name="connsiteX24" fmla="*/ 40100 w 55244"/>
                  <a:gd name="connsiteY24" fmla="*/ 24765 h 627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55244" h="62769">
                    <a:moveTo>
                      <a:pt x="7715" y="54769"/>
                    </a:moveTo>
                    <a:cubicBezTo>
                      <a:pt x="2572" y="49530"/>
                      <a:pt x="0" y="41624"/>
                      <a:pt x="0" y="31242"/>
                    </a:cubicBezTo>
                    <a:cubicBezTo>
                      <a:pt x="0" y="24289"/>
                      <a:pt x="1238" y="18383"/>
                      <a:pt x="3810" y="13716"/>
                    </a:cubicBezTo>
                    <a:cubicBezTo>
                      <a:pt x="6382" y="9049"/>
                      <a:pt x="9811" y="5620"/>
                      <a:pt x="14097" y="3334"/>
                    </a:cubicBezTo>
                    <a:cubicBezTo>
                      <a:pt x="18383" y="1048"/>
                      <a:pt x="23146" y="0"/>
                      <a:pt x="28480" y="0"/>
                    </a:cubicBezTo>
                    <a:cubicBezTo>
                      <a:pt x="34576" y="0"/>
                      <a:pt x="39719" y="1333"/>
                      <a:pt x="43720" y="4001"/>
                    </a:cubicBezTo>
                    <a:cubicBezTo>
                      <a:pt x="47720" y="6668"/>
                      <a:pt x="50673" y="10192"/>
                      <a:pt x="52483" y="14478"/>
                    </a:cubicBezTo>
                    <a:cubicBezTo>
                      <a:pt x="54293" y="18764"/>
                      <a:pt x="55245" y="23717"/>
                      <a:pt x="55245" y="29146"/>
                    </a:cubicBezTo>
                    <a:cubicBezTo>
                      <a:pt x="55245" y="31242"/>
                      <a:pt x="55150" y="33338"/>
                      <a:pt x="54864" y="35433"/>
                    </a:cubicBezTo>
                    <a:lnTo>
                      <a:pt x="16478" y="35433"/>
                    </a:lnTo>
                    <a:cubicBezTo>
                      <a:pt x="16478" y="40100"/>
                      <a:pt x="17621" y="43815"/>
                      <a:pt x="19812" y="46577"/>
                    </a:cubicBezTo>
                    <a:cubicBezTo>
                      <a:pt x="22003" y="49339"/>
                      <a:pt x="25527" y="50673"/>
                      <a:pt x="30194" y="50673"/>
                    </a:cubicBezTo>
                    <a:cubicBezTo>
                      <a:pt x="32290" y="50673"/>
                      <a:pt x="34195" y="50482"/>
                      <a:pt x="35909" y="50006"/>
                    </a:cubicBezTo>
                    <a:cubicBezTo>
                      <a:pt x="37624" y="49530"/>
                      <a:pt x="39338" y="48863"/>
                      <a:pt x="40957" y="48006"/>
                    </a:cubicBezTo>
                    <a:cubicBezTo>
                      <a:pt x="42576" y="47149"/>
                      <a:pt x="44577" y="45815"/>
                      <a:pt x="46958" y="44196"/>
                    </a:cubicBezTo>
                    <a:lnTo>
                      <a:pt x="53340" y="54388"/>
                    </a:lnTo>
                    <a:cubicBezTo>
                      <a:pt x="49816" y="57055"/>
                      <a:pt x="46196" y="59150"/>
                      <a:pt x="42672" y="60579"/>
                    </a:cubicBezTo>
                    <a:cubicBezTo>
                      <a:pt x="39148" y="62008"/>
                      <a:pt x="34671" y="62770"/>
                      <a:pt x="29433" y="62770"/>
                    </a:cubicBezTo>
                    <a:cubicBezTo>
                      <a:pt x="20193" y="62770"/>
                      <a:pt x="12954" y="60103"/>
                      <a:pt x="7811" y="54864"/>
                    </a:cubicBezTo>
                    <a:close/>
                    <a:moveTo>
                      <a:pt x="40005" y="24765"/>
                    </a:moveTo>
                    <a:cubicBezTo>
                      <a:pt x="39814" y="20193"/>
                      <a:pt x="38767" y="16859"/>
                      <a:pt x="36862" y="14764"/>
                    </a:cubicBezTo>
                    <a:cubicBezTo>
                      <a:pt x="34957" y="12668"/>
                      <a:pt x="32099" y="11525"/>
                      <a:pt x="28384" y="11525"/>
                    </a:cubicBezTo>
                    <a:cubicBezTo>
                      <a:pt x="24670" y="11525"/>
                      <a:pt x="22098" y="12573"/>
                      <a:pt x="20002" y="14764"/>
                    </a:cubicBezTo>
                    <a:cubicBezTo>
                      <a:pt x="17907" y="16954"/>
                      <a:pt x="16764" y="20288"/>
                      <a:pt x="16669" y="24765"/>
                    </a:cubicBezTo>
                    <a:lnTo>
                      <a:pt x="40100" y="24765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06" name="Freeform: Shape 139">
                <a:extLst>
                  <a:ext uri="{FF2B5EF4-FFF2-40B4-BE49-F238E27FC236}">
                    <a16:creationId xmlns:a16="http://schemas.microsoft.com/office/drawing/2014/main" id="{E442F278-75D3-1FC9-56EF-41708CFA82FA}"/>
                  </a:ext>
                </a:extLst>
              </p:cNvPr>
              <p:cNvSpPr/>
              <p:nvPr/>
            </p:nvSpPr>
            <p:spPr>
              <a:xfrm>
                <a:off x="7365015" y="4054983"/>
                <a:ext cx="24383" cy="83629"/>
              </a:xfrm>
              <a:custGeom>
                <a:avLst/>
                <a:gdLst>
                  <a:gd name="connsiteX0" fmla="*/ 4001 w 24383"/>
                  <a:gd name="connsiteY0" fmla="*/ 79534 h 83629"/>
                  <a:gd name="connsiteX1" fmla="*/ 0 w 24383"/>
                  <a:gd name="connsiteY1" fmla="*/ 68294 h 83629"/>
                  <a:gd name="connsiteX2" fmla="*/ 0 w 24383"/>
                  <a:gd name="connsiteY2" fmla="*/ 0 h 83629"/>
                  <a:gd name="connsiteX3" fmla="*/ 15716 w 24383"/>
                  <a:gd name="connsiteY3" fmla="*/ 0 h 83629"/>
                  <a:gd name="connsiteX4" fmla="*/ 15716 w 24383"/>
                  <a:gd name="connsiteY4" fmla="*/ 64389 h 83629"/>
                  <a:gd name="connsiteX5" fmla="*/ 16097 w 24383"/>
                  <a:gd name="connsiteY5" fmla="*/ 68389 h 83629"/>
                  <a:gd name="connsiteX6" fmla="*/ 17622 w 24383"/>
                  <a:gd name="connsiteY6" fmla="*/ 70485 h 83629"/>
                  <a:gd name="connsiteX7" fmla="*/ 20955 w 24383"/>
                  <a:gd name="connsiteY7" fmla="*/ 71152 h 83629"/>
                  <a:gd name="connsiteX8" fmla="*/ 23813 w 24383"/>
                  <a:gd name="connsiteY8" fmla="*/ 70771 h 83629"/>
                  <a:gd name="connsiteX9" fmla="*/ 24384 w 24383"/>
                  <a:gd name="connsiteY9" fmla="*/ 82868 h 83629"/>
                  <a:gd name="connsiteX10" fmla="*/ 16097 w 24383"/>
                  <a:gd name="connsiteY10" fmla="*/ 83629 h 83629"/>
                  <a:gd name="connsiteX11" fmla="*/ 3906 w 24383"/>
                  <a:gd name="connsiteY11" fmla="*/ 79438 h 836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4383" h="83629">
                    <a:moveTo>
                      <a:pt x="4001" y="79534"/>
                    </a:moveTo>
                    <a:cubicBezTo>
                      <a:pt x="1334" y="76771"/>
                      <a:pt x="0" y="72962"/>
                      <a:pt x="0" y="68294"/>
                    </a:cubicBezTo>
                    <a:lnTo>
                      <a:pt x="0" y="0"/>
                    </a:lnTo>
                    <a:lnTo>
                      <a:pt x="15716" y="0"/>
                    </a:lnTo>
                    <a:lnTo>
                      <a:pt x="15716" y="64389"/>
                    </a:lnTo>
                    <a:cubicBezTo>
                      <a:pt x="15716" y="66104"/>
                      <a:pt x="15812" y="67532"/>
                      <a:pt x="16097" y="68389"/>
                    </a:cubicBezTo>
                    <a:cubicBezTo>
                      <a:pt x="16383" y="69247"/>
                      <a:pt x="16859" y="70009"/>
                      <a:pt x="17622" y="70485"/>
                    </a:cubicBezTo>
                    <a:cubicBezTo>
                      <a:pt x="18383" y="70961"/>
                      <a:pt x="19527" y="71152"/>
                      <a:pt x="20955" y="71152"/>
                    </a:cubicBezTo>
                    <a:cubicBezTo>
                      <a:pt x="21813" y="71152"/>
                      <a:pt x="22765" y="71056"/>
                      <a:pt x="23813" y="70771"/>
                    </a:cubicBezTo>
                    <a:lnTo>
                      <a:pt x="24384" y="82868"/>
                    </a:lnTo>
                    <a:cubicBezTo>
                      <a:pt x="21717" y="83344"/>
                      <a:pt x="18955" y="83629"/>
                      <a:pt x="16097" y="83629"/>
                    </a:cubicBezTo>
                    <a:cubicBezTo>
                      <a:pt x="10668" y="83629"/>
                      <a:pt x="6572" y="82201"/>
                      <a:pt x="3906" y="79438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07" name="Freeform: Shape 140">
                <a:extLst>
                  <a:ext uri="{FF2B5EF4-FFF2-40B4-BE49-F238E27FC236}">
                    <a16:creationId xmlns:a16="http://schemas.microsoft.com/office/drawing/2014/main" id="{EED124F1-14B2-0E26-FC84-CEF9EEE5262C}"/>
                  </a:ext>
                </a:extLst>
              </p:cNvPr>
              <p:cNvSpPr/>
              <p:nvPr/>
            </p:nvSpPr>
            <p:spPr>
              <a:xfrm>
                <a:off x="7395971" y="4076509"/>
                <a:ext cx="53149" cy="62674"/>
              </a:xfrm>
              <a:custGeom>
                <a:avLst/>
                <a:gdLst>
                  <a:gd name="connsiteX0" fmla="*/ 8954 w 53149"/>
                  <a:gd name="connsiteY0" fmla="*/ 60388 h 62674"/>
                  <a:gd name="connsiteX1" fmla="*/ 2381 w 53149"/>
                  <a:gd name="connsiteY1" fmla="*/ 54197 h 62674"/>
                  <a:gd name="connsiteX2" fmla="*/ 0 w 53149"/>
                  <a:gd name="connsiteY2" fmla="*/ 44387 h 62674"/>
                  <a:gd name="connsiteX3" fmla="*/ 6477 w 53149"/>
                  <a:gd name="connsiteY3" fmla="*/ 29813 h 62674"/>
                  <a:gd name="connsiteX4" fmla="*/ 23908 w 53149"/>
                  <a:gd name="connsiteY4" fmla="*/ 25051 h 62674"/>
                  <a:gd name="connsiteX5" fmla="*/ 36957 w 53149"/>
                  <a:gd name="connsiteY5" fmla="*/ 24860 h 62674"/>
                  <a:gd name="connsiteX6" fmla="*/ 36957 w 53149"/>
                  <a:gd name="connsiteY6" fmla="*/ 22003 h 62674"/>
                  <a:gd name="connsiteX7" fmla="*/ 34290 w 53149"/>
                  <a:gd name="connsiteY7" fmla="*/ 14288 h 62674"/>
                  <a:gd name="connsiteX8" fmla="*/ 27051 w 53149"/>
                  <a:gd name="connsiteY8" fmla="*/ 12097 h 62674"/>
                  <a:gd name="connsiteX9" fmla="*/ 10763 w 53149"/>
                  <a:gd name="connsiteY9" fmla="*/ 19431 h 62674"/>
                  <a:gd name="connsiteX10" fmla="*/ 3334 w 53149"/>
                  <a:gd name="connsiteY10" fmla="*/ 9620 h 62674"/>
                  <a:gd name="connsiteX11" fmla="*/ 27908 w 53149"/>
                  <a:gd name="connsiteY11" fmla="*/ 0 h 62674"/>
                  <a:gd name="connsiteX12" fmla="*/ 46197 w 53149"/>
                  <a:gd name="connsiteY12" fmla="*/ 5620 h 62674"/>
                  <a:gd name="connsiteX13" fmla="*/ 52674 w 53149"/>
                  <a:gd name="connsiteY13" fmla="*/ 21622 h 62674"/>
                  <a:gd name="connsiteX14" fmla="*/ 52674 w 53149"/>
                  <a:gd name="connsiteY14" fmla="*/ 43720 h 62674"/>
                  <a:gd name="connsiteX15" fmla="*/ 53150 w 53149"/>
                  <a:gd name="connsiteY15" fmla="*/ 61531 h 62674"/>
                  <a:gd name="connsiteX16" fmla="*/ 38291 w 53149"/>
                  <a:gd name="connsiteY16" fmla="*/ 61531 h 62674"/>
                  <a:gd name="connsiteX17" fmla="*/ 37910 w 53149"/>
                  <a:gd name="connsiteY17" fmla="*/ 53054 h 62674"/>
                  <a:gd name="connsiteX18" fmla="*/ 37529 w 53149"/>
                  <a:gd name="connsiteY18" fmla="*/ 53054 h 62674"/>
                  <a:gd name="connsiteX19" fmla="*/ 29813 w 53149"/>
                  <a:gd name="connsiteY19" fmla="*/ 60198 h 62674"/>
                  <a:gd name="connsiteX20" fmla="*/ 18765 w 53149"/>
                  <a:gd name="connsiteY20" fmla="*/ 62674 h 62674"/>
                  <a:gd name="connsiteX21" fmla="*/ 8954 w 53149"/>
                  <a:gd name="connsiteY21" fmla="*/ 60579 h 62674"/>
                  <a:gd name="connsiteX22" fmla="*/ 30575 w 53149"/>
                  <a:gd name="connsiteY22" fmla="*/ 48768 h 62674"/>
                  <a:gd name="connsiteX23" fmla="*/ 35338 w 53149"/>
                  <a:gd name="connsiteY23" fmla="*/ 43910 h 62674"/>
                  <a:gd name="connsiteX24" fmla="*/ 37052 w 53149"/>
                  <a:gd name="connsiteY24" fmla="*/ 37529 h 62674"/>
                  <a:gd name="connsiteX25" fmla="*/ 37052 w 53149"/>
                  <a:gd name="connsiteY25" fmla="*/ 34480 h 62674"/>
                  <a:gd name="connsiteX26" fmla="*/ 28956 w 53149"/>
                  <a:gd name="connsiteY26" fmla="*/ 34480 h 62674"/>
                  <a:gd name="connsiteX27" fmla="*/ 22289 w 53149"/>
                  <a:gd name="connsiteY27" fmla="*/ 35433 h 62674"/>
                  <a:gd name="connsiteX28" fmla="*/ 18098 w 53149"/>
                  <a:gd name="connsiteY28" fmla="*/ 37814 h 62674"/>
                  <a:gd name="connsiteX29" fmla="*/ 16479 w 53149"/>
                  <a:gd name="connsiteY29" fmla="*/ 43053 h 62674"/>
                  <a:gd name="connsiteX30" fmla="*/ 18479 w 53149"/>
                  <a:gd name="connsiteY30" fmla="*/ 48673 h 62674"/>
                  <a:gd name="connsiteX31" fmla="*/ 23813 w 53149"/>
                  <a:gd name="connsiteY31" fmla="*/ 50578 h 62674"/>
                  <a:gd name="connsiteX32" fmla="*/ 30671 w 53149"/>
                  <a:gd name="connsiteY32" fmla="*/ 48768 h 62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53149" h="62674">
                    <a:moveTo>
                      <a:pt x="8954" y="60388"/>
                    </a:moveTo>
                    <a:cubicBezTo>
                      <a:pt x="6191" y="58960"/>
                      <a:pt x="4001" y="56864"/>
                      <a:pt x="2381" y="54197"/>
                    </a:cubicBezTo>
                    <a:cubicBezTo>
                      <a:pt x="762" y="51530"/>
                      <a:pt x="0" y="48196"/>
                      <a:pt x="0" y="44387"/>
                    </a:cubicBezTo>
                    <a:cubicBezTo>
                      <a:pt x="0" y="37719"/>
                      <a:pt x="2191" y="32861"/>
                      <a:pt x="6477" y="29813"/>
                    </a:cubicBezTo>
                    <a:cubicBezTo>
                      <a:pt x="10763" y="26765"/>
                      <a:pt x="16573" y="25241"/>
                      <a:pt x="23908" y="25051"/>
                    </a:cubicBezTo>
                    <a:lnTo>
                      <a:pt x="36957" y="24860"/>
                    </a:lnTo>
                    <a:lnTo>
                      <a:pt x="36957" y="22003"/>
                    </a:lnTo>
                    <a:cubicBezTo>
                      <a:pt x="36957" y="18288"/>
                      <a:pt x="36100" y="15716"/>
                      <a:pt x="34290" y="14288"/>
                    </a:cubicBezTo>
                    <a:cubicBezTo>
                      <a:pt x="32481" y="12859"/>
                      <a:pt x="30099" y="12097"/>
                      <a:pt x="27051" y="12097"/>
                    </a:cubicBezTo>
                    <a:cubicBezTo>
                      <a:pt x="21717" y="12097"/>
                      <a:pt x="16288" y="14573"/>
                      <a:pt x="10763" y="19431"/>
                    </a:cubicBezTo>
                    <a:lnTo>
                      <a:pt x="3334" y="9620"/>
                    </a:lnTo>
                    <a:cubicBezTo>
                      <a:pt x="10573" y="3238"/>
                      <a:pt x="18765" y="0"/>
                      <a:pt x="27908" y="0"/>
                    </a:cubicBezTo>
                    <a:cubicBezTo>
                      <a:pt x="35719" y="0"/>
                      <a:pt x="41815" y="1905"/>
                      <a:pt x="46197" y="5620"/>
                    </a:cubicBezTo>
                    <a:cubicBezTo>
                      <a:pt x="50578" y="9334"/>
                      <a:pt x="52674" y="14668"/>
                      <a:pt x="52674" y="21622"/>
                    </a:cubicBezTo>
                    <a:lnTo>
                      <a:pt x="52674" y="43720"/>
                    </a:lnTo>
                    <a:cubicBezTo>
                      <a:pt x="52674" y="50387"/>
                      <a:pt x="52864" y="56293"/>
                      <a:pt x="53150" y="61531"/>
                    </a:cubicBezTo>
                    <a:lnTo>
                      <a:pt x="38291" y="61531"/>
                    </a:lnTo>
                    <a:cubicBezTo>
                      <a:pt x="38005" y="58864"/>
                      <a:pt x="37910" y="56102"/>
                      <a:pt x="37910" y="53054"/>
                    </a:cubicBezTo>
                    <a:lnTo>
                      <a:pt x="37529" y="53054"/>
                    </a:lnTo>
                    <a:cubicBezTo>
                      <a:pt x="35529" y="56102"/>
                      <a:pt x="32957" y="58483"/>
                      <a:pt x="29813" y="60198"/>
                    </a:cubicBezTo>
                    <a:cubicBezTo>
                      <a:pt x="26670" y="61913"/>
                      <a:pt x="22956" y="62674"/>
                      <a:pt x="18765" y="62674"/>
                    </a:cubicBezTo>
                    <a:cubicBezTo>
                      <a:pt x="15050" y="62674"/>
                      <a:pt x="11811" y="62008"/>
                      <a:pt x="8954" y="60579"/>
                    </a:cubicBezTo>
                    <a:close/>
                    <a:moveTo>
                      <a:pt x="30575" y="48768"/>
                    </a:moveTo>
                    <a:cubicBezTo>
                      <a:pt x="32576" y="47530"/>
                      <a:pt x="34195" y="45910"/>
                      <a:pt x="35338" y="43910"/>
                    </a:cubicBezTo>
                    <a:cubicBezTo>
                      <a:pt x="36481" y="41910"/>
                      <a:pt x="37052" y="39814"/>
                      <a:pt x="37052" y="37529"/>
                    </a:cubicBezTo>
                    <a:lnTo>
                      <a:pt x="37052" y="34480"/>
                    </a:lnTo>
                    <a:lnTo>
                      <a:pt x="28956" y="34480"/>
                    </a:lnTo>
                    <a:cubicBezTo>
                      <a:pt x="26194" y="34766"/>
                      <a:pt x="24003" y="35052"/>
                      <a:pt x="22289" y="35433"/>
                    </a:cubicBezTo>
                    <a:cubicBezTo>
                      <a:pt x="20574" y="35814"/>
                      <a:pt x="19145" y="36576"/>
                      <a:pt x="18098" y="37814"/>
                    </a:cubicBezTo>
                    <a:cubicBezTo>
                      <a:pt x="17050" y="39052"/>
                      <a:pt x="16479" y="40767"/>
                      <a:pt x="16479" y="43053"/>
                    </a:cubicBezTo>
                    <a:cubicBezTo>
                      <a:pt x="16479" y="45339"/>
                      <a:pt x="17145" y="47339"/>
                      <a:pt x="18479" y="48673"/>
                    </a:cubicBezTo>
                    <a:cubicBezTo>
                      <a:pt x="19812" y="50006"/>
                      <a:pt x="21622" y="50578"/>
                      <a:pt x="23813" y="50578"/>
                    </a:cubicBezTo>
                    <a:cubicBezTo>
                      <a:pt x="26384" y="50578"/>
                      <a:pt x="28670" y="50006"/>
                      <a:pt x="30671" y="48768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08" name="Freeform: Shape 141">
                <a:extLst>
                  <a:ext uri="{FF2B5EF4-FFF2-40B4-BE49-F238E27FC236}">
                    <a16:creationId xmlns:a16="http://schemas.microsoft.com/office/drawing/2014/main" id="{BF63C5DE-1DE9-BA29-0A4C-674076297FC4}"/>
                  </a:ext>
                </a:extLst>
              </p:cNvPr>
              <p:cNvSpPr/>
              <p:nvPr/>
            </p:nvSpPr>
            <p:spPr>
              <a:xfrm>
                <a:off x="7457312" y="4062888"/>
                <a:ext cx="35814" cy="76104"/>
              </a:xfrm>
              <a:custGeom>
                <a:avLst/>
                <a:gdLst>
                  <a:gd name="connsiteX0" fmla="*/ 11621 w 35814"/>
                  <a:gd name="connsiteY0" fmla="*/ 71914 h 76104"/>
                  <a:gd name="connsiteX1" fmla="*/ 7620 w 35814"/>
                  <a:gd name="connsiteY1" fmla="*/ 59722 h 76104"/>
                  <a:gd name="connsiteX2" fmla="*/ 7620 w 35814"/>
                  <a:gd name="connsiteY2" fmla="*/ 26384 h 76104"/>
                  <a:gd name="connsiteX3" fmla="*/ 0 w 35814"/>
                  <a:gd name="connsiteY3" fmla="*/ 26384 h 76104"/>
                  <a:gd name="connsiteX4" fmla="*/ 0 w 35814"/>
                  <a:gd name="connsiteY4" fmla="*/ 14764 h 76104"/>
                  <a:gd name="connsiteX5" fmla="*/ 8382 w 35814"/>
                  <a:gd name="connsiteY5" fmla="*/ 14764 h 76104"/>
                  <a:gd name="connsiteX6" fmla="*/ 9144 w 35814"/>
                  <a:gd name="connsiteY6" fmla="*/ 1143 h 76104"/>
                  <a:gd name="connsiteX7" fmla="*/ 23051 w 35814"/>
                  <a:gd name="connsiteY7" fmla="*/ 0 h 76104"/>
                  <a:gd name="connsiteX8" fmla="*/ 23051 w 35814"/>
                  <a:gd name="connsiteY8" fmla="*/ 14764 h 76104"/>
                  <a:gd name="connsiteX9" fmla="*/ 35052 w 35814"/>
                  <a:gd name="connsiteY9" fmla="*/ 14764 h 76104"/>
                  <a:gd name="connsiteX10" fmla="*/ 35052 w 35814"/>
                  <a:gd name="connsiteY10" fmla="*/ 26384 h 76104"/>
                  <a:gd name="connsiteX11" fmla="*/ 23051 w 35814"/>
                  <a:gd name="connsiteY11" fmla="*/ 26384 h 76104"/>
                  <a:gd name="connsiteX12" fmla="*/ 23051 w 35814"/>
                  <a:gd name="connsiteY12" fmla="*/ 55531 h 76104"/>
                  <a:gd name="connsiteX13" fmla="*/ 24479 w 35814"/>
                  <a:gd name="connsiteY13" fmla="*/ 61246 h 76104"/>
                  <a:gd name="connsiteX14" fmla="*/ 28956 w 35814"/>
                  <a:gd name="connsiteY14" fmla="*/ 63056 h 76104"/>
                  <a:gd name="connsiteX15" fmla="*/ 34671 w 35814"/>
                  <a:gd name="connsiteY15" fmla="*/ 62389 h 76104"/>
                  <a:gd name="connsiteX16" fmla="*/ 35814 w 35814"/>
                  <a:gd name="connsiteY16" fmla="*/ 74295 h 76104"/>
                  <a:gd name="connsiteX17" fmla="*/ 23051 w 35814"/>
                  <a:gd name="connsiteY17" fmla="*/ 76105 h 76104"/>
                  <a:gd name="connsiteX18" fmla="*/ 11525 w 35814"/>
                  <a:gd name="connsiteY18" fmla="*/ 72009 h 761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814" h="76104">
                    <a:moveTo>
                      <a:pt x="11621" y="71914"/>
                    </a:moveTo>
                    <a:cubicBezTo>
                      <a:pt x="8954" y="69152"/>
                      <a:pt x="7620" y="65151"/>
                      <a:pt x="7620" y="59722"/>
                    </a:cubicBezTo>
                    <a:lnTo>
                      <a:pt x="7620" y="26384"/>
                    </a:lnTo>
                    <a:lnTo>
                      <a:pt x="0" y="26384"/>
                    </a:lnTo>
                    <a:lnTo>
                      <a:pt x="0" y="14764"/>
                    </a:lnTo>
                    <a:lnTo>
                      <a:pt x="8382" y="14764"/>
                    </a:lnTo>
                    <a:lnTo>
                      <a:pt x="9144" y="1143"/>
                    </a:lnTo>
                    <a:lnTo>
                      <a:pt x="23051" y="0"/>
                    </a:lnTo>
                    <a:lnTo>
                      <a:pt x="23051" y="14764"/>
                    </a:lnTo>
                    <a:lnTo>
                      <a:pt x="35052" y="14764"/>
                    </a:lnTo>
                    <a:lnTo>
                      <a:pt x="35052" y="26384"/>
                    </a:lnTo>
                    <a:lnTo>
                      <a:pt x="23051" y="26384"/>
                    </a:lnTo>
                    <a:lnTo>
                      <a:pt x="23051" y="55531"/>
                    </a:lnTo>
                    <a:cubicBezTo>
                      <a:pt x="23051" y="58103"/>
                      <a:pt x="23527" y="60008"/>
                      <a:pt x="24479" y="61246"/>
                    </a:cubicBezTo>
                    <a:cubicBezTo>
                      <a:pt x="25432" y="62484"/>
                      <a:pt x="26861" y="63056"/>
                      <a:pt x="28956" y="63056"/>
                    </a:cubicBezTo>
                    <a:cubicBezTo>
                      <a:pt x="30575" y="63056"/>
                      <a:pt x="32481" y="62865"/>
                      <a:pt x="34671" y="62389"/>
                    </a:cubicBezTo>
                    <a:lnTo>
                      <a:pt x="35814" y="74295"/>
                    </a:lnTo>
                    <a:cubicBezTo>
                      <a:pt x="31528" y="75438"/>
                      <a:pt x="27337" y="76105"/>
                      <a:pt x="23051" y="76105"/>
                    </a:cubicBezTo>
                    <a:cubicBezTo>
                      <a:pt x="18002" y="76105"/>
                      <a:pt x="14192" y="74771"/>
                      <a:pt x="11525" y="72009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09" name="Freeform: Shape 142">
                <a:extLst>
                  <a:ext uri="{FF2B5EF4-FFF2-40B4-BE49-F238E27FC236}">
                    <a16:creationId xmlns:a16="http://schemas.microsoft.com/office/drawing/2014/main" id="{09E72AB6-CBFB-10BD-E0C8-2B365D9D4CD9}"/>
                  </a:ext>
                </a:extLst>
              </p:cNvPr>
              <p:cNvSpPr/>
              <p:nvPr/>
            </p:nvSpPr>
            <p:spPr>
              <a:xfrm>
                <a:off x="7501604" y="4051934"/>
                <a:ext cx="17525" cy="85915"/>
              </a:xfrm>
              <a:custGeom>
                <a:avLst/>
                <a:gdLst>
                  <a:gd name="connsiteX0" fmla="*/ 2381 w 17525"/>
                  <a:gd name="connsiteY0" fmla="*/ 15240 h 85915"/>
                  <a:gd name="connsiteX1" fmla="*/ 0 w 17525"/>
                  <a:gd name="connsiteY1" fmla="*/ 8858 h 85915"/>
                  <a:gd name="connsiteX2" fmla="*/ 2381 w 17525"/>
                  <a:gd name="connsiteY2" fmla="*/ 2381 h 85915"/>
                  <a:gd name="connsiteX3" fmla="*/ 8858 w 17525"/>
                  <a:gd name="connsiteY3" fmla="*/ 0 h 85915"/>
                  <a:gd name="connsiteX4" fmla="*/ 15144 w 17525"/>
                  <a:gd name="connsiteY4" fmla="*/ 2381 h 85915"/>
                  <a:gd name="connsiteX5" fmla="*/ 17526 w 17525"/>
                  <a:gd name="connsiteY5" fmla="*/ 8858 h 85915"/>
                  <a:gd name="connsiteX6" fmla="*/ 15144 w 17525"/>
                  <a:gd name="connsiteY6" fmla="*/ 15240 h 85915"/>
                  <a:gd name="connsiteX7" fmla="*/ 8858 w 17525"/>
                  <a:gd name="connsiteY7" fmla="*/ 17621 h 85915"/>
                  <a:gd name="connsiteX8" fmla="*/ 2381 w 17525"/>
                  <a:gd name="connsiteY8" fmla="*/ 15240 h 85915"/>
                  <a:gd name="connsiteX9" fmla="*/ 952 w 17525"/>
                  <a:gd name="connsiteY9" fmla="*/ 25622 h 85915"/>
                  <a:gd name="connsiteX10" fmla="*/ 16669 w 17525"/>
                  <a:gd name="connsiteY10" fmla="*/ 25622 h 85915"/>
                  <a:gd name="connsiteX11" fmla="*/ 16669 w 17525"/>
                  <a:gd name="connsiteY11" fmla="*/ 85916 h 85915"/>
                  <a:gd name="connsiteX12" fmla="*/ 952 w 17525"/>
                  <a:gd name="connsiteY12" fmla="*/ 85916 h 85915"/>
                  <a:gd name="connsiteX13" fmla="*/ 952 w 17525"/>
                  <a:gd name="connsiteY13" fmla="*/ 25622 h 859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7525" h="85915">
                    <a:moveTo>
                      <a:pt x="2381" y="15240"/>
                    </a:moveTo>
                    <a:cubicBezTo>
                      <a:pt x="857" y="13621"/>
                      <a:pt x="0" y="11525"/>
                      <a:pt x="0" y="8858"/>
                    </a:cubicBezTo>
                    <a:cubicBezTo>
                      <a:pt x="0" y="6191"/>
                      <a:pt x="762" y="4001"/>
                      <a:pt x="2381" y="2381"/>
                    </a:cubicBezTo>
                    <a:cubicBezTo>
                      <a:pt x="4000" y="762"/>
                      <a:pt x="6096" y="0"/>
                      <a:pt x="8858" y="0"/>
                    </a:cubicBezTo>
                    <a:cubicBezTo>
                      <a:pt x="11620" y="0"/>
                      <a:pt x="13621" y="762"/>
                      <a:pt x="15144" y="2381"/>
                    </a:cubicBezTo>
                    <a:cubicBezTo>
                      <a:pt x="16669" y="4001"/>
                      <a:pt x="17526" y="6096"/>
                      <a:pt x="17526" y="8858"/>
                    </a:cubicBezTo>
                    <a:cubicBezTo>
                      <a:pt x="17526" y="11621"/>
                      <a:pt x="16764" y="13621"/>
                      <a:pt x="15144" y="15240"/>
                    </a:cubicBezTo>
                    <a:cubicBezTo>
                      <a:pt x="13525" y="16859"/>
                      <a:pt x="11430" y="17621"/>
                      <a:pt x="8858" y="17621"/>
                    </a:cubicBezTo>
                    <a:cubicBezTo>
                      <a:pt x="6096" y="17621"/>
                      <a:pt x="3905" y="16859"/>
                      <a:pt x="2381" y="15240"/>
                    </a:cubicBezTo>
                    <a:close/>
                    <a:moveTo>
                      <a:pt x="952" y="25622"/>
                    </a:moveTo>
                    <a:lnTo>
                      <a:pt x="16669" y="25622"/>
                    </a:lnTo>
                    <a:lnTo>
                      <a:pt x="16669" y="85916"/>
                    </a:lnTo>
                    <a:lnTo>
                      <a:pt x="952" y="85916"/>
                    </a:lnTo>
                    <a:lnTo>
                      <a:pt x="952" y="25622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10" name="Freeform: Shape 143">
                <a:extLst>
                  <a:ext uri="{FF2B5EF4-FFF2-40B4-BE49-F238E27FC236}">
                    <a16:creationId xmlns:a16="http://schemas.microsoft.com/office/drawing/2014/main" id="{9DBBAC0E-54C2-EDD5-6EFB-82A5807930C9}"/>
                  </a:ext>
                </a:extLst>
              </p:cNvPr>
              <p:cNvSpPr/>
              <p:nvPr/>
            </p:nvSpPr>
            <p:spPr>
              <a:xfrm>
                <a:off x="7530750" y="4076509"/>
                <a:ext cx="60864" cy="62674"/>
              </a:xfrm>
              <a:custGeom>
                <a:avLst/>
                <a:gdLst>
                  <a:gd name="connsiteX0" fmla="*/ 13907 w 60864"/>
                  <a:gd name="connsiteY0" fmla="*/ 58388 h 62674"/>
                  <a:gd name="connsiteX1" fmla="*/ 3524 w 60864"/>
                  <a:gd name="connsiteY1" fmla="*/ 47149 h 62674"/>
                  <a:gd name="connsiteX2" fmla="*/ 0 w 60864"/>
                  <a:gd name="connsiteY2" fmla="*/ 31147 h 62674"/>
                  <a:gd name="connsiteX3" fmla="*/ 3429 w 60864"/>
                  <a:gd name="connsiteY3" fmla="*/ 15430 h 62674"/>
                  <a:gd name="connsiteX4" fmla="*/ 13716 w 60864"/>
                  <a:gd name="connsiteY4" fmla="*/ 4191 h 62674"/>
                  <a:gd name="connsiteX5" fmla="*/ 30480 w 60864"/>
                  <a:gd name="connsiteY5" fmla="*/ 0 h 62674"/>
                  <a:gd name="connsiteX6" fmla="*/ 47720 w 60864"/>
                  <a:gd name="connsiteY6" fmla="*/ 4191 h 62674"/>
                  <a:gd name="connsiteX7" fmla="*/ 57721 w 60864"/>
                  <a:gd name="connsiteY7" fmla="*/ 15335 h 62674"/>
                  <a:gd name="connsiteX8" fmla="*/ 60865 w 60864"/>
                  <a:gd name="connsiteY8" fmla="*/ 31242 h 62674"/>
                  <a:gd name="connsiteX9" fmla="*/ 57341 w 60864"/>
                  <a:gd name="connsiteY9" fmla="*/ 47244 h 62674"/>
                  <a:gd name="connsiteX10" fmla="*/ 46958 w 60864"/>
                  <a:gd name="connsiteY10" fmla="*/ 58483 h 62674"/>
                  <a:gd name="connsiteX11" fmla="*/ 30194 w 60864"/>
                  <a:gd name="connsiteY11" fmla="*/ 62674 h 62674"/>
                  <a:gd name="connsiteX12" fmla="*/ 13907 w 60864"/>
                  <a:gd name="connsiteY12" fmla="*/ 58579 h 62674"/>
                  <a:gd name="connsiteX13" fmla="*/ 40767 w 60864"/>
                  <a:gd name="connsiteY13" fmla="*/ 45148 h 62674"/>
                  <a:gd name="connsiteX14" fmla="*/ 44482 w 60864"/>
                  <a:gd name="connsiteY14" fmla="*/ 31051 h 62674"/>
                  <a:gd name="connsiteX15" fmla="*/ 40957 w 60864"/>
                  <a:gd name="connsiteY15" fmla="*/ 17145 h 62674"/>
                  <a:gd name="connsiteX16" fmla="*/ 30766 w 60864"/>
                  <a:gd name="connsiteY16" fmla="*/ 12287 h 62674"/>
                  <a:gd name="connsiteX17" fmla="*/ 20193 w 60864"/>
                  <a:gd name="connsiteY17" fmla="*/ 17145 h 62674"/>
                  <a:gd name="connsiteX18" fmla="*/ 16478 w 60864"/>
                  <a:gd name="connsiteY18" fmla="*/ 31051 h 62674"/>
                  <a:gd name="connsiteX19" fmla="*/ 18192 w 60864"/>
                  <a:gd name="connsiteY19" fmla="*/ 41338 h 62674"/>
                  <a:gd name="connsiteX20" fmla="*/ 22955 w 60864"/>
                  <a:gd name="connsiteY20" fmla="*/ 47815 h 62674"/>
                  <a:gd name="connsiteX21" fmla="*/ 30099 w 60864"/>
                  <a:gd name="connsiteY21" fmla="*/ 50006 h 62674"/>
                  <a:gd name="connsiteX22" fmla="*/ 40767 w 60864"/>
                  <a:gd name="connsiteY22" fmla="*/ 45053 h 62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60864" h="62674">
                    <a:moveTo>
                      <a:pt x="13907" y="58388"/>
                    </a:moveTo>
                    <a:cubicBezTo>
                      <a:pt x="9334" y="55626"/>
                      <a:pt x="5905" y="51911"/>
                      <a:pt x="3524" y="47149"/>
                    </a:cubicBezTo>
                    <a:cubicBezTo>
                      <a:pt x="1143" y="42386"/>
                      <a:pt x="0" y="37052"/>
                      <a:pt x="0" y="31147"/>
                    </a:cubicBezTo>
                    <a:cubicBezTo>
                      <a:pt x="0" y="25241"/>
                      <a:pt x="1143" y="20098"/>
                      <a:pt x="3429" y="15430"/>
                    </a:cubicBezTo>
                    <a:cubicBezTo>
                      <a:pt x="5715" y="10763"/>
                      <a:pt x="9144" y="6953"/>
                      <a:pt x="13716" y="4191"/>
                    </a:cubicBezTo>
                    <a:cubicBezTo>
                      <a:pt x="18288" y="1429"/>
                      <a:pt x="23908" y="0"/>
                      <a:pt x="30480" y="0"/>
                    </a:cubicBezTo>
                    <a:cubicBezTo>
                      <a:pt x="37433" y="0"/>
                      <a:pt x="43148" y="1429"/>
                      <a:pt x="47720" y="4191"/>
                    </a:cubicBezTo>
                    <a:cubicBezTo>
                      <a:pt x="52292" y="6953"/>
                      <a:pt x="55531" y="10668"/>
                      <a:pt x="57721" y="15335"/>
                    </a:cubicBezTo>
                    <a:cubicBezTo>
                      <a:pt x="59912" y="20002"/>
                      <a:pt x="60865" y="25337"/>
                      <a:pt x="60865" y="31242"/>
                    </a:cubicBezTo>
                    <a:cubicBezTo>
                      <a:pt x="60865" y="37147"/>
                      <a:pt x="59722" y="42481"/>
                      <a:pt x="57341" y="47244"/>
                    </a:cubicBezTo>
                    <a:cubicBezTo>
                      <a:pt x="54959" y="52006"/>
                      <a:pt x="51530" y="55721"/>
                      <a:pt x="46958" y="58483"/>
                    </a:cubicBezTo>
                    <a:cubicBezTo>
                      <a:pt x="42386" y="61246"/>
                      <a:pt x="36766" y="62674"/>
                      <a:pt x="30194" y="62674"/>
                    </a:cubicBezTo>
                    <a:cubicBezTo>
                      <a:pt x="23622" y="62674"/>
                      <a:pt x="18383" y="61341"/>
                      <a:pt x="13907" y="58579"/>
                    </a:cubicBezTo>
                    <a:close/>
                    <a:moveTo>
                      <a:pt x="40767" y="45148"/>
                    </a:moveTo>
                    <a:cubicBezTo>
                      <a:pt x="43243" y="41910"/>
                      <a:pt x="44482" y="37147"/>
                      <a:pt x="44482" y="31051"/>
                    </a:cubicBezTo>
                    <a:cubicBezTo>
                      <a:pt x="44482" y="24955"/>
                      <a:pt x="43339" y="20383"/>
                      <a:pt x="40957" y="17145"/>
                    </a:cubicBezTo>
                    <a:cubicBezTo>
                      <a:pt x="38576" y="13906"/>
                      <a:pt x="35243" y="12287"/>
                      <a:pt x="30766" y="12287"/>
                    </a:cubicBezTo>
                    <a:cubicBezTo>
                      <a:pt x="26289" y="12287"/>
                      <a:pt x="22574" y="13906"/>
                      <a:pt x="20193" y="17145"/>
                    </a:cubicBezTo>
                    <a:cubicBezTo>
                      <a:pt x="17812" y="20383"/>
                      <a:pt x="16478" y="25051"/>
                      <a:pt x="16478" y="31051"/>
                    </a:cubicBezTo>
                    <a:cubicBezTo>
                      <a:pt x="16478" y="35052"/>
                      <a:pt x="17050" y="38481"/>
                      <a:pt x="18192" y="41338"/>
                    </a:cubicBezTo>
                    <a:cubicBezTo>
                      <a:pt x="19335" y="44196"/>
                      <a:pt x="20955" y="46387"/>
                      <a:pt x="22955" y="47815"/>
                    </a:cubicBezTo>
                    <a:cubicBezTo>
                      <a:pt x="24955" y="49244"/>
                      <a:pt x="27337" y="50006"/>
                      <a:pt x="30099" y="50006"/>
                    </a:cubicBezTo>
                    <a:cubicBezTo>
                      <a:pt x="34766" y="50006"/>
                      <a:pt x="38291" y="48387"/>
                      <a:pt x="40767" y="45053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11" name="Freeform: Shape 144">
                <a:extLst>
                  <a:ext uri="{FF2B5EF4-FFF2-40B4-BE49-F238E27FC236}">
                    <a16:creationId xmlns:a16="http://schemas.microsoft.com/office/drawing/2014/main" id="{3458C520-5BFC-FE49-F49C-7BBD18291595}"/>
                  </a:ext>
                </a:extLst>
              </p:cNvPr>
              <p:cNvSpPr/>
              <p:nvPr/>
            </p:nvSpPr>
            <p:spPr>
              <a:xfrm>
                <a:off x="7603712" y="4076414"/>
                <a:ext cx="55150" cy="61722"/>
              </a:xfrm>
              <a:custGeom>
                <a:avLst/>
                <a:gdLst>
                  <a:gd name="connsiteX0" fmla="*/ 381 w 55150"/>
                  <a:gd name="connsiteY0" fmla="*/ 14669 h 61722"/>
                  <a:gd name="connsiteX1" fmla="*/ 286 w 55150"/>
                  <a:gd name="connsiteY1" fmla="*/ 6763 h 61722"/>
                  <a:gd name="connsiteX2" fmla="*/ 0 w 55150"/>
                  <a:gd name="connsiteY2" fmla="*/ 1238 h 61722"/>
                  <a:gd name="connsiteX3" fmla="*/ 14954 w 55150"/>
                  <a:gd name="connsiteY3" fmla="*/ 1238 h 61722"/>
                  <a:gd name="connsiteX4" fmla="*/ 15430 w 55150"/>
                  <a:gd name="connsiteY4" fmla="*/ 6191 h 61722"/>
                  <a:gd name="connsiteX5" fmla="*/ 15716 w 55150"/>
                  <a:gd name="connsiteY5" fmla="*/ 12097 h 61722"/>
                  <a:gd name="connsiteX6" fmla="*/ 15907 w 55150"/>
                  <a:gd name="connsiteY6" fmla="*/ 12097 h 61722"/>
                  <a:gd name="connsiteX7" fmla="*/ 23908 w 55150"/>
                  <a:gd name="connsiteY7" fmla="*/ 2953 h 61722"/>
                  <a:gd name="connsiteX8" fmla="*/ 35338 w 55150"/>
                  <a:gd name="connsiteY8" fmla="*/ 0 h 61722"/>
                  <a:gd name="connsiteX9" fmla="*/ 50388 w 55150"/>
                  <a:gd name="connsiteY9" fmla="*/ 6382 h 61722"/>
                  <a:gd name="connsiteX10" fmla="*/ 55150 w 55150"/>
                  <a:gd name="connsiteY10" fmla="*/ 23336 h 61722"/>
                  <a:gd name="connsiteX11" fmla="*/ 55150 w 55150"/>
                  <a:gd name="connsiteY11" fmla="*/ 61627 h 61722"/>
                  <a:gd name="connsiteX12" fmla="*/ 39529 w 55150"/>
                  <a:gd name="connsiteY12" fmla="*/ 61627 h 61722"/>
                  <a:gd name="connsiteX13" fmla="*/ 39529 w 55150"/>
                  <a:gd name="connsiteY13" fmla="*/ 27813 h 61722"/>
                  <a:gd name="connsiteX14" fmla="*/ 37243 w 55150"/>
                  <a:gd name="connsiteY14" fmla="*/ 17240 h 61722"/>
                  <a:gd name="connsiteX15" fmla="*/ 29337 w 55150"/>
                  <a:gd name="connsiteY15" fmla="*/ 13526 h 61722"/>
                  <a:gd name="connsiteX16" fmla="*/ 22574 w 55150"/>
                  <a:gd name="connsiteY16" fmla="*/ 15526 h 61722"/>
                  <a:gd name="connsiteX17" fmla="*/ 17812 w 55150"/>
                  <a:gd name="connsiteY17" fmla="*/ 21146 h 61722"/>
                  <a:gd name="connsiteX18" fmla="*/ 16097 w 55150"/>
                  <a:gd name="connsiteY18" fmla="*/ 29337 h 61722"/>
                  <a:gd name="connsiteX19" fmla="*/ 16097 w 55150"/>
                  <a:gd name="connsiteY19" fmla="*/ 61722 h 61722"/>
                  <a:gd name="connsiteX20" fmla="*/ 381 w 55150"/>
                  <a:gd name="connsiteY20" fmla="*/ 61722 h 61722"/>
                  <a:gd name="connsiteX21" fmla="*/ 381 w 55150"/>
                  <a:gd name="connsiteY21" fmla="*/ 14859 h 61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55150" h="61722">
                    <a:moveTo>
                      <a:pt x="381" y="14669"/>
                    </a:moveTo>
                    <a:cubicBezTo>
                      <a:pt x="381" y="12097"/>
                      <a:pt x="381" y="9430"/>
                      <a:pt x="286" y="6763"/>
                    </a:cubicBezTo>
                    <a:cubicBezTo>
                      <a:pt x="191" y="4096"/>
                      <a:pt x="95" y="2191"/>
                      <a:pt x="0" y="1238"/>
                    </a:cubicBezTo>
                    <a:lnTo>
                      <a:pt x="14954" y="1238"/>
                    </a:lnTo>
                    <a:cubicBezTo>
                      <a:pt x="15145" y="2096"/>
                      <a:pt x="15240" y="3715"/>
                      <a:pt x="15430" y="6191"/>
                    </a:cubicBezTo>
                    <a:cubicBezTo>
                      <a:pt x="15621" y="8668"/>
                      <a:pt x="15716" y="10668"/>
                      <a:pt x="15716" y="12097"/>
                    </a:cubicBezTo>
                    <a:lnTo>
                      <a:pt x="15907" y="12097"/>
                    </a:lnTo>
                    <a:cubicBezTo>
                      <a:pt x="18002" y="8001"/>
                      <a:pt x="20670" y="4953"/>
                      <a:pt x="23908" y="2953"/>
                    </a:cubicBezTo>
                    <a:cubicBezTo>
                      <a:pt x="27147" y="953"/>
                      <a:pt x="30956" y="0"/>
                      <a:pt x="35338" y="0"/>
                    </a:cubicBezTo>
                    <a:cubicBezTo>
                      <a:pt x="42196" y="0"/>
                      <a:pt x="47244" y="2096"/>
                      <a:pt x="50388" y="6382"/>
                    </a:cubicBezTo>
                    <a:cubicBezTo>
                      <a:pt x="53530" y="10668"/>
                      <a:pt x="55150" y="16288"/>
                      <a:pt x="55150" y="23336"/>
                    </a:cubicBezTo>
                    <a:lnTo>
                      <a:pt x="55150" y="61627"/>
                    </a:lnTo>
                    <a:lnTo>
                      <a:pt x="39529" y="61627"/>
                    </a:lnTo>
                    <a:lnTo>
                      <a:pt x="39529" y="27813"/>
                    </a:lnTo>
                    <a:cubicBezTo>
                      <a:pt x="39529" y="23241"/>
                      <a:pt x="38767" y="19717"/>
                      <a:pt x="37243" y="17240"/>
                    </a:cubicBezTo>
                    <a:cubicBezTo>
                      <a:pt x="35719" y="14764"/>
                      <a:pt x="33052" y="13526"/>
                      <a:pt x="29337" y="13526"/>
                    </a:cubicBezTo>
                    <a:cubicBezTo>
                      <a:pt x="26765" y="13526"/>
                      <a:pt x="24575" y="14192"/>
                      <a:pt x="22574" y="15526"/>
                    </a:cubicBezTo>
                    <a:cubicBezTo>
                      <a:pt x="20574" y="16859"/>
                      <a:pt x="18955" y="18669"/>
                      <a:pt x="17812" y="21146"/>
                    </a:cubicBezTo>
                    <a:cubicBezTo>
                      <a:pt x="16669" y="23622"/>
                      <a:pt x="16097" y="26289"/>
                      <a:pt x="16097" y="29337"/>
                    </a:cubicBezTo>
                    <a:lnTo>
                      <a:pt x="16097" y="61722"/>
                    </a:lnTo>
                    <a:lnTo>
                      <a:pt x="381" y="61722"/>
                    </a:lnTo>
                    <a:lnTo>
                      <a:pt x="381" y="14859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12" name="Freeform: Shape 145">
                <a:extLst>
                  <a:ext uri="{FF2B5EF4-FFF2-40B4-BE49-F238E27FC236}">
                    <a16:creationId xmlns:a16="http://schemas.microsoft.com/office/drawing/2014/main" id="{20DD249C-6FFA-158D-14B4-B71C904B7846}"/>
                  </a:ext>
                </a:extLst>
              </p:cNvPr>
              <p:cNvSpPr/>
              <p:nvPr/>
            </p:nvSpPr>
            <p:spPr>
              <a:xfrm>
                <a:off x="7668672" y="4076414"/>
                <a:ext cx="50768" cy="62769"/>
              </a:xfrm>
              <a:custGeom>
                <a:avLst/>
                <a:gdLst>
                  <a:gd name="connsiteX0" fmla="*/ 11716 w 50768"/>
                  <a:gd name="connsiteY0" fmla="*/ 60579 h 62769"/>
                  <a:gd name="connsiteX1" fmla="*/ 0 w 50768"/>
                  <a:gd name="connsiteY1" fmla="*/ 54007 h 62769"/>
                  <a:gd name="connsiteX2" fmla="*/ 7048 w 50768"/>
                  <a:gd name="connsiteY2" fmla="*/ 43244 h 62769"/>
                  <a:gd name="connsiteX3" fmla="*/ 16383 w 50768"/>
                  <a:gd name="connsiteY3" fmla="*/ 49054 h 62769"/>
                  <a:gd name="connsiteX4" fmla="*/ 25622 w 50768"/>
                  <a:gd name="connsiteY4" fmla="*/ 50959 h 62769"/>
                  <a:gd name="connsiteX5" fmla="*/ 33338 w 50768"/>
                  <a:gd name="connsiteY5" fmla="*/ 49721 h 62769"/>
                  <a:gd name="connsiteX6" fmla="*/ 36100 w 50768"/>
                  <a:gd name="connsiteY6" fmla="*/ 45244 h 62769"/>
                  <a:gd name="connsiteX7" fmla="*/ 34671 w 50768"/>
                  <a:gd name="connsiteY7" fmla="*/ 41529 h 62769"/>
                  <a:gd name="connsiteX8" fmla="*/ 30956 w 50768"/>
                  <a:gd name="connsiteY8" fmla="*/ 39338 h 62769"/>
                  <a:gd name="connsiteX9" fmla="*/ 24575 w 50768"/>
                  <a:gd name="connsiteY9" fmla="*/ 37624 h 62769"/>
                  <a:gd name="connsiteX10" fmla="*/ 21622 w 50768"/>
                  <a:gd name="connsiteY10" fmla="*/ 36862 h 62769"/>
                  <a:gd name="connsiteX11" fmla="*/ 11525 w 50768"/>
                  <a:gd name="connsiteY11" fmla="*/ 33338 h 62769"/>
                  <a:gd name="connsiteX12" fmla="*/ 4953 w 50768"/>
                  <a:gd name="connsiteY12" fmla="*/ 27813 h 62769"/>
                  <a:gd name="connsiteX13" fmla="*/ 2381 w 50768"/>
                  <a:gd name="connsiteY13" fmla="*/ 18288 h 62769"/>
                  <a:gd name="connsiteX14" fmla="*/ 5144 w 50768"/>
                  <a:gd name="connsiteY14" fmla="*/ 8477 h 62769"/>
                  <a:gd name="connsiteX15" fmla="*/ 13145 w 50768"/>
                  <a:gd name="connsiteY15" fmla="*/ 2191 h 62769"/>
                  <a:gd name="connsiteX16" fmla="*/ 25908 w 50768"/>
                  <a:gd name="connsiteY16" fmla="*/ 0 h 62769"/>
                  <a:gd name="connsiteX17" fmla="*/ 38958 w 50768"/>
                  <a:gd name="connsiteY17" fmla="*/ 2191 h 62769"/>
                  <a:gd name="connsiteX18" fmla="*/ 49054 w 50768"/>
                  <a:gd name="connsiteY18" fmla="*/ 8763 h 62769"/>
                  <a:gd name="connsiteX19" fmla="*/ 41053 w 50768"/>
                  <a:gd name="connsiteY19" fmla="*/ 18002 h 62769"/>
                  <a:gd name="connsiteX20" fmla="*/ 26098 w 50768"/>
                  <a:gd name="connsiteY20" fmla="*/ 11716 h 62769"/>
                  <a:gd name="connsiteX21" fmla="*/ 16859 w 50768"/>
                  <a:gd name="connsiteY21" fmla="*/ 17050 h 62769"/>
                  <a:gd name="connsiteX22" fmla="*/ 18098 w 50768"/>
                  <a:gd name="connsiteY22" fmla="*/ 20288 h 62769"/>
                  <a:gd name="connsiteX23" fmla="*/ 21241 w 50768"/>
                  <a:gd name="connsiteY23" fmla="*/ 22193 h 62769"/>
                  <a:gd name="connsiteX24" fmla="*/ 26861 w 50768"/>
                  <a:gd name="connsiteY24" fmla="*/ 23717 h 62769"/>
                  <a:gd name="connsiteX25" fmla="*/ 29718 w 50768"/>
                  <a:gd name="connsiteY25" fmla="*/ 24384 h 62769"/>
                  <a:gd name="connsiteX26" fmla="*/ 40767 w 50768"/>
                  <a:gd name="connsiteY26" fmla="*/ 28004 h 62769"/>
                  <a:gd name="connsiteX27" fmla="*/ 47911 w 50768"/>
                  <a:gd name="connsiteY27" fmla="*/ 33814 h 62769"/>
                  <a:gd name="connsiteX28" fmla="*/ 50768 w 50768"/>
                  <a:gd name="connsiteY28" fmla="*/ 44005 h 62769"/>
                  <a:gd name="connsiteX29" fmla="*/ 47816 w 50768"/>
                  <a:gd name="connsiteY29" fmla="*/ 54007 h 62769"/>
                  <a:gd name="connsiteX30" fmla="*/ 39243 w 50768"/>
                  <a:gd name="connsiteY30" fmla="*/ 60484 h 62769"/>
                  <a:gd name="connsiteX31" fmla="*/ 25813 w 50768"/>
                  <a:gd name="connsiteY31" fmla="*/ 62770 h 62769"/>
                  <a:gd name="connsiteX32" fmla="*/ 11906 w 50768"/>
                  <a:gd name="connsiteY32" fmla="*/ 60674 h 627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50768" h="62769">
                    <a:moveTo>
                      <a:pt x="11716" y="60579"/>
                    </a:moveTo>
                    <a:cubicBezTo>
                      <a:pt x="7620" y="59246"/>
                      <a:pt x="3715" y="56960"/>
                      <a:pt x="0" y="54007"/>
                    </a:cubicBezTo>
                    <a:lnTo>
                      <a:pt x="7048" y="43244"/>
                    </a:lnTo>
                    <a:cubicBezTo>
                      <a:pt x="10383" y="45815"/>
                      <a:pt x="13526" y="47720"/>
                      <a:pt x="16383" y="49054"/>
                    </a:cubicBezTo>
                    <a:cubicBezTo>
                      <a:pt x="19241" y="50387"/>
                      <a:pt x="22289" y="50959"/>
                      <a:pt x="25622" y="50959"/>
                    </a:cubicBezTo>
                    <a:cubicBezTo>
                      <a:pt x="28956" y="50959"/>
                      <a:pt x="31528" y="50578"/>
                      <a:pt x="33338" y="49721"/>
                    </a:cubicBezTo>
                    <a:cubicBezTo>
                      <a:pt x="35147" y="48863"/>
                      <a:pt x="36100" y="47339"/>
                      <a:pt x="36100" y="45244"/>
                    </a:cubicBezTo>
                    <a:cubicBezTo>
                      <a:pt x="36100" y="43720"/>
                      <a:pt x="35623" y="42481"/>
                      <a:pt x="34671" y="41529"/>
                    </a:cubicBezTo>
                    <a:cubicBezTo>
                      <a:pt x="33719" y="40577"/>
                      <a:pt x="32481" y="39910"/>
                      <a:pt x="30956" y="39338"/>
                    </a:cubicBezTo>
                    <a:cubicBezTo>
                      <a:pt x="29433" y="38767"/>
                      <a:pt x="27337" y="38290"/>
                      <a:pt x="24575" y="37624"/>
                    </a:cubicBezTo>
                    <a:lnTo>
                      <a:pt x="21622" y="36862"/>
                    </a:lnTo>
                    <a:cubicBezTo>
                      <a:pt x="17526" y="35814"/>
                      <a:pt x="14192" y="34671"/>
                      <a:pt x="11525" y="33338"/>
                    </a:cubicBezTo>
                    <a:cubicBezTo>
                      <a:pt x="8858" y="32004"/>
                      <a:pt x="6668" y="30194"/>
                      <a:pt x="4953" y="27813"/>
                    </a:cubicBezTo>
                    <a:cubicBezTo>
                      <a:pt x="3239" y="25432"/>
                      <a:pt x="2381" y="22193"/>
                      <a:pt x="2381" y="18288"/>
                    </a:cubicBezTo>
                    <a:cubicBezTo>
                      <a:pt x="2381" y="14383"/>
                      <a:pt x="3334" y="11239"/>
                      <a:pt x="5144" y="8477"/>
                    </a:cubicBezTo>
                    <a:cubicBezTo>
                      <a:pt x="6954" y="5715"/>
                      <a:pt x="9620" y="3620"/>
                      <a:pt x="13145" y="2191"/>
                    </a:cubicBezTo>
                    <a:cubicBezTo>
                      <a:pt x="16669" y="762"/>
                      <a:pt x="20955" y="0"/>
                      <a:pt x="25908" y="0"/>
                    </a:cubicBezTo>
                    <a:cubicBezTo>
                      <a:pt x="30861" y="0"/>
                      <a:pt x="35052" y="762"/>
                      <a:pt x="38958" y="2191"/>
                    </a:cubicBezTo>
                    <a:cubicBezTo>
                      <a:pt x="42863" y="3620"/>
                      <a:pt x="46197" y="5810"/>
                      <a:pt x="49054" y="8763"/>
                    </a:cubicBezTo>
                    <a:lnTo>
                      <a:pt x="41053" y="18002"/>
                    </a:lnTo>
                    <a:cubicBezTo>
                      <a:pt x="36766" y="13811"/>
                      <a:pt x="31814" y="11716"/>
                      <a:pt x="26098" y="11716"/>
                    </a:cubicBezTo>
                    <a:cubicBezTo>
                      <a:pt x="19908" y="11716"/>
                      <a:pt x="16859" y="13526"/>
                      <a:pt x="16859" y="17050"/>
                    </a:cubicBezTo>
                    <a:cubicBezTo>
                      <a:pt x="16859" y="18383"/>
                      <a:pt x="17240" y="19526"/>
                      <a:pt x="18098" y="20288"/>
                    </a:cubicBezTo>
                    <a:cubicBezTo>
                      <a:pt x="18955" y="21050"/>
                      <a:pt x="19908" y="21717"/>
                      <a:pt x="21241" y="22193"/>
                    </a:cubicBezTo>
                    <a:cubicBezTo>
                      <a:pt x="22574" y="22670"/>
                      <a:pt x="24384" y="23146"/>
                      <a:pt x="26861" y="23717"/>
                    </a:cubicBezTo>
                    <a:lnTo>
                      <a:pt x="29718" y="24384"/>
                    </a:lnTo>
                    <a:cubicBezTo>
                      <a:pt x="34195" y="25527"/>
                      <a:pt x="37815" y="26670"/>
                      <a:pt x="40767" y="28004"/>
                    </a:cubicBezTo>
                    <a:cubicBezTo>
                      <a:pt x="43720" y="29337"/>
                      <a:pt x="46006" y="31242"/>
                      <a:pt x="47911" y="33814"/>
                    </a:cubicBezTo>
                    <a:cubicBezTo>
                      <a:pt x="49816" y="36386"/>
                      <a:pt x="50768" y="39814"/>
                      <a:pt x="50768" y="44005"/>
                    </a:cubicBezTo>
                    <a:cubicBezTo>
                      <a:pt x="50768" y="47815"/>
                      <a:pt x="49816" y="51149"/>
                      <a:pt x="47816" y="54007"/>
                    </a:cubicBezTo>
                    <a:cubicBezTo>
                      <a:pt x="45815" y="56864"/>
                      <a:pt x="43053" y="58960"/>
                      <a:pt x="39243" y="60484"/>
                    </a:cubicBezTo>
                    <a:cubicBezTo>
                      <a:pt x="35433" y="62008"/>
                      <a:pt x="31052" y="62770"/>
                      <a:pt x="25813" y="62770"/>
                    </a:cubicBezTo>
                    <a:cubicBezTo>
                      <a:pt x="20574" y="62770"/>
                      <a:pt x="16002" y="62103"/>
                      <a:pt x="11906" y="60674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13" name="Freeform: Shape 146">
                <a:extLst>
                  <a:ext uri="{FF2B5EF4-FFF2-40B4-BE49-F238E27FC236}">
                    <a16:creationId xmlns:a16="http://schemas.microsoft.com/office/drawing/2014/main" id="{6FC671B6-AD8C-63CD-0D4B-BE54A37AE537}"/>
                  </a:ext>
                </a:extLst>
              </p:cNvPr>
              <p:cNvSpPr/>
              <p:nvPr/>
            </p:nvSpPr>
            <p:spPr>
              <a:xfrm>
                <a:off x="7730585" y="4055078"/>
                <a:ext cx="54768" cy="82867"/>
              </a:xfrm>
              <a:custGeom>
                <a:avLst/>
                <a:gdLst>
                  <a:gd name="connsiteX0" fmla="*/ 95 w 54768"/>
                  <a:gd name="connsiteY0" fmla="*/ 0 h 82867"/>
                  <a:gd name="connsiteX1" fmla="*/ 15812 w 54768"/>
                  <a:gd name="connsiteY1" fmla="*/ 0 h 82867"/>
                  <a:gd name="connsiteX2" fmla="*/ 15812 w 54768"/>
                  <a:gd name="connsiteY2" fmla="*/ 22669 h 82867"/>
                  <a:gd name="connsiteX3" fmla="*/ 15335 w 54768"/>
                  <a:gd name="connsiteY3" fmla="*/ 33338 h 82867"/>
                  <a:gd name="connsiteX4" fmla="*/ 15526 w 54768"/>
                  <a:gd name="connsiteY4" fmla="*/ 33338 h 82867"/>
                  <a:gd name="connsiteX5" fmla="*/ 23432 w 54768"/>
                  <a:gd name="connsiteY5" fmla="*/ 24193 h 82867"/>
                  <a:gd name="connsiteX6" fmla="*/ 34957 w 54768"/>
                  <a:gd name="connsiteY6" fmla="*/ 21336 h 82867"/>
                  <a:gd name="connsiteX7" fmla="*/ 50006 w 54768"/>
                  <a:gd name="connsiteY7" fmla="*/ 27622 h 82867"/>
                  <a:gd name="connsiteX8" fmla="*/ 54769 w 54768"/>
                  <a:gd name="connsiteY8" fmla="*/ 44577 h 82867"/>
                  <a:gd name="connsiteX9" fmla="*/ 54769 w 54768"/>
                  <a:gd name="connsiteY9" fmla="*/ 82867 h 82867"/>
                  <a:gd name="connsiteX10" fmla="*/ 39148 w 54768"/>
                  <a:gd name="connsiteY10" fmla="*/ 82867 h 82867"/>
                  <a:gd name="connsiteX11" fmla="*/ 39148 w 54768"/>
                  <a:gd name="connsiteY11" fmla="*/ 49054 h 82867"/>
                  <a:gd name="connsiteX12" fmla="*/ 36862 w 54768"/>
                  <a:gd name="connsiteY12" fmla="*/ 38576 h 82867"/>
                  <a:gd name="connsiteX13" fmla="*/ 28956 w 54768"/>
                  <a:gd name="connsiteY13" fmla="*/ 34862 h 82867"/>
                  <a:gd name="connsiteX14" fmla="*/ 22193 w 54768"/>
                  <a:gd name="connsiteY14" fmla="*/ 36862 h 82867"/>
                  <a:gd name="connsiteX15" fmla="*/ 17431 w 54768"/>
                  <a:gd name="connsiteY15" fmla="*/ 42386 h 82867"/>
                  <a:gd name="connsiteX16" fmla="*/ 15716 w 54768"/>
                  <a:gd name="connsiteY16" fmla="*/ 50482 h 82867"/>
                  <a:gd name="connsiteX17" fmla="*/ 15716 w 54768"/>
                  <a:gd name="connsiteY17" fmla="*/ 82867 h 82867"/>
                  <a:gd name="connsiteX18" fmla="*/ 0 w 54768"/>
                  <a:gd name="connsiteY18" fmla="*/ 82867 h 82867"/>
                  <a:gd name="connsiteX19" fmla="*/ 0 w 54768"/>
                  <a:gd name="connsiteY19" fmla="*/ 0 h 828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4768" h="82867">
                    <a:moveTo>
                      <a:pt x="95" y="0"/>
                    </a:moveTo>
                    <a:lnTo>
                      <a:pt x="15812" y="0"/>
                    </a:lnTo>
                    <a:lnTo>
                      <a:pt x="15812" y="22669"/>
                    </a:lnTo>
                    <a:cubicBezTo>
                      <a:pt x="15812" y="25241"/>
                      <a:pt x="15621" y="28765"/>
                      <a:pt x="15335" y="33338"/>
                    </a:cubicBezTo>
                    <a:lnTo>
                      <a:pt x="15526" y="33338"/>
                    </a:lnTo>
                    <a:cubicBezTo>
                      <a:pt x="17622" y="29242"/>
                      <a:pt x="20288" y="26194"/>
                      <a:pt x="23432" y="24193"/>
                    </a:cubicBezTo>
                    <a:cubicBezTo>
                      <a:pt x="26575" y="22193"/>
                      <a:pt x="30480" y="21336"/>
                      <a:pt x="34957" y="21336"/>
                    </a:cubicBezTo>
                    <a:cubicBezTo>
                      <a:pt x="41815" y="21336"/>
                      <a:pt x="46863" y="23431"/>
                      <a:pt x="50006" y="27622"/>
                    </a:cubicBezTo>
                    <a:cubicBezTo>
                      <a:pt x="53150" y="31813"/>
                      <a:pt x="54769" y="37433"/>
                      <a:pt x="54769" y="44577"/>
                    </a:cubicBezTo>
                    <a:lnTo>
                      <a:pt x="54769" y="82867"/>
                    </a:lnTo>
                    <a:lnTo>
                      <a:pt x="39148" y="82867"/>
                    </a:lnTo>
                    <a:lnTo>
                      <a:pt x="39148" y="49054"/>
                    </a:lnTo>
                    <a:cubicBezTo>
                      <a:pt x="39148" y="44482"/>
                      <a:pt x="38386" y="41053"/>
                      <a:pt x="36862" y="38576"/>
                    </a:cubicBezTo>
                    <a:cubicBezTo>
                      <a:pt x="35338" y="36100"/>
                      <a:pt x="32671" y="34862"/>
                      <a:pt x="28956" y="34862"/>
                    </a:cubicBezTo>
                    <a:cubicBezTo>
                      <a:pt x="26480" y="34862"/>
                      <a:pt x="24194" y="35528"/>
                      <a:pt x="22193" y="36862"/>
                    </a:cubicBezTo>
                    <a:cubicBezTo>
                      <a:pt x="20193" y="38195"/>
                      <a:pt x="18574" y="40005"/>
                      <a:pt x="17431" y="42386"/>
                    </a:cubicBezTo>
                    <a:cubicBezTo>
                      <a:pt x="16288" y="44767"/>
                      <a:pt x="15716" y="47434"/>
                      <a:pt x="15716" y="50482"/>
                    </a:cubicBezTo>
                    <a:lnTo>
                      <a:pt x="15716" y="82867"/>
                    </a:lnTo>
                    <a:lnTo>
                      <a:pt x="0" y="8286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14" name="Freeform: Shape 147">
                <a:extLst>
                  <a:ext uri="{FF2B5EF4-FFF2-40B4-BE49-F238E27FC236}">
                    <a16:creationId xmlns:a16="http://schemas.microsoft.com/office/drawing/2014/main" id="{E785AAA0-E2FA-B298-CFC8-999FD3CF9D39}"/>
                  </a:ext>
                </a:extLst>
              </p:cNvPr>
              <p:cNvSpPr/>
              <p:nvPr/>
            </p:nvSpPr>
            <p:spPr>
              <a:xfrm>
                <a:off x="7799641" y="4051934"/>
                <a:ext cx="17526" cy="85915"/>
              </a:xfrm>
              <a:custGeom>
                <a:avLst/>
                <a:gdLst>
                  <a:gd name="connsiteX0" fmla="*/ 2381 w 17526"/>
                  <a:gd name="connsiteY0" fmla="*/ 15240 h 85915"/>
                  <a:gd name="connsiteX1" fmla="*/ 0 w 17526"/>
                  <a:gd name="connsiteY1" fmla="*/ 8858 h 85915"/>
                  <a:gd name="connsiteX2" fmla="*/ 2381 w 17526"/>
                  <a:gd name="connsiteY2" fmla="*/ 2381 h 85915"/>
                  <a:gd name="connsiteX3" fmla="*/ 8858 w 17526"/>
                  <a:gd name="connsiteY3" fmla="*/ 0 h 85915"/>
                  <a:gd name="connsiteX4" fmla="*/ 15145 w 17526"/>
                  <a:gd name="connsiteY4" fmla="*/ 2381 h 85915"/>
                  <a:gd name="connsiteX5" fmla="*/ 17526 w 17526"/>
                  <a:gd name="connsiteY5" fmla="*/ 8858 h 85915"/>
                  <a:gd name="connsiteX6" fmla="*/ 15145 w 17526"/>
                  <a:gd name="connsiteY6" fmla="*/ 15240 h 85915"/>
                  <a:gd name="connsiteX7" fmla="*/ 8858 w 17526"/>
                  <a:gd name="connsiteY7" fmla="*/ 17621 h 85915"/>
                  <a:gd name="connsiteX8" fmla="*/ 2381 w 17526"/>
                  <a:gd name="connsiteY8" fmla="*/ 15240 h 85915"/>
                  <a:gd name="connsiteX9" fmla="*/ 953 w 17526"/>
                  <a:gd name="connsiteY9" fmla="*/ 25622 h 85915"/>
                  <a:gd name="connsiteX10" fmla="*/ 16669 w 17526"/>
                  <a:gd name="connsiteY10" fmla="*/ 25622 h 85915"/>
                  <a:gd name="connsiteX11" fmla="*/ 16669 w 17526"/>
                  <a:gd name="connsiteY11" fmla="*/ 85916 h 85915"/>
                  <a:gd name="connsiteX12" fmla="*/ 953 w 17526"/>
                  <a:gd name="connsiteY12" fmla="*/ 85916 h 85915"/>
                  <a:gd name="connsiteX13" fmla="*/ 953 w 17526"/>
                  <a:gd name="connsiteY13" fmla="*/ 25622 h 859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7526" h="85915">
                    <a:moveTo>
                      <a:pt x="2381" y="15240"/>
                    </a:moveTo>
                    <a:cubicBezTo>
                      <a:pt x="858" y="13621"/>
                      <a:pt x="0" y="11525"/>
                      <a:pt x="0" y="8858"/>
                    </a:cubicBezTo>
                    <a:cubicBezTo>
                      <a:pt x="0" y="6191"/>
                      <a:pt x="762" y="4001"/>
                      <a:pt x="2381" y="2381"/>
                    </a:cubicBezTo>
                    <a:cubicBezTo>
                      <a:pt x="4001" y="762"/>
                      <a:pt x="6096" y="0"/>
                      <a:pt x="8858" y="0"/>
                    </a:cubicBezTo>
                    <a:cubicBezTo>
                      <a:pt x="11621" y="0"/>
                      <a:pt x="13621" y="762"/>
                      <a:pt x="15145" y="2381"/>
                    </a:cubicBezTo>
                    <a:cubicBezTo>
                      <a:pt x="16669" y="4001"/>
                      <a:pt x="17526" y="6096"/>
                      <a:pt x="17526" y="8858"/>
                    </a:cubicBezTo>
                    <a:cubicBezTo>
                      <a:pt x="17526" y="11621"/>
                      <a:pt x="16764" y="13621"/>
                      <a:pt x="15145" y="15240"/>
                    </a:cubicBezTo>
                    <a:cubicBezTo>
                      <a:pt x="13526" y="16859"/>
                      <a:pt x="11430" y="17621"/>
                      <a:pt x="8858" y="17621"/>
                    </a:cubicBezTo>
                    <a:cubicBezTo>
                      <a:pt x="6096" y="17621"/>
                      <a:pt x="3906" y="16859"/>
                      <a:pt x="2381" y="15240"/>
                    </a:cubicBezTo>
                    <a:close/>
                    <a:moveTo>
                      <a:pt x="953" y="25622"/>
                    </a:moveTo>
                    <a:lnTo>
                      <a:pt x="16669" y="25622"/>
                    </a:lnTo>
                    <a:lnTo>
                      <a:pt x="16669" y="85916"/>
                    </a:lnTo>
                    <a:lnTo>
                      <a:pt x="953" y="85916"/>
                    </a:lnTo>
                    <a:lnTo>
                      <a:pt x="953" y="25622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15" name="Freeform: Shape 148">
                <a:extLst>
                  <a:ext uri="{FF2B5EF4-FFF2-40B4-BE49-F238E27FC236}">
                    <a16:creationId xmlns:a16="http://schemas.microsoft.com/office/drawing/2014/main" id="{61F0166E-9F50-E69F-E518-B8C79D9C2D1C}"/>
                  </a:ext>
                </a:extLst>
              </p:cNvPr>
              <p:cNvSpPr/>
              <p:nvPr/>
            </p:nvSpPr>
            <p:spPr>
              <a:xfrm>
                <a:off x="7831835" y="4076318"/>
                <a:ext cx="58292" cy="85344"/>
              </a:xfrm>
              <a:custGeom>
                <a:avLst/>
                <a:gdLst>
                  <a:gd name="connsiteX0" fmla="*/ 476 w 58292"/>
                  <a:gd name="connsiteY0" fmla="*/ 15050 h 85344"/>
                  <a:gd name="connsiteX1" fmla="*/ 0 w 58292"/>
                  <a:gd name="connsiteY1" fmla="*/ 1238 h 85344"/>
                  <a:gd name="connsiteX2" fmla="*/ 15240 w 58292"/>
                  <a:gd name="connsiteY2" fmla="*/ 1238 h 85344"/>
                  <a:gd name="connsiteX3" fmla="*/ 15716 w 58292"/>
                  <a:gd name="connsiteY3" fmla="*/ 4763 h 85344"/>
                  <a:gd name="connsiteX4" fmla="*/ 15907 w 58292"/>
                  <a:gd name="connsiteY4" fmla="*/ 9906 h 85344"/>
                  <a:gd name="connsiteX5" fmla="*/ 16097 w 58292"/>
                  <a:gd name="connsiteY5" fmla="*/ 9906 h 85344"/>
                  <a:gd name="connsiteX6" fmla="*/ 35338 w 58292"/>
                  <a:gd name="connsiteY6" fmla="*/ 0 h 85344"/>
                  <a:gd name="connsiteX7" fmla="*/ 47816 w 58292"/>
                  <a:gd name="connsiteY7" fmla="*/ 4001 h 85344"/>
                  <a:gd name="connsiteX8" fmla="*/ 55626 w 58292"/>
                  <a:gd name="connsiteY8" fmla="*/ 14954 h 85344"/>
                  <a:gd name="connsiteX9" fmla="*/ 58293 w 58292"/>
                  <a:gd name="connsiteY9" fmla="*/ 31052 h 85344"/>
                  <a:gd name="connsiteX10" fmla="*/ 55436 w 58292"/>
                  <a:gd name="connsiteY10" fmla="*/ 47530 h 85344"/>
                  <a:gd name="connsiteX11" fmla="*/ 47054 w 58292"/>
                  <a:gd name="connsiteY11" fmla="*/ 58674 h 85344"/>
                  <a:gd name="connsiteX12" fmla="*/ 34004 w 58292"/>
                  <a:gd name="connsiteY12" fmla="*/ 62675 h 85344"/>
                  <a:gd name="connsiteX13" fmla="*/ 23622 w 58292"/>
                  <a:gd name="connsiteY13" fmla="*/ 60388 h 85344"/>
                  <a:gd name="connsiteX14" fmla="*/ 16193 w 58292"/>
                  <a:gd name="connsiteY14" fmla="*/ 53054 h 85344"/>
                  <a:gd name="connsiteX15" fmla="*/ 15812 w 58292"/>
                  <a:gd name="connsiteY15" fmla="*/ 53054 h 85344"/>
                  <a:gd name="connsiteX16" fmla="*/ 16002 w 58292"/>
                  <a:gd name="connsiteY16" fmla="*/ 56674 h 85344"/>
                  <a:gd name="connsiteX17" fmla="*/ 16097 w 58292"/>
                  <a:gd name="connsiteY17" fmla="*/ 62103 h 85344"/>
                  <a:gd name="connsiteX18" fmla="*/ 16097 w 58292"/>
                  <a:gd name="connsiteY18" fmla="*/ 85344 h 85344"/>
                  <a:gd name="connsiteX19" fmla="*/ 381 w 58292"/>
                  <a:gd name="connsiteY19" fmla="*/ 85344 h 85344"/>
                  <a:gd name="connsiteX20" fmla="*/ 381 w 58292"/>
                  <a:gd name="connsiteY20" fmla="*/ 15050 h 85344"/>
                  <a:gd name="connsiteX21" fmla="*/ 38481 w 58292"/>
                  <a:gd name="connsiteY21" fmla="*/ 45529 h 85344"/>
                  <a:gd name="connsiteX22" fmla="*/ 41910 w 58292"/>
                  <a:gd name="connsiteY22" fmla="*/ 31052 h 85344"/>
                  <a:gd name="connsiteX23" fmla="*/ 38576 w 58292"/>
                  <a:gd name="connsiteY23" fmla="*/ 17240 h 85344"/>
                  <a:gd name="connsiteX24" fmla="*/ 29433 w 58292"/>
                  <a:gd name="connsiteY24" fmla="*/ 12573 h 85344"/>
                  <a:gd name="connsiteX25" fmla="*/ 22860 w 58292"/>
                  <a:gd name="connsiteY25" fmla="*/ 14383 h 85344"/>
                  <a:gd name="connsiteX26" fmla="*/ 17907 w 58292"/>
                  <a:gd name="connsiteY26" fmla="*/ 20384 h 85344"/>
                  <a:gd name="connsiteX27" fmla="*/ 15907 w 58292"/>
                  <a:gd name="connsiteY27" fmla="*/ 31528 h 85344"/>
                  <a:gd name="connsiteX28" fmla="*/ 17812 w 58292"/>
                  <a:gd name="connsiteY28" fmla="*/ 42482 h 85344"/>
                  <a:gd name="connsiteX29" fmla="*/ 22765 w 58292"/>
                  <a:gd name="connsiteY29" fmla="*/ 48482 h 85344"/>
                  <a:gd name="connsiteX30" fmla="*/ 29242 w 58292"/>
                  <a:gd name="connsiteY30" fmla="*/ 50292 h 85344"/>
                  <a:gd name="connsiteX31" fmla="*/ 38386 w 58292"/>
                  <a:gd name="connsiteY31" fmla="*/ 45529 h 853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58292" h="85344">
                    <a:moveTo>
                      <a:pt x="476" y="15050"/>
                    </a:moveTo>
                    <a:cubicBezTo>
                      <a:pt x="476" y="9335"/>
                      <a:pt x="286" y="4763"/>
                      <a:pt x="0" y="1238"/>
                    </a:cubicBezTo>
                    <a:lnTo>
                      <a:pt x="15240" y="1238"/>
                    </a:lnTo>
                    <a:cubicBezTo>
                      <a:pt x="15240" y="1238"/>
                      <a:pt x="15526" y="2762"/>
                      <a:pt x="15716" y="4763"/>
                    </a:cubicBezTo>
                    <a:cubicBezTo>
                      <a:pt x="15907" y="6763"/>
                      <a:pt x="15907" y="8477"/>
                      <a:pt x="15907" y="9906"/>
                    </a:cubicBezTo>
                    <a:lnTo>
                      <a:pt x="16097" y="9906"/>
                    </a:lnTo>
                    <a:cubicBezTo>
                      <a:pt x="20098" y="3238"/>
                      <a:pt x="26480" y="0"/>
                      <a:pt x="35338" y="0"/>
                    </a:cubicBezTo>
                    <a:cubicBezTo>
                      <a:pt x="40196" y="0"/>
                      <a:pt x="44387" y="1334"/>
                      <a:pt x="47816" y="4001"/>
                    </a:cubicBezTo>
                    <a:cubicBezTo>
                      <a:pt x="51245" y="6668"/>
                      <a:pt x="53816" y="10287"/>
                      <a:pt x="55626" y="14954"/>
                    </a:cubicBezTo>
                    <a:cubicBezTo>
                      <a:pt x="57436" y="19621"/>
                      <a:pt x="58293" y="24955"/>
                      <a:pt x="58293" y="31052"/>
                    </a:cubicBezTo>
                    <a:cubicBezTo>
                      <a:pt x="58293" y="37147"/>
                      <a:pt x="57341" y="42672"/>
                      <a:pt x="55436" y="47530"/>
                    </a:cubicBezTo>
                    <a:cubicBezTo>
                      <a:pt x="53530" y="52388"/>
                      <a:pt x="50768" y="56007"/>
                      <a:pt x="47054" y="58674"/>
                    </a:cubicBezTo>
                    <a:cubicBezTo>
                      <a:pt x="43339" y="61341"/>
                      <a:pt x="39053" y="62675"/>
                      <a:pt x="34004" y="62675"/>
                    </a:cubicBezTo>
                    <a:cubicBezTo>
                      <a:pt x="30289" y="62675"/>
                      <a:pt x="26861" y="61913"/>
                      <a:pt x="23622" y="60388"/>
                    </a:cubicBezTo>
                    <a:cubicBezTo>
                      <a:pt x="20384" y="58865"/>
                      <a:pt x="18002" y="56388"/>
                      <a:pt x="16193" y="53054"/>
                    </a:cubicBezTo>
                    <a:lnTo>
                      <a:pt x="15812" y="53054"/>
                    </a:lnTo>
                    <a:cubicBezTo>
                      <a:pt x="15812" y="53054"/>
                      <a:pt x="16002" y="54674"/>
                      <a:pt x="16002" y="56674"/>
                    </a:cubicBezTo>
                    <a:cubicBezTo>
                      <a:pt x="16002" y="58674"/>
                      <a:pt x="16097" y="60484"/>
                      <a:pt x="16097" y="62103"/>
                    </a:cubicBezTo>
                    <a:lnTo>
                      <a:pt x="16097" y="85344"/>
                    </a:lnTo>
                    <a:lnTo>
                      <a:pt x="381" y="85344"/>
                    </a:lnTo>
                    <a:lnTo>
                      <a:pt x="381" y="15050"/>
                    </a:lnTo>
                    <a:close/>
                    <a:moveTo>
                      <a:pt x="38481" y="45529"/>
                    </a:moveTo>
                    <a:cubicBezTo>
                      <a:pt x="40767" y="42386"/>
                      <a:pt x="41910" y="37529"/>
                      <a:pt x="41910" y="31052"/>
                    </a:cubicBezTo>
                    <a:cubicBezTo>
                      <a:pt x="41910" y="24955"/>
                      <a:pt x="40767" y="20384"/>
                      <a:pt x="38576" y="17240"/>
                    </a:cubicBezTo>
                    <a:cubicBezTo>
                      <a:pt x="36386" y="14097"/>
                      <a:pt x="33338" y="12573"/>
                      <a:pt x="29433" y="12573"/>
                    </a:cubicBezTo>
                    <a:cubicBezTo>
                      <a:pt x="27051" y="12573"/>
                      <a:pt x="24860" y="13145"/>
                      <a:pt x="22860" y="14383"/>
                    </a:cubicBezTo>
                    <a:cubicBezTo>
                      <a:pt x="20860" y="15621"/>
                      <a:pt x="19145" y="17621"/>
                      <a:pt x="17907" y="20384"/>
                    </a:cubicBezTo>
                    <a:cubicBezTo>
                      <a:pt x="16669" y="23146"/>
                      <a:pt x="15907" y="26956"/>
                      <a:pt x="15907" y="31528"/>
                    </a:cubicBezTo>
                    <a:cubicBezTo>
                      <a:pt x="15907" y="36100"/>
                      <a:pt x="16573" y="39719"/>
                      <a:pt x="17812" y="42482"/>
                    </a:cubicBezTo>
                    <a:cubicBezTo>
                      <a:pt x="19050" y="45244"/>
                      <a:pt x="20764" y="47244"/>
                      <a:pt x="22765" y="48482"/>
                    </a:cubicBezTo>
                    <a:cubicBezTo>
                      <a:pt x="24765" y="49721"/>
                      <a:pt x="26956" y="50292"/>
                      <a:pt x="29242" y="50292"/>
                    </a:cubicBezTo>
                    <a:cubicBezTo>
                      <a:pt x="33052" y="50292"/>
                      <a:pt x="36100" y="48673"/>
                      <a:pt x="38386" y="45529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16" name="Freeform: Shape 149">
                <a:extLst>
                  <a:ext uri="{FF2B5EF4-FFF2-40B4-BE49-F238E27FC236}">
                    <a16:creationId xmlns:a16="http://schemas.microsoft.com/office/drawing/2014/main" id="{FE082467-8CF4-D5AB-FA49-DE2836B1AC72}"/>
                  </a:ext>
                </a:extLst>
              </p:cNvPr>
              <p:cNvSpPr/>
              <p:nvPr/>
            </p:nvSpPr>
            <p:spPr>
              <a:xfrm>
                <a:off x="7230046" y="4213574"/>
                <a:ext cx="87058" cy="61722"/>
              </a:xfrm>
              <a:custGeom>
                <a:avLst/>
                <a:gdLst>
                  <a:gd name="connsiteX0" fmla="*/ 381 w 87058"/>
                  <a:gd name="connsiteY0" fmla="*/ 14669 h 61722"/>
                  <a:gd name="connsiteX1" fmla="*/ 286 w 87058"/>
                  <a:gd name="connsiteY1" fmla="*/ 6763 h 61722"/>
                  <a:gd name="connsiteX2" fmla="*/ 0 w 87058"/>
                  <a:gd name="connsiteY2" fmla="*/ 1238 h 61722"/>
                  <a:gd name="connsiteX3" fmla="*/ 14954 w 87058"/>
                  <a:gd name="connsiteY3" fmla="*/ 1238 h 61722"/>
                  <a:gd name="connsiteX4" fmla="*/ 15430 w 87058"/>
                  <a:gd name="connsiteY4" fmla="*/ 6191 h 61722"/>
                  <a:gd name="connsiteX5" fmla="*/ 15716 w 87058"/>
                  <a:gd name="connsiteY5" fmla="*/ 12097 h 61722"/>
                  <a:gd name="connsiteX6" fmla="*/ 15907 w 87058"/>
                  <a:gd name="connsiteY6" fmla="*/ 12097 h 61722"/>
                  <a:gd name="connsiteX7" fmla="*/ 23146 w 87058"/>
                  <a:gd name="connsiteY7" fmla="*/ 2953 h 61722"/>
                  <a:gd name="connsiteX8" fmla="*/ 33528 w 87058"/>
                  <a:gd name="connsiteY8" fmla="*/ 0 h 61722"/>
                  <a:gd name="connsiteX9" fmla="*/ 44577 w 87058"/>
                  <a:gd name="connsiteY9" fmla="*/ 3143 h 61722"/>
                  <a:gd name="connsiteX10" fmla="*/ 50292 w 87058"/>
                  <a:gd name="connsiteY10" fmla="*/ 12192 h 61722"/>
                  <a:gd name="connsiteX11" fmla="*/ 50673 w 87058"/>
                  <a:gd name="connsiteY11" fmla="*/ 12192 h 61722"/>
                  <a:gd name="connsiteX12" fmla="*/ 58102 w 87058"/>
                  <a:gd name="connsiteY12" fmla="*/ 2858 h 61722"/>
                  <a:gd name="connsiteX13" fmla="*/ 68961 w 87058"/>
                  <a:gd name="connsiteY13" fmla="*/ 95 h 61722"/>
                  <a:gd name="connsiteX14" fmla="*/ 82677 w 87058"/>
                  <a:gd name="connsiteY14" fmla="*/ 6477 h 61722"/>
                  <a:gd name="connsiteX15" fmla="*/ 87059 w 87058"/>
                  <a:gd name="connsiteY15" fmla="*/ 23431 h 61722"/>
                  <a:gd name="connsiteX16" fmla="*/ 87059 w 87058"/>
                  <a:gd name="connsiteY16" fmla="*/ 61722 h 61722"/>
                  <a:gd name="connsiteX17" fmla="*/ 71533 w 87058"/>
                  <a:gd name="connsiteY17" fmla="*/ 61722 h 61722"/>
                  <a:gd name="connsiteX18" fmla="*/ 71533 w 87058"/>
                  <a:gd name="connsiteY18" fmla="*/ 27908 h 61722"/>
                  <a:gd name="connsiteX19" fmla="*/ 69532 w 87058"/>
                  <a:gd name="connsiteY19" fmla="*/ 17431 h 61722"/>
                  <a:gd name="connsiteX20" fmla="*/ 62865 w 87058"/>
                  <a:gd name="connsiteY20" fmla="*/ 13716 h 61722"/>
                  <a:gd name="connsiteX21" fmla="*/ 57245 w 87058"/>
                  <a:gd name="connsiteY21" fmla="*/ 15621 h 61722"/>
                  <a:gd name="connsiteX22" fmla="*/ 53245 w 87058"/>
                  <a:gd name="connsiteY22" fmla="*/ 20860 h 61722"/>
                  <a:gd name="connsiteX23" fmla="*/ 51625 w 87058"/>
                  <a:gd name="connsiteY23" fmla="*/ 28575 h 61722"/>
                  <a:gd name="connsiteX24" fmla="*/ 51625 w 87058"/>
                  <a:gd name="connsiteY24" fmla="*/ 61722 h 61722"/>
                  <a:gd name="connsiteX25" fmla="*/ 36100 w 87058"/>
                  <a:gd name="connsiteY25" fmla="*/ 61722 h 61722"/>
                  <a:gd name="connsiteX26" fmla="*/ 36100 w 87058"/>
                  <a:gd name="connsiteY26" fmla="*/ 27908 h 61722"/>
                  <a:gd name="connsiteX27" fmla="*/ 34100 w 87058"/>
                  <a:gd name="connsiteY27" fmla="*/ 17431 h 61722"/>
                  <a:gd name="connsiteX28" fmla="*/ 27432 w 87058"/>
                  <a:gd name="connsiteY28" fmla="*/ 13716 h 61722"/>
                  <a:gd name="connsiteX29" fmla="*/ 21717 w 87058"/>
                  <a:gd name="connsiteY29" fmla="*/ 15716 h 61722"/>
                  <a:gd name="connsiteX30" fmla="*/ 17716 w 87058"/>
                  <a:gd name="connsiteY30" fmla="*/ 21241 h 61722"/>
                  <a:gd name="connsiteX31" fmla="*/ 16288 w 87058"/>
                  <a:gd name="connsiteY31" fmla="*/ 29337 h 61722"/>
                  <a:gd name="connsiteX32" fmla="*/ 16288 w 87058"/>
                  <a:gd name="connsiteY32" fmla="*/ 61722 h 61722"/>
                  <a:gd name="connsiteX33" fmla="*/ 571 w 87058"/>
                  <a:gd name="connsiteY33" fmla="*/ 61722 h 61722"/>
                  <a:gd name="connsiteX34" fmla="*/ 571 w 87058"/>
                  <a:gd name="connsiteY34" fmla="*/ 14859 h 61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87058" h="61722">
                    <a:moveTo>
                      <a:pt x="381" y="14669"/>
                    </a:moveTo>
                    <a:cubicBezTo>
                      <a:pt x="381" y="12097"/>
                      <a:pt x="381" y="9430"/>
                      <a:pt x="286" y="6763"/>
                    </a:cubicBezTo>
                    <a:cubicBezTo>
                      <a:pt x="191" y="4096"/>
                      <a:pt x="95" y="2191"/>
                      <a:pt x="0" y="1238"/>
                    </a:cubicBezTo>
                    <a:lnTo>
                      <a:pt x="14954" y="1238"/>
                    </a:lnTo>
                    <a:cubicBezTo>
                      <a:pt x="15145" y="2096"/>
                      <a:pt x="15240" y="3715"/>
                      <a:pt x="15430" y="6191"/>
                    </a:cubicBezTo>
                    <a:cubicBezTo>
                      <a:pt x="15621" y="8668"/>
                      <a:pt x="15716" y="10668"/>
                      <a:pt x="15716" y="12097"/>
                    </a:cubicBezTo>
                    <a:lnTo>
                      <a:pt x="15907" y="12097"/>
                    </a:lnTo>
                    <a:cubicBezTo>
                      <a:pt x="17812" y="8001"/>
                      <a:pt x="20193" y="4953"/>
                      <a:pt x="23146" y="2953"/>
                    </a:cubicBezTo>
                    <a:cubicBezTo>
                      <a:pt x="26098" y="953"/>
                      <a:pt x="29527" y="0"/>
                      <a:pt x="33528" y="0"/>
                    </a:cubicBezTo>
                    <a:cubicBezTo>
                      <a:pt x="38100" y="0"/>
                      <a:pt x="41720" y="1048"/>
                      <a:pt x="44577" y="3143"/>
                    </a:cubicBezTo>
                    <a:cubicBezTo>
                      <a:pt x="47434" y="5239"/>
                      <a:pt x="49339" y="8192"/>
                      <a:pt x="50292" y="12192"/>
                    </a:cubicBezTo>
                    <a:lnTo>
                      <a:pt x="50673" y="12192"/>
                    </a:lnTo>
                    <a:cubicBezTo>
                      <a:pt x="52674" y="7811"/>
                      <a:pt x="55245" y="4667"/>
                      <a:pt x="58102" y="2858"/>
                    </a:cubicBezTo>
                    <a:cubicBezTo>
                      <a:pt x="60960" y="1048"/>
                      <a:pt x="64675" y="95"/>
                      <a:pt x="68961" y="95"/>
                    </a:cubicBezTo>
                    <a:cubicBezTo>
                      <a:pt x="75248" y="95"/>
                      <a:pt x="79820" y="2191"/>
                      <a:pt x="82677" y="6477"/>
                    </a:cubicBezTo>
                    <a:cubicBezTo>
                      <a:pt x="85534" y="10763"/>
                      <a:pt x="87059" y="16383"/>
                      <a:pt x="87059" y="23431"/>
                    </a:cubicBezTo>
                    <a:lnTo>
                      <a:pt x="87059" y="61722"/>
                    </a:lnTo>
                    <a:lnTo>
                      <a:pt x="71533" y="61722"/>
                    </a:lnTo>
                    <a:lnTo>
                      <a:pt x="71533" y="27908"/>
                    </a:lnTo>
                    <a:cubicBezTo>
                      <a:pt x="71533" y="23336"/>
                      <a:pt x="70866" y="19907"/>
                      <a:pt x="69532" y="17431"/>
                    </a:cubicBezTo>
                    <a:cubicBezTo>
                      <a:pt x="68199" y="14954"/>
                      <a:pt x="66008" y="13716"/>
                      <a:pt x="62865" y="13716"/>
                    </a:cubicBezTo>
                    <a:cubicBezTo>
                      <a:pt x="60770" y="13716"/>
                      <a:pt x="58864" y="14383"/>
                      <a:pt x="57245" y="15621"/>
                    </a:cubicBezTo>
                    <a:cubicBezTo>
                      <a:pt x="55626" y="16859"/>
                      <a:pt x="54197" y="18574"/>
                      <a:pt x="53245" y="20860"/>
                    </a:cubicBezTo>
                    <a:cubicBezTo>
                      <a:pt x="52292" y="23146"/>
                      <a:pt x="51721" y="25718"/>
                      <a:pt x="51625" y="28575"/>
                    </a:cubicBezTo>
                    <a:lnTo>
                      <a:pt x="51625" y="61722"/>
                    </a:lnTo>
                    <a:lnTo>
                      <a:pt x="36100" y="61722"/>
                    </a:lnTo>
                    <a:lnTo>
                      <a:pt x="36100" y="27908"/>
                    </a:lnTo>
                    <a:cubicBezTo>
                      <a:pt x="36100" y="23336"/>
                      <a:pt x="35433" y="19907"/>
                      <a:pt x="34100" y="17431"/>
                    </a:cubicBezTo>
                    <a:cubicBezTo>
                      <a:pt x="32766" y="14954"/>
                      <a:pt x="30575" y="13716"/>
                      <a:pt x="27432" y="13716"/>
                    </a:cubicBezTo>
                    <a:cubicBezTo>
                      <a:pt x="25336" y="13716"/>
                      <a:pt x="23432" y="14383"/>
                      <a:pt x="21717" y="15716"/>
                    </a:cubicBezTo>
                    <a:cubicBezTo>
                      <a:pt x="20002" y="17050"/>
                      <a:pt x="18669" y="18860"/>
                      <a:pt x="17716" y="21241"/>
                    </a:cubicBezTo>
                    <a:cubicBezTo>
                      <a:pt x="16764" y="23622"/>
                      <a:pt x="16288" y="26289"/>
                      <a:pt x="16288" y="29337"/>
                    </a:cubicBezTo>
                    <a:lnTo>
                      <a:pt x="16288" y="61722"/>
                    </a:lnTo>
                    <a:lnTo>
                      <a:pt x="571" y="61722"/>
                    </a:lnTo>
                    <a:lnTo>
                      <a:pt x="571" y="14859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17" name="Freeform: Shape 150">
                <a:extLst>
                  <a:ext uri="{FF2B5EF4-FFF2-40B4-BE49-F238E27FC236}">
                    <a16:creationId xmlns:a16="http://schemas.microsoft.com/office/drawing/2014/main" id="{57B30242-C0F3-2689-0F30-7C7C238E6FFD}"/>
                  </a:ext>
                </a:extLst>
              </p:cNvPr>
              <p:cNvSpPr/>
              <p:nvPr/>
            </p:nvSpPr>
            <p:spPr>
              <a:xfrm>
                <a:off x="7327677" y="4213669"/>
                <a:ext cx="53149" cy="62674"/>
              </a:xfrm>
              <a:custGeom>
                <a:avLst/>
                <a:gdLst>
                  <a:gd name="connsiteX0" fmla="*/ 8954 w 53149"/>
                  <a:gd name="connsiteY0" fmla="*/ 60388 h 62674"/>
                  <a:gd name="connsiteX1" fmla="*/ 2381 w 53149"/>
                  <a:gd name="connsiteY1" fmla="*/ 54197 h 62674"/>
                  <a:gd name="connsiteX2" fmla="*/ 0 w 53149"/>
                  <a:gd name="connsiteY2" fmla="*/ 44387 h 62674"/>
                  <a:gd name="connsiteX3" fmla="*/ 6477 w 53149"/>
                  <a:gd name="connsiteY3" fmla="*/ 29813 h 62674"/>
                  <a:gd name="connsiteX4" fmla="*/ 23908 w 53149"/>
                  <a:gd name="connsiteY4" fmla="*/ 25051 h 62674"/>
                  <a:gd name="connsiteX5" fmla="*/ 36957 w 53149"/>
                  <a:gd name="connsiteY5" fmla="*/ 24860 h 62674"/>
                  <a:gd name="connsiteX6" fmla="*/ 36957 w 53149"/>
                  <a:gd name="connsiteY6" fmla="*/ 22003 h 62674"/>
                  <a:gd name="connsiteX7" fmla="*/ 34290 w 53149"/>
                  <a:gd name="connsiteY7" fmla="*/ 14288 h 62674"/>
                  <a:gd name="connsiteX8" fmla="*/ 27051 w 53149"/>
                  <a:gd name="connsiteY8" fmla="*/ 12097 h 62674"/>
                  <a:gd name="connsiteX9" fmla="*/ 10763 w 53149"/>
                  <a:gd name="connsiteY9" fmla="*/ 19431 h 62674"/>
                  <a:gd name="connsiteX10" fmla="*/ 3334 w 53149"/>
                  <a:gd name="connsiteY10" fmla="*/ 9620 h 62674"/>
                  <a:gd name="connsiteX11" fmla="*/ 27908 w 53149"/>
                  <a:gd name="connsiteY11" fmla="*/ 0 h 62674"/>
                  <a:gd name="connsiteX12" fmla="*/ 46196 w 53149"/>
                  <a:gd name="connsiteY12" fmla="*/ 5620 h 62674"/>
                  <a:gd name="connsiteX13" fmla="*/ 52674 w 53149"/>
                  <a:gd name="connsiteY13" fmla="*/ 21622 h 62674"/>
                  <a:gd name="connsiteX14" fmla="*/ 52674 w 53149"/>
                  <a:gd name="connsiteY14" fmla="*/ 43720 h 62674"/>
                  <a:gd name="connsiteX15" fmla="*/ 53150 w 53149"/>
                  <a:gd name="connsiteY15" fmla="*/ 61531 h 62674"/>
                  <a:gd name="connsiteX16" fmla="*/ 38291 w 53149"/>
                  <a:gd name="connsiteY16" fmla="*/ 61531 h 62674"/>
                  <a:gd name="connsiteX17" fmla="*/ 37909 w 53149"/>
                  <a:gd name="connsiteY17" fmla="*/ 53054 h 62674"/>
                  <a:gd name="connsiteX18" fmla="*/ 37529 w 53149"/>
                  <a:gd name="connsiteY18" fmla="*/ 53054 h 62674"/>
                  <a:gd name="connsiteX19" fmla="*/ 29813 w 53149"/>
                  <a:gd name="connsiteY19" fmla="*/ 60198 h 62674"/>
                  <a:gd name="connsiteX20" fmla="*/ 18765 w 53149"/>
                  <a:gd name="connsiteY20" fmla="*/ 62674 h 62674"/>
                  <a:gd name="connsiteX21" fmla="*/ 8954 w 53149"/>
                  <a:gd name="connsiteY21" fmla="*/ 60579 h 62674"/>
                  <a:gd name="connsiteX22" fmla="*/ 30575 w 53149"/>
                  <a:gd name="connsiteY22" fmla="*/ 48768 h 62674"/>
                  <a:gd name="connsiteX23" fmla="*/ 35338 w 53149"/>
                  <a:gd name="connsiteY23" fmla="*/ 43910 h 62674"/>
                  <a:gd name="connsiteX24" fmla="*/ 37052 w 53149"/>
                  <a:gd name="connsiteY24" fmla="*/ 37529 h 62674"/>
                  <a:gd name="connsiteX25" fmla="*/ 37052 w 53149"/>
                  <a:gd name="connsiteY25" fmla="*/ 34480 h 62674"/>
                  <a:gd name="connsiteX26" fmla="*/ 28956 w 53149"/>
                  <a:gd name="connsiteY26" fmla="*/ 34480 h 62674"/>
                  <a:gd name="connsiteX27" fmla="*/ 22289 w 53149"/>
                  <a:gd name="connsiteY27" fmla="*/ 35433 h 62674"/>
                  <a:gd name="connsiteX28" fmla="*/ 18098 w 53149"/>
                  <a:gd name="connsiteY28" fmla="*/ 37814 h 62674"/>
                  <a:gd name="connsiteX29" fmla="*/ 16478 w 53149"/>
                  <a:gd name="connsiteY29" fmla="*/ 43053 h 62674"/>
                  <a:gd name="connsiteX30" fmla="*/ 18479 w 53149"/>
                  <a:gd name="connsiteY30" fmla="*/ 48673 h 62674"/>
                  <a:gd name="connsiteX31" fmla="*/ 23813 w 53149"/>
                  <a:gd name="connsiteY31" fmla="*/ 50578 h 62674"/>
                  <a:gd name="connsiteX32" fmla="*/ 30671 w 53149"/>
                  <a:gd name="connsiteY32" fmla="*/ 48768 h 62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53149" h="62674">
                    <a:moveTo>
                      <a:pt x="8954" y="60388"/>
                    </a:moveTo>
                    <a:cubicBezTo>
                      <a:pt x="6191" y="58960"/>
                      <a:pt x="4000" y="56864"/>
                      <a:pt x="2381" y="54197"/>
                    </a:cubicBezTo>
                    <a:cubicBezTo>
                      <a:pt x="762" y="51530"/>
                      <a:pt x="0" y="48196"/>
                      <a:pt x="0" y="44387"/>
                    </a:cubicBezTo>
                    <a:cubicBezTo>
                      <a:pt x="0" y="37719"/>
                      <a:pt x="2191" y="32861"/>
                      <a:pt x="6477" y="29813"/>
                    </a:cubicBezTo>
                    <a:cubicBezTo>
                      <a:pt x="10763" y="26765"/>
                      <a:pt x="16573" y="25241"/>
                      <a:pt x="23908" y="25051"/>
                    </a:cubicBezTo>
                    <a:lnTo>
                      <a:pt x="36957" y="24860"/>
                    </a:lnTo>
                    <a:lnTo>
                      <a:pt x="36957" y="22003"/>
                    </a:lnTo>
                    <a:cubicBezTo>
                      <a:pt x="36957" y="18288"/>
                      <a:pt x="36100" y="15716"/>
                      <a:pt x="34290" y="14288"/>
                    </a:cubicBezTo>
                    <a:cubicBezTo>
                      <a:pt x="32480" y="12859"/>
                      <a:pt x="30099" y="12097"/>
                      <a:pt x="27051" y="12097"/>
                    </a:cubicBezTo>
                    <a:cubicBezTo>
                      <a:pt x="21717" y="12097"/>
                      <a:pt x="16288" y="14573"/>
                      <a:pt x="10763" y="19431"/>
                    </a:cubicBezTo>
                    <a:lnTo>
                      <a:pt x="3334" y="9620"/>
                    </a:lnTo>
                    <a:cubicBezTo>
                      <a:pt x="10573" y="3238"/>
                      <a:pt x="18765" y="0"/>
                      <a:pt x="27908" y="0"/>
                    </a:cubicBezTo>
                    <a:cubicBezTo>
                      <a:pt x="35719" y="0"/>
                      <a:pt x="41815" y="1905"/>
                      <a:pt x="46196" y="5620"/>
                    </a:cubicBezTo>
                    <a:cubicBezTo>
                      <a:pt x="50578" y="9334"/>
                      <a:pt x="52674" y="14669"/>
                      <a:pt x="52674" y="21622"/>
                    </a:cubicBezTo>
                    <a:lnTo>
                      <a:pt x="52674" y="43720"/>
                    </a:lnTo>
                    <a:cubicBezTo>
                      <a:pt x="52674" y="50387"/>
                      <a:pt x="52864" y="56293"/>
                      <a:pt x="53150" y="61531"/>
                    </a:cubicBezTo>
                    <a:lnTo>
                      <a:pt x="38291" y="61531"/>
                    </a:lnTo>
                    <a:cubicBezTo>
                      <a:pt x="38005" y="58864"/>
                      <a:pt x="37909" y="56102"/>
                      <a:pt x="37909" y="53054"/>
                    </a:cubicBezTo>
                    <a:lnTo>
                      <a:pt x="37529" y="53054"/>
                    </a:lnTo>
                    <a:cubicBezTo>
                      <a:pt x="35528" y="56102"/>
                      <a:pt x="32957" y="58483"/>
                      <a:pt x="29813" y="60198"/>
                    </a:cubicBezTo>
                    <a:cubicBezTo>
                      <a:pt x="26670" y="61913"/>
                      <a:pt x="22955" y="62674"/>
                      <a:pt x="18765" y="62674"/>
                    </a:cubicBezTo>
                    <a:cubicBezTo>
                      <a:pt x="15050" y="62674"/>
                      <a:pt x="11811" y="62008"/>
                      <a:pt x="8954" y="60579"/>
                    </a:cubicBezTo>
                    <a:close/>
                    <a:moveTo>
                      <a:pt x="30575" y="48768"/>
                    </a:moveTo>
                    <a:cubicBezTo>
                      <a:pt x="32575" y="47530"/>
                      <a:pt x="34195" y="45911"/>
                      <a:pt x="35338" y="43910"/>
                    </a:cubicBezTo>
                    <a:cubicBezTo>
                      <a:pt x="36481" y="41910"/>
                      <a:pt x="37052" y="39814"/>
                      <a:pt x="37052" y="37529"/>
                    </a:cubicBezTo>
                    <a:lnTo>
                      <a:pt x="37052" y="34480"/>
                    </a:lnTo>
                    <a:lnTo>
                      <a:pt x="28956" y="34480"/>
                    </a:lnTo>
                    <a:cubicBezTo>
                      <a:pt x="26194" y="34766"/>
                      <a:pt x="24003" y="35052"/>
                      <a:pt x="22289" y="35433"/>
                    </a:cubicBezTo>
                    <a:cubicBezTo>
                      <a:pt x="20574" y="35814"/>
                      <a:pt x="19145" y="36576"/>
                      <a:pt x="18098" y="37814"/>
                    </a:cubicBezTo>
                    <a:cubicBezTo>
                      <a:pt x="17050" y="39053"/>
                      <a:pt x="16478" y="40767"/>
                      <a:pt x="16478" y="43053"/>
                    </a:cubicBezTo>
                    <a:cubicBezTo>
                      <a:pt x="16478" y="45339"/>
                      <a:pt x="17145" y="47339"/>
                      <a:pt x="18479" y="48673"/>
                    </a:cubicBezTo>
                    <a:cubicBezTo>
                      <a:pt x="19812" y="50006"/>
                      <a:pt x="21622" y="50578"/>
                      <a:pt x="23813" y="50578"/>
                    </a:cubicBezTo>
                    <a:cubicBezTo>
                      <a:pt x="26384" y="50578"/>
                      <a:pt x="28670" y="50006"/>
                      <a:pt x="30671" y="48768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18" name="Freeform: Shape 151">
                <a:extLst>
                  <a:ext uri="{FF2B5EF4-FFF2-40B4-BE49-F238E27FC236}">
                    <a16:creationId xmlns:a16="http://schemas.microsoft.com/office/drawing/2014/main" id="{5B649475-E8AD-7968-34DD-2BDAB4D93B0C}"/>
                  </a:ext>
                </a:extLst>
              </p:cNvPr>
              <p:cNvSpPr/>
              <p:nvPr/>
            </p:nvSpPr>
            <p:spPr>
              <a:xfrm>
                <a:off x="7395210" y="4213574"/>
                <a:ext cx="55149" cy="61722"/>
              </a:xfrm>
              <a:custGeom>
                <a:avLst/>
                <a:gdLst>
                  <a:gd name="connsiteX0" fmla="*/ 381 w 55149"/>
                  <a:gd name="connsiteY0" fmla="*/ 14669 h 61722"/>
                  <a:gd name="connsiteX1" fmla="*/ 285 w 55149"/>
                  <a:gd name="connsiteY1" fmla="*/ 6763 h 61722"/>
                  <a:gd name="connsiteX2" fmla="*/ 0 w 55149"/>
                  <a:gd name="connsiteY2" fmla="*/ 1238 h 61722"/>
                  <a:gd name="connsiteX3" fmla="*/ 14954 w 55149"/>
                  <a:gd name="connsiteY3" fmla="*/ 1238 h 61722"/>
                  <a:gd name="connsiteX4" fmla="*/ 15430 w 55149"/>
                  <a:gd name="connsiteY4" fmla="*/ 6191 h 61722"/>
                  <a:gd name="connsiteX5" fmla="*/ 15716 w 55149"/>
                  <a:gd name="connsiteY5" fmla="*/ 12097 h 61722"/>
                  <a:gd name="connsiteX6" fmla="*/ 15907 w 55149"/>
                  <a:gd name="connsiteY6" fmla="*/ 12097 h 61722"/>
                  <a:gd name="connsiteX7" fmla="*/ 23907 w 55149"/>
                  <a:gd name="connsiteY7" fmla="*/ 2953 h 61722"/>
                  <a:gd name="connsiteX8" fmla="*/ 35337 w 55149"/>
                  <a:gd name="connsiteY8" fmla="*/ 0 h 61722"/>
                  <a:gd name="connsiteX9" fmla="*/ 50387 w 55149"/>
                  <a:gd name="connsiteY9" fmla="*/ 6382 h 61722"/>
                  <a:gd name="connsiteX10" fmla="*/ 55150 w 55149"/>
                  <a:gd name="connsiteY10" fmla="*/ 23336 h 61722"/>
                  <a:gd name="connsiteX11" fmla="*/ 55150 w 55149"/>
                  <a:gd name="connsiteY11" fmla="*/ 61627 h 61722"/>
                  <a:gd name="connsiteX12" fmla="*/ 39528 w 55149"/>
                  <a:gd name="connsiteY12" fmla="*/ 61627 h 61722"/>
                  <a:gd name="connsiteX13" fmla="*/ 39528 w 55149"/>
                  <a:gd name="connsiteY13" fmla="*/ 27813 h 61722"/>
                  <a:gd name="connsiteX14" fmla="*/ 37242 w 55149"/>
                  <a:gd name="connsiteY14" fmla="*/ 17240 h 61722"/>
                  <a:gd name="connsiteX15" fmla="*/ 29337 w 55149"/>
                  <a:gd name="connsiteY15" fmla="*/ 13526 h 61722"/>
                  <a:gd name="connsiteX16" fmla="*/ 22574 w 55149"/>
                  <a:gd name="connsiteY16" fmla="*/ 15526 h 61722"/>
                  <a:gd name="connsiteX17" fmla="*/ 17812 w 55149"/>
                  <a:gd name="connsiteY17" fmla="*/ 21146 h 61722"/>
                  <a:gd name="connsiteX18" fmla="*/ 16097 w 55149"/>
                  <a:gd name="connsiteY18" fmla="*/ 29337 h 61722"/>
                  <a:gd name="connsiteX19" fmla="*/ 16097 w 55149"/>
                  <a:gd name="connsiteY19" fmla="*/ 61722 h 61722"/>
                  <a:gd name="connsiteX20" fmla="*/ 381 w 55149"/>
                  <a:gd name="connsiteY20" fmla="*/ 61722 h 61722"/>
                  <a:gd name="connsiteX21" fmla="*/ 381 w 55149"/>
                  <a:gd name="connsiteY21" fmla="*/ 14859 h 61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55149" h="61722">
                    <a:moveTo>
                      <a:pt x="381" y="14669"/>
                    </a:moveTo>
                    <a:cubicBezTo>
                      <a:pt x="381" y="12097"/>
                      <a:pt x="381" y="9430"/>
                      <a:pt x="285" y="6763"/>
                    </a:cubicBezTo>
                    <a:cubicBezTo>
                      <a:pt x="190" y="4096"/>
                      <a:pt x="95" y="2191"/>
                      <a:pt x="0" y="1238"/>
                    </a:cubicBezTo>
                    <a:lnTo>
                      <a:pt x="14954" y="1238"/>
                    </a:lnTo>
                    <a:cubicBezTo>
                      <a:pt x="15144" y="2096"/>
                      <a:pt x="15240" y="3715"/>
                      <a:pt x="15430" y="6191"/>
                    </a:cubicBezTo>
                    <a:cubicBezTo>
                      <a:pt x="15621" y="8668"/>
                      <a:pt x="15716" y="10668"/>
                      <a:pt x="15716" y="12097"/>
                    </a:cubicBezTo>
                    <a:lnTo>
                      <a:pt x="15907" y="12097"/>
                    </a:lnTo>
                    <a:cubicBezTo>
                      <a:pt x="18002" y="8001"/>
                      <a:pt x="20669" y="4953"/>
                      <a:pt x="23907" y="2953"/>
                    </a:cubicBezTo>
                    <a:cubicBezTo>
                      <a:pt x="27146" y="953"/>
                      <a:pt x="30956" y="0"/>
                      <a:pt x="35337" y="0"/>
                    </a:cubicBezTo>
                    <a:cubicBezTo>
                      <a:pt x="42196" y="0"/>
                      <a:pt x="47244" y="2096"/>
                      <a:pt x="50387" y="6382"/>
                    </a:cubicBezTo>
                    <a:cubicBezTo>
                      <a:pt x="53530" y="10668"/>
                      <a:pt x="55150" y="16288"/>
                      <a:pt x="55150" y="23336"/>
                    </a:cubicBezTo>
                    <a:lnTo>
                      <a:pt x="55150" y="61627"/>
                    </a:lnTo>
                    <a:lnTo>
                      <a:pt x="39528" y="61627"/>
                    </a:lnTo>
                    <a:lnTo>
                      <a:pt x="39528" y="27813"/>
                    </a:lnTo>
                    <a:cubicBezTo>
                      <a:pt x="39528" y="23241"/>
                      <a:pt x="38766" y="19717"/>
                      <a:pt x="37242" y="17240"/>
                    </a:cubicBezTo>
                    <a:cubicBezTo>
                      <a:pt x="35719" y="14764"/>
                      <a:pt x="33051" y="13526"/>
                      <a:pt x="29337" y="13526"/>
                    </a:cubicBezTo>
                    <a:cubicBezTo>
                      <a:pt x="26765" y="13526"/>
                      <a:pt x="24574" y="14192"/>
                      <a:pt x="22574" y="15526"/>
                    </a:cubicBezTo>
                    <a:cubicBezTo>
                      <a:pt x="20574" y="16859"/>
                      <a:pt x="18955" y="18669"/>
                      <a:pt x="17812" y="21146"/>
                    </a:cubicBezTo>
                    <a:cubicBezTo>
                      <a:pt x="16669" y="23622"/>
                      <a:pt x="16097" y="26289"/>
                      <a:pt x="16097" y="29337"/>
                    </a:cubicBezTo>
                    <a:lnTo>
                      <a:pt x="16097" y="61722"/>
                    </a:lnTo>
                    <a:lnTo>
                      <a:pt x="381" y="61722"/>
                    </a:lnTo>
                    <a:lnTo>
                      <a:pt x="381" y="14859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19" name="Freeform: Shape 152">
                <a:extLst>
                  <a:ext uri="{FF2B5EF4-FFF2-40B4-BE49-F238E27FC236}">
                    <a16:creationId xmlns:a16="http://schemas.microsoft.com/office/drawing/2014/main" id="{E187326E-0AA3-0395-E9E4-78C73FD84603}"/>
                  </a:ext>
                </a:extLst>
              </p:cNvPr>
              <p:cNvSpPr/>
              <p:nvPr/>
            </p:nvSpPr>
            <p:spPr>
              <a:xfrm>
                <a:off x="7461027" y="4213669"/>
                <a:ext cx="53149" cy="62674"/>
              </a:xfrm>
              <a:custGeom>
                <a:avLst/>
                <a:gdLst>
                  <a:gd name="connsiteX0" fmla="*/ 8954 w 53149"/>
                  <a:gd name="connsiteY0" fmla="*/ 60388 h 62674"/>
                  <a:gd name="connsiteX1" fmla="*/ 2381 w 53149"/>
                  <a:gd name="connsiteY1" fmla="*/ 54197 h 62674"/>
                  <a:gd name="connsiteX2" fmla="*/ 0 w 53149"/>
                  <a:gd name="connsiteY2" fmla="*/ 44387 h 62674"/>
                  <a:gd name="connsiteX3" fmla="*/ 6477 w 53149"/>
                  <a:gd name="connsiteY3" fmla="*/ 29813 h 62674"/>
                  <a:gd name="connsiteX4" fmla="*/ 23908 w 53149"/>
                  <a:gd name="connsiteY4" fmla="*/ 25051 h 62674"/>
                  <a:gd name="connsiteX5" fmla="*/ 36957 w 53149"/>
                  <a:gd name="connsiteY5" fmla="*/ 24860 h 62674"/>
                  <a:gd name="connsiteX6" fmla="*/ 36957 w 53149"/>
                  <a:gd name="connsiteY6" fmla="*/ 22003 h 62674"/>
                  <a:gd name="connsiteX7" fmla="*/ 34290 w 53149"/>
                  <a:gd name="connsiteY7" fmla="*/ 14288 h 62674"/>
                  <a:gd name="connsiteX8" fmla="*/ 27051 w 53149"/>
                  <a:gd name="connsiteY8" fmla="*/ 12097 h 62674"/>
                  <a:gd name="connsiteX9" fmla="*/ 10763 w 53149"/>
                  <a:gd name="connsiteY9" fmla="*/ 19431 h 62674"/>
                  <a:gd name="connsiteX10" fmla="*/ 3334 w 53149"/>
                  <a:gd name="connsiteY10" fmla="*/ 9620 h 62674"/>
                  <a:gd name="connsiteX11" fmla="*/ 27908 w 53149"/>
                  <a:gd name="connsiteY11" fmla="*/ 0 h 62674"/>
                  <a:gd name="connsiteX12" fmla="*/ 46196 w 53149"/>
                  <a:gd name="connsiteY12" fmla="*/ 5620 h 62674"/>
                  <a:gd name="connsiteX13" fmla="*/ 52674 w 53149"/>
                  <a:gd name="connsiteY13" fmla="*/ 21622 h 62674"/>
                  <a:gd name="connsiteX14" fmla="*/ 52674 w 53149"/>
                  <a:gd name="connsiteY14" fmla="*/ 43720 h 62674"/>
                  <a:gd name="connsiteX15" fmla="*/ 53150 w 53149"/>
                  <a:gd name="connsiteY15" fmla="*/ 61531 h 62674"/>
                  <a:gd name="connsiteX16" fmla="*/ 38291 w 53149"/>
                  <a:gd name="connsiteY16" fmla="*/ 61531 h 62674"/>
                  <a:gd name="connsiteX17" fmla="*/ 37909 w 53149"/>
                  <a:gd name="connsiteY17" fmla="*/ 53054 h 62674"/>
                  <a:gd name="connsiteX18" fmla="*/ 37529 w 53149"/>
                  <a:gd name="connsiteY18" fmla="*/ 53054 h 62674"/>
                  <a:gd name="connsiteX19" fmla="*/ 29813 w 53149"/>
                  <a:gd name="connsiteY19" fmla="*/ 60198 h 62674"/>
                  <a:gd name="connsiteX20" fmla="*/ 18765 w 53149"/>
                  <a:gd name="connsiteY20" fmla="*/ 62674 h 62674"/>
                  <a:gd name="connsiteX21" fmla="*/ 8954 w 53149"/>
                  <a:gd name="connsiteY21" fmla="*/ 60579 h 62674"/>
                  <a:gd name="connsiteX22" fmla="*/ 30575 w 53149"/>
                  <a:gd name="connsiteY22" fmla="*/ 48768 h 62674"/>
                  <a:gd name="connsiteX23" fmla="*/ 35338 w 53149"/>
                  <a:gd name="connsiteY23" fmla="*/ 43910 h 62674"/>
                  <a:gd name="connsiteX24" fmla="*/ 37052 w 53149"/>
                  <a:gd name="connsiteY24" fmla="*/ 37529 h 62674"/>
                  <a:gd name="connsiteX25" fmla="*/ 37052 w 53149"/>
                  <a:gd name="connsiteY25" fmla="*/ 34480 h 62674"/>
                  <a:gd name="connsiteX26" fmla="*/ 28956 w 53149"/>
                  <a:gd name="connsiteY26" fmla="*/ 34480 h 62674"/>
                  <a:gd name="connsiteX27" fmla="*/ 22289 w 53149"/>
                  <a:gd name="connsiteY27" fmla="*/ 35433 h 62674"/>
                  <a:gd name="connsiteX28" fmla="*/ 18098 w 53149"/>
                  <a:gd name="connsiteY28" fmla="*/ 37814 h 62674"/>
                  <a:gd name="connsiteX29" fmla="*/ 16478 w 53149"/>
                  <a:gd name="connsiteY29" fmla="*/ 43053 h 62674"/>
                  <a:gd name="connsiteX30" fmla="*/ 18479 w 53149"/>
                  <a:gd name="connsiteY30" fmla="*/ 48673 h 62674"/>
                  <a:gd name="connsiteX31" fmla="*/ 23813 w 53149"/>
                  <a:gd name="connsiteY31" fmla="*/ 50578 h 62674"/>
                  <a:gd name="connsiteX32" fmla="*/ 30671 w 53149"/>
                  <a:gd name="connsiteY32" fmla="*/ 48768 h 62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53149" h="62674">
                    <a:moveTo>
                      <a:pt x="8954" y="60388"/>
                    </a:moveTo>
                    <a:cubicBezTo>
                      <a:pt x="6191" y="58960"/>
                      <a:pt x="4000" y="56864"/>
                      <a:pt x="2381" y="54197"/>
                    </a:cubicBezTo>
                    <a:cubicBezTo>
                      <a:pt x="762" y="51530"/>
                      <a:pt x="0" y="48196"/>
                      <a:pt x="0" y="44387"/>
                    </a:cubicBezTo>
                    <a:cubicBezTo>
                      <a:pt x="0" y="37719"/>
                      <a:pt x="2191" y="32861"/>
                      <a:pt x="6477" y="29813"/>
                    </a:cubicBezTo>
                    <a:cubicBezTo>
                      <a:pt x="10763" y="26765"/>
                      <a:pt x="16573" y="25241"/>
                      <a:pt x="23908" y="25051"/>
                    </a:cubicBezTo>
                    <a:lnTo>
                      <a:pt x="36957" y="24860"/>
                    </a:lnTo>
                    <a:lnTo>
                      <a:pt x="36957" y="22003"/>
                    </a:lnTo>
                    <a:cubicBezTo>
                      <a:pt x="36957" y="18288"/>
                      <a:pt x="36100" y="15716"/>
                      <a:pt x="34290" y="14288"/>
                    </a:cubicBezTo>
                    <a:cubicBezTo>
                      <a:pt x="32480" y="12859"/>
                      <a:pt x="30099" y="12097"/>
                      <a:pt x="27051" y="12097"/>
                    </a:cubicBezTo>
                    <a:cubicBezTo>
                      <a:pt x="21717" y="12097"/>
                      <a:pt x="16288" y="14573"/>
                      <a:pt x="10763" y="19431"/>
                    </a:cubicBezTo>
                    <a:lnTo>
                      <a:pt x="3334" y="9620"/>
                    </a:lnTo>
                    <a:cubicBezTo>
                      <a:pt x="10573" y="3238"/>
                      <a:pt x="18765" y="0"/>
                      <a:pt x="27908" y="0"/>
                    </a:cubicBezTo>
                    <a:cubicBezTo>
                      <a:pt x="35719" y="0"/>
                      <a:pt x="41815" y="1905"/>
                      <a:pt x="46196" y="5620"/>
                    </a:cubicBezTo>
                    <a:cubicBezTo>
                      <a:pt x="50578" y="9334"/>
                      <a:pt x="52674" y="14669"/>
                      <a:pt x="52674" y="21622"/>
                    </a:cubicBezTo>
                    <a:lnTo>
                      <a:pt x="52674" y="43720"/>
                    </a:lnTo>
                    <a:cubicBezTo>
                      <a:pt x="52674" y="50387"/>
                      <a:pt x="52864" y="56293"/>
                      <a:pt x="53150" y="61531"/>
                    </a:cubicBezTo>
                    <a:lnTo>
                      <a:pt x="38291" y="61531"/>
                    </a:lnTo>
                    <a:cubicBezTo>
                      <a:pt x="38005" y="58864"/>
                      <a:pt x="37909" y="56102"/>
                      <a:pt x="37909" y="53054"/>
                    </a:cubicBezTo>
                    <a:lnTo>
                      <a:pt x="37529" y="53054"/>
                    </a:lnTo>
                    <a:cubicBezTo>
                      <a:pt x="35528" y="56102"/>
                      <a:pt x="32957" y="58483"/>
                      <a:pt x="29813" y="60198"/>
                    </a:cubicBezTo>
                    <a:cubicBezTo>
                      <a:pt x="26670" y="61913"/>
                      <a:pt x="22955" y="62674"/>
                      <a:pt x="18765" y="62674"/>
                    </a:cubicBezTo>
                    <a:cubicBezTo>
                      <a:pt x="15050" y="62674"/>
                      <a:pt x="11811" y="62008"/>
                      <a:pt x="8954" y="60579"/>
                    </a:cubicBezTo>
                    <a:close/>
                    <a:moveTo>
                      <a:pt x="30575" y="48768"/>
                    </a:moveTo>
                    <a:cubicBezTo>
                      <a:pt x="32575" y="47530"/>
                      <a:pt x="34195" y="45911"/>
                      <a:pt x="35338" y="43910"/>
                    </a:cubicBezTo>
                    <a:cubicBezTo>
                      <a:pt x="36481" y="41910"/>
                      <a:pt x="37052" y="39814"/>
                      <a:pt x="37052" y="37529"/>
                    </a:cubicBezTo>
                    <a:lnTo>
                      <a:pt x="37052" y="34480"/>
                    </a:lnTo>
                    <a:lnTo>
                      <a:pt x="28956" y="34480"/>
                    </a:lnTo>
                    <a:cubicBezTo>
                      <a:pt x="26194" y="34766"/>
                      <a:pt x="24003" y="35052"/>
                      <a:pt x="22289" y="35433"/>
                    </a:cubicBezTo>
                    <a:cubicBezTo>
                      <a:pt x="20574" y="35814"/>
                      <a:pt x="19145" y="36576"/>
                      <a:pt x="18098" y="37814"/>
                    </a:cubicBezTo>
                    <a:cubicBezTo>
                      <a:pt x="17050" y="39053"/>
                      <a:pt x="16478" y="40767"/>
                      <a:pt x="16478" y="43053"/>
                    </a:cubicBezTo>
                    <a:cubicBezTo>
                      <a:pt x="16478" y="45339"/>
                      <a:pt x="17145" y="47339"/>
                      <a:pt x="18479" y="48673"/>
                    </a:cubicBezTo>
                    <a:cubicBezTo>
                      <a:pt x="19812" y="50006"/>
                      <a:pt x="21622" y="50578"/>
                      <a:pt x="23813" y="50578"/>
                    </a:cubicBezTo>
                    <a:cubicBezTo>
                      <a:pt x="26384" y="50578"/>
                      <a:pt x="28670" y="50006"/>
                      <a:pt x="30671" y="48768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20" name="Freeform: Shape 153">
                <a:extLst>
                  <a:ext uri="{FF2B5EF4-FFF2-40B4-BE49-F238E27FC236}">
                    <a16:creationId xmlns:a16="http://schemas.microsoft.com/office/drawing/2014/main" id="{0C4FD794-D074-154E-B268-9C2CA29E67E6}"/>
                  </a:ext>
                </a:extLst>
              </p:cNvPr>
              <p:cNvSpPr/>
              <p:nvPr/>
            </p:nvSpPr>
            <p:spPr>
              <a:xfrm>
                <a:off x="7524559" y="4209097"/>
                <a:ext cx="60769" cy="89725"/>
              </a:xfrm>
              <a:custGeom>
                <a:avLst/>
                <a:gdLst>
                  <a:gd name="connsiteX0" fmla="*/ 48196 w 60769"/>
                  <a:gd name="connsiteY0" fmla="*/ 54293 h 89725"/>
                  <a:gd name="connsiteX1" fmla="*/ 57245 w 60769"/>
                  <a:gd name="connsiteY1" fmla="*/ 59246 h 89725"/>
                  <a:gd name="connsiteX2" fmla="*/ 60770 w 60769"/>
                  <a:gd name="connsiteY2" fmla="*/ 70866 h 89725"/>
                  <a:gd name="connsiteX3" fmla="*/ 53150 w 60769"/>
                  <a:gd name="connsiteY3" fmla="*/ 85058 h 89725"/>
                  <a:gd name="connsiteX4" fmla="*/ 28956 w 60769"/>
                  <a:gd name="connsiteY4" fmla="*/ 89726 h 89725"/>
                  <a:gd name="connsiteX5" fmla="*/ 12192 w 60769"/>
                  <a:gd name="connsiteY5" fmla="*/ 88297 h 89725"/>
                  <a:gd name="connsiteX6" fmla="*/ 2953 w 60769"/>
                  <a:gd name="connsiteY6" fmla="*/ 83629 h 89725"/>
                  <a:gd name="connsiteX7" fmla="*/ 0 w 60769"/>
                  <a:gd name="connsiteY7" fmla="*/ 74867 h 89725"/>
                  <a:gd name="connsiteX8" fmla="*/ 2000 w 60769"/>
                  <a:gd name="connsiteY8" fmla="*/ 68009 h 89725"/>
                  <a:gd name="connsiteX9" fmla="*/ 8001 w 60769"/>
                  <a:gd name="connsiteY9" fmla="*/ 62198 h 89725"/>
                  <a:gd name="connsiteX10" fmla="*/ 4286 w 60769"/>
                  <a:gd name="connsiteY10" fmla="*/ 53626 h 89725"/>
                  <a:gd name="connsiteX11" fmla="*/ 6191 w 60769"/>
                  <a:gd name="connsiteY11" fmla="*/ 46768 h 89725"/>
                  <a:gd name="connsiteX12" fmla="*/ 11621 w 60769"/>
                  <a:gd name="connsiteY12" fmla="*/ 40958 h 89725"/>
                  <a:gd name="connsiteX13" fmla="*/ 5144 w 60769"/>
                  <a:gd name="connsiteY13" fmla="*/ 34290 h 89725"/>
                  <a:gd name="connsiteX14" fmla="*/ 2953 w 60769"/>
                  <a:gd name="connsiteY14" fmla="*/ 24860 h 89725"/>
                  <a:gd name="connsiteX15" fmla="*/ 5525 w 60769"/>
                  <a:gd name="connsiteY15" fmla="*/ 14478 h 89725"/>
                  <a:gd name="connsiteX16" fmla="*/ 13811 w 60769"/>
                  <a:gd name="connsiteY16" fmla="*/ 7239 h 89725"/>
                  <a:gd name="connsiteX17" fmla="*/ 28290 w 60769"/>
                  <a:gd name="connsiteY17" fmla="*/ 4572 h 89725"/>
                  <a:gd name="connsiteX18" fmla="*/ 43720 w 60769"/>
                  <a:gd name="connsiteY18" fmla="*/ 7906 h 89725"/>
                  <a:gd name="connsiteX19" fmla="*/ 50102 w 60769"/>
                  <a:gd name="connsiteY19" fmla="*/ 2000 h 89725"/>
                  <a:gd name="connsiteX20" fmla="*/ 58388 w 60769"/>
                  <a:gd name="connsiteY20" fmla="*/ 0 h 89725"/>
                  <a:gd name="connsiteX21" fmla="*/ 58579 w 60769"/>
                  <a:gd name="connsiteY21" fmla="*/ 0 h 89725"/>
                  <a:gd name="connsiteX22" fmla="*/ 59150 w 60769"/>
                  <a:gd name="connsiteY22" fmla="*/ 12763 h 89725"/>
                  <a:gd name="connsiteX23" fmla="*/ 58960 w 60769"/>
                  <a:gd name="connsiteY23" fmla="*/ 12763 h 89725"/>
                  <a:gd name="connsiteX24" fmla="*/ 50578 w 60769"/>
                  <a:gd name="connsiteY24" fmla="*/ 14002 h 89725"/>
                  <a:gd name="connsiteX25" fmla="*/ 53530 w 60769"/>
                  <a:gd name="connsiteY25" fmla="*/ 24860 h 89725"/>
                  <a:gd name="connsiteX26" fmla="*/ 50864 w 60769"/>
                  <a:gd name="connsiteY26" fmla="*/ 35052 h 89725"/>
                  <a:gd name="connsiteX27" fmla="*/ 42482 w 60769"/>
                  <a:gd name="connsiteY27" fmla="*/ 42196 h 89725"/>
                  <a:gd name="connsiteX28" fmla="*/ 28099 w 60769"/>
                  <a:gd name="connsiteY28" fmla="*/ 44863 h 89725"/>
                  <a:gd name="connsiteX29" fmla="*/ 20479 w 60769"/>
                  <a:gd name="connsiteY29" fmla="*/ 44196 h 89725"/>
                  <a:gd name="connsiteX30" fmla="*/ 18765 w 60769"/>
                  <a:gd name="connsiteY30" fmla="*/ 46292 h 89725"/>
                  <a:gd name="connsiteX31" fmla="*/ 18193 w 60769"/>
                  <a:gd name="connsiteY31" fmla="*/ 48387 h 89725"/>
                  <a:gd name="connsiteX32" fmla="*/ 19336 w 60769"/>
                  <a:gd name="connsiteY32" fmla="*/ 50673 h 89725"/>
                  <a:gd name="connsiteX33" fmla="*/ 22670 w 60769"/>
                  <a:gd name="connsiteY33" fmla="*/ 51721 h 89725"/>
                  <a:gd name="connsiteX34" fmla="*/ 29623 w 60769"/>
                  <a:gd name="connsiteY34" fmla="*/ 52292 h 89725"/>
                  <a:gd name="connsiteX35" fmla="*/ 32385 w 60769"/>
                  <a:gd name="connsiteY35" fmla="*/ 52483 h 89725"/>
                  <a:gd name="connsiteX36" fmla="*/ 48387 w 60769"/>
                  <a:gd name="connsiteY36" fmla="*/ 54293 h 89725"/>
                  <a:gd name="connsiteX37" fmla="*/ 41815 w 60769"/>
                  <a:gd name="connsiteY37" fmla="*/ 77248 h 89725"/>
                  <a:gd name="connsiteX38" fmla="*/ 45815 w 60769"/>
                  <a:gd name="connsiteY38" fmla="*/ 72771 h 89725"/>
                  <a:gd name="connsiteX39" fmla="*/ 44196 w 60769"/>
                  <a:gd name="connsiteY39" fmla="*/ 69437 h 89725"/>
                  <a:gd name="connsiteX40" fmla="*/ 39434 w 60769"/>
                  <a:gd name="connsiteY40" fmla="*/ 67913 h 89725"/>
                  <a:gd name="connsiteX41" fmla="*/ 29433 w 60769"/>
                  <a:gd name="connsiteY41" fmla="*/ 66961 h 89725"/>
                  <a:gd name="connsiteX42" fmla="*/ 27242 w 60769"/>
                  <a:gd name="connsiteY42" fmla="*/ 66770 h 89725"/>
                  <a:gd name="connsiteX43" fmla="*/ 23146 w 60769"/>
                  <a:gd name="connsiteY43" fmla="*/ 66485 h 89725"/>
                  <a:gd name="connsiteX44" fmla="*/ 16764 w 60769"/>
                  <a:gd name="connsiteY44" fmla="*/ 65722 h 89725"/>
                  <a:gd name="connsiteX45" fmla="*/ 14764 w 60769"/>
                  <a:gd name="connsiteY45" fmla="*/ 69056 h 89725"/>
                  <a:gd name="connsiteX46" fmla="*/ 14097 w 60769"/>
                  <a:gd name="connsiteY46" fmla="*/ 72676 h 89725"/>
                  <a:gd name="connsiteX47" fmla="*/ 15716 w 60769"/>
                  <a:gd name="connsiteY47" fmla="*/ 76486 h 89725"/>
                  <a:gd name="connsiteX48" fmla="*/ 20479 w 60769"/>
                  <a:gd name="connsiteY48" fmla="*/ 78200 h 89725"/>
                  <a:gd name="connsiteX49" fmla="*/ 29433 w 60769"/>
                  <a:gd name="connsiteY49" fmla="*/ 78581 h 89725"/>
                  <a:gd name="connsiteX50" fmla="*/ 41815 w 60769"/>
                  <a:gd name="connsiteY50" fmla="*/ 77343 h 89725"/>
                  <a:gd name="connsiteX51" fmla="*/ 20288 w 60769"/>
                  <a:gd name="connsiteY51" fmla="*/ 17717 h 89725"/>
                  <a:gd name="connsiteX52" fmla="*/ 17717 w 60769"/>
                  <a:gd name="connsiteY52" fmla="*/ 24860 h 89725"/>
                  <a:gd name="connsiteX53" fmla="*/ 20288 w 60769"/>
                  <a:gd name="connsiteY53" fmla="*/ 31813 h 89725"/>
                  <a:gd name="connsiteX54" fmla="*/ 27718 w 60769"/>
                  <a:gd name="connsiteY54" fmla="*/ 34290 h 89725"/>
                  <a:gd name="connsiteX55" fmla="*/ 36005 w 60769"/>
                  <a:gd name="connsiteY55" fmla="*/ 31813 h 89725"/>
                  <a:gd name="connsiteX56" fmla="*/ 38481 w 60769"/>
                  <a:gd name="connsiteY56" fmla="*/ 24860 h 89725"/>
                  <a:gd name="connsiteX57" fmla="*/ 35909 w 60769"/>
                  <a:gd name="connsiteY57" fmla="*/ 17717 h 89725"/>
                  <a:gd name="connsiteX58" fmla="*/ 28004 w 60769"/>
                  <a:gd name="connsiteY58" fmla="*/ 15145 h 89725"/>
                  <a:gd name="connsiteX59" fmla="*/ 20193 w 60769"/>
                  <a:gd name="connsiteY59" fmla="*/ 17717 h 89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</a:cxnLst>
                <a:rect l="l" t="t" r="r" b="b"/>
                <a:pathLst>
                  <a:path w="60769" h="89725">
                    <a:moveTo>
                      <a:pt x="48196" y="54293"/>
                    </a:moveTo>
                    <a:cubicBezTo>
                      <a:pt x="51816" y="55054"/>
                      <a:pt x="54864" y="56674"/>
                      <a:pt x="57245" y="59246"/>
                    </a:cubicBezTo>
                    <a:cubicBezTo>
                      <a:pt x="59627" y="61817"/>
                      <a:pt x="60770" y="65627"/>
                      <a:pt x="60770" y="70866"/>
                    </a:cubicBezTo>
                    <a:cubicBezTo>
                      <a:pt x="60770" y="77248"/>
                      <a:pt x="58198" y="82010"/>
                      <a:pt x="53150" y="85058"/>
                    </a:cubicBezTo>
                    <a:cubicBezTo>
                      <a:pt x="48102" y="88106"/>
                      <a:pt x="40005" y="89726"/>
                      <a:pt x="28956" y="89726"/>
                    </a:cubicBezTo>
                    <a:cubicBezTo>
                      <a:pt x="22003" y="89726"/>
                      <a:pt x="16383" y="89249"/>
                      <a:pt x="12192" y="88297"/>
                    </a:cubicBezTo>
                    <a:cubicBezTo>
                      <a:pt x="8001" y="87344"/>
                      <a:pt x="4953" y="85820"/>
                      <a:pt x="2953" y="83629"/>
                    </a:cubicBezTo>
                    <a:cubicBezTo>
                      <a:pt x="953" y="81439"/>
                      <a:pt x="0" y="78581"/>
                      <a:pt x="0" y="74867"/>
                    </a:cubicBezTo>
                    <a:cubicBezTo>
                      <a:pt x="0" y="72295"/>
                      <a:pt x="667" y="70009"/>
                      <a:pt x="2000" y="68009"/>
                    </a:cubicBezTo>
                    <a:cubicBezTo>
                      <a:pt x="3334" y="66008"/>
                      <a:pt x="5334" y="64008"/>
                      <a:pt x="8001" y="62198"/>
                    </a:cubicBezTo>
                    <a:cubicBezTo>
                      <a:pt x="5525" y="60198"/>
                      <a:pt x="4286" y="57341"/>
                      <a:pt x="4286" y="53626"/>
                    </a:cubicBezTo>
                    <a:cubicBezTo>
                      <a:pt x="4286" y="51054"/>
                      <a:pt x="4953" y="48863"/>
                      <a:pt x="6191" y="46768"/>
                    </a:cubicBezTo>
                    <a:cubicBezTo>
                      <a:pt x="7430" y="44672"/>
                      <a:pt x="9240" y="42767"/>
                      <a:pt x="11621" y="40958"/>
                    </a:cubicBezTo>
                    <a:cubicBezTo>
                      <a:pt x="8763" y="39243"/>
                      <a:pt x="6668" y="37052"/>
                      <a:pt x="5144" y="34290"/>
                    </a:cubicBezTo>
                    <a:cubicBezTo>
                      <a:pt x="3620" y="31528"/>
                      <a:pt x="2953" y="28385"/>
                      <a:pt x="2953" y="24860"/>
                    </a:cubicBezTo>
                    <a:cubicBezTo>
                      <a:pt x="2953" y="20955"/>
                      <a:pt x="3810" y="17526"/>
                      <a:pt x="5525" y="14478"/>
                    </a:cubicBezTo>
                    <a:cubicBezTo>
                      <a:pt x="7239" y="11430"/>
                      <a:pt x="10002" y="8954"/>
                      <a:pt x="13811" y="7239"/>
                    </a:cubicBezTo>
                    <a:cubicBezTo>
                      <a:pt x="17622" y="5525"/>
                      <a:pt x="22384" y="4572"/>
                      <a:pt x="28290" y="4572"/>
                    </a:cubicBezTo>
                    <a:cubicBezTo>
                      <a:pt x="34480" y="4572"/>
                      <a:pt x="39624" y="5715"/>
                      <a:pt x="43720" y="7906"/>
                    </a:cubicBezTo>
                    <a:cubicBezTo>
                      <a:pt x="45625" y="5334"/>
                      <a:pt x="47816" y="3334"/>
                      <a:pt x="50102" y="2000"/>
                    </a:cubicBezTo>
                    <a:cubicBezTo>
                      <a:pt x="52388" y="667"/>
                      <a:pt x="55150" y="0"/>
                      <a:pt x="58388" y="0"/>
                    </a:cubicBezTo>
                    <a:lnTo>
                      <a:pt x="58579" y="0"/>
                    </a:lnTo>
                    <a:lnTo>
                      <a:pt x="59150" y="12763"/>
                    </a:lnTo>
                    <a:lnTo>
                      <a:pt x="58960" y="12763"/>
                    </a:lnTo>
                    <a:cubicBezTo>
                      <a:pt x="55722" y="12763"/>
                      <a:pt x="52959" y="13145"/>
                      <a:pt x="50578" y="14002"/>
                    </a:cubicBezTo>
                    <a:cubicBezTo>
                      <a:pt x="52578" y="17145"/>
                      <a:pt x="53530" y="20764"/>
                      <a:pt x="53530" y="24860"/>
                    </a:cubicBezTo>
                    <a:cubicBezTo>
                      <a:pt x="53530" y="28575"/>
                      <a:pt x="52674" y="32004"/>
                      <a:pt x="50864" y="35052"/>
                    </a:cubicBezTo>
                    <a:cubicBezTo>
                      <a:pt x="49054" y="38100"/>
                      <a:pt x="46292" y="40481"/>
                      <a:pt x="42482" y="42196"/>
                    </a:cubicBezTo>
                    <a:cubicBezTo>
                      <a:pt x="38671" y="43910"/>
                      <a:pt x="33814" y="44863"/>
                      <a:pt x="28099" y="44863"/>
                    </a:cubicBezTo>
                    <a:cubicBezTo>
                      <a:pt x="25337" y="44863"/>
                      <a:pt x="22860" y="44672"/>
                      <a:pt x="20479" y="44196"/>
                    </a:cubicBezTo>
                    <a:cubicBezTo>
                      <a:pt x="19717" y="44958"/>
                      <a:pt x="19145" y="45720"/>
                      <a:pt x="18765" y="46292"/>
                    </a:cubicBezTo>
                    <a:cubicBezTo>
                      <a:pt x="18383" y="46863"/>
                      <a:pt x="18193" y="47625"/>
                      <a:pt x="18193" y="48387"/>
                    </a:cubicBezTo>
                    <a:cubicBezTo>
                      <a:pt x="18193" y="49435"/>
                      <a:pt x="18574" y="50197"/>
                      <a:pt x="19336" y="50673"/>
                    </a:cubicBezTo>
                    <a:cubicBezTo>
                      <a:pt x="20098" y="51149"/>
                      <a:pt x="21241" y="51530"/>
                      <a:pt x="22670" y="51721"/>
                    </a:cubicBezTo>
                    <a:cubicBezTo>
                      <a:pt x="24099" y="51911"/>
                      <a:pt x="26480" y="52102"/>
                      <a:pt x="29623" y="52292"/>
                    </a:cubicBezTo>
                    <a:lnTo>
                      <a:pt x="32385" y="52483"/>
                    </a:lnTo>
                    <a:cubicBezTo>
                      <a:pt x="39434" y="52959"/>
                      <a:pt x="44768" y="53530"/>
                      <a:pt x="48387" y="54293"/>
                    </a:cubicBezTo>
                    <a:close/>
                    <a:moveTo>
                      <a:pt x="41815" y="77248"/>
                    </a:moveTo>
                    <a:cubicBezTo>
                      <a:pt x="44482" y="76391"/>
                      <a:pt x="45815" y="74962"/>
                      <a:pt x="45815" y="72771"/>
                    </a:cubicBezTo>
                    <a:cubicBezTo>
                      <a:pt x="45815" y="71247"/>
                      <a:pt x="45244" y="70199"/>
                      <a:pt x="44196" y="69437"/>
                    </a:cubicBezTo>
                    <a:cubicBezTo>
                      <a:pt x="43149" y="68675"/>
                      <a:pt x="41529" y="68199"/>
                      <a:pt x="39434" y="67913"/>
                    </a:cubicBezTo>
                    <a:cubicBezTo>
                      <a:pt x="37338" y="67628"/>
                      <a:pt x="34004" y="67246"/>
                      <a:pt x="29433" y="66961"/>
                    </a:cubicBezTo>
                    <a:lnTo>
                      <a:pt x="27242" y="66770"/>
                    </a:lnTo>
                    <a:cubicBezTo>
                      <a:pt x="27242" y="66770"/>
                      <a:pt x="25527" y="66675"/>
                      <a:pt x="23146" y="66485"/>
                    </a:cubicBezTo>
                    <a:cubicBezTo>
                      <a:pt x="20764" y="66294"/>
                      <a:pt x="18669" y="66008"/>
                      <a:pt x="16764" y="65722"/>
                    </a:cubicBezTo>
                    <a:cubicBezTo>
                      <a:pt x="15907" y="66866"/>
                      <a:pt x="15240" y="67913"/>
                      <a:pt x="14764" y="69056"/>
                    </a:cubicBezTo>
                    <a:cubicBezTo>
                      <a:pt x="14288" y="70199"/>
                      <a:pt x="14097" y="71342"/>
                      <a:pt x="14097" y="72676"/>
                    </a:cubicBezTo>
                    <a:cubicBezTo>
                      <a:pt x="14097" y="74390"/>
                      <a:pt x="14669" y="75629"/>
                      <a:pt x="15716" y="76486"/>
                    </a:cubicBezTo>
                    <a:cubicBezTo>
                      <a:pt x="16764" y="77343"/>
                      <a:pt x="18383" y="77914"/>
                      <a:pt x="20479" y="78200"/>
                    </a:cubicBezTo>
                    <a:cubicBezTo>
                      <a:pt x="22574" y="78486"/>
                      <a:pt x="25622" y="78581"/>
                      <a:pt x="29433" y="78581"/>
                    </a:cubicBezTo>
                    <a:cubicBezTo>
                      <a:pt x="35052" y="78581"/>
                      <a:pt x="39148" y="78200"/>
                      <a:pt x="41815" y="77343"/>
                    </a:cubicBezTo>
                    <a:close/>
                    <a:moveTo>
                      <a:pt x="20288" y="17717"/>
                    </a:moveTo>
                    <a:cubicBezTo>
                      <a:pt x="18574" y="19431"/>
                      <a:pt x="17717" y="21812"/>
                      <a:pt x="17717" y="24860"/>
                    </a:cubicBezTo>
                    <a:cubicBezTo>
                      <a:pt x="17717" y="27908"/>
                      <a:pt x="18574" y="30099"/>
                      <a:pt x="20288" y="31813"/>
                    </a:cubicBezTo>
                    <a:cubicBezTo>
                      <a:pt x="22003" y="33528"/>
                      <a:pt x="24479" y="34290"/>
                      <a:pt x="27718" y="34290"/>
                    </a:cubicBezTo>
                    <a:cubicBezTo>
                      <a:pt x="31623" y="34290"/>
                      <a:pt x="34386" y="33433"/>
                      <a:pt x="36005" y="31813"/>
                    </a:cubicBezTo>
                    <a:cubicBezTo>
                      <a:pt x="37624" y="30194"/>
                      <a:pt x="38481" y="27908"/>
                      <a:pt x="38481" y="24860"/>
                    </a:cubicBezTo>
                    <a:cubicBezTo>
                      <a:pt x="38481" y="21812"/>
                      <a:pt x="37624" y="19431"/>
                      <a:pt x="35909" y="17717"/>
                    </a:cubicBezTo>
                    <a:cubicBezTo>
                      <a:pt x="34195" y="16002"/>
                      <a:pt x="31623" y="15145"/>
                      <a:pt x="28004" y="15145"/>
                    </a:cubicBezTo>
                    <a:cubicBezTo>
                      <a:pt x="24384" y="15145"/>
                      <a:pt x="21908" y="16002"/>
                      <a:pt x="20193" y="17717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21" name="Freeform: Shape 154">
                <a:extLst>
                  <a:ext uri="{FF2B5EF4-FFF2-40B4-BE49-F238E27FC236}">
                    <a16:creationId xmlns:a16="http://schemas.microsoft.com/office/drawing/2014/main" id="{BDB9FA32-A207-9F71-E3F5-4C2B34D05BCD}"/>
                  </a:ext>
                </a:extLst>
              </p:cNvPr>
              <p:cNvSpPr/>
              <p:nvPr/>
            </p:nvSpPr>
            <p:spPr>
              <a:xfrm>
                <a:off x="7590282" y="4213574"/>
                <a:ext cx="55244" cy="62769"/>
              </a:xfrm>
              <a:custGeom>
                <a:avLst/>
                <a:gdLst>
                  <a:gd name="connsiteX0" fmla="*/ 7715 w 55244"/>
                  <a:gd name="connsiteY0" fmla="*/ 54769 h 62769"/>
                  <a:gd name="connsiteX1" fmla="*/ 0 w 55244"/>
                  <a:gd name="connsiteY1" fmla="*/ 31242 h 62769"/>
                  <a:gd name="connsiteX2" fmla="*/ 3810 w 55244"/>
                  <a:gd name="connsiteY2" fmla="*/ 13716 h 62769"/>
                  <a:gd name="connsiteX3" fmla="*/ 14097 w 55244"/>
                  <a:gd name="connsiteY3" fmla="*/ 3334 h 62769"/>
                  <a:gd name="connsiteX4" fmla="*/ 28480 w 55244"/>
                  <a:gd name="connsiteY4" fmla="*/ 0 h 62769"/>
                  <a:gd name="connsiteX5" fmla="*/ 43719 w 55244"/>
                  <a:gd name="connsiteY5" fmla="*/ 4001 h 62769"/>
                  <a:gd name="connsiteX6" fmla="*/ 52483 w 55244"/>
                  <a:gd name="connsiteY6" fmla="*/ 14478 h 62769"/>
                  <a:gd name="connsiteX7" fmla="*/ 55245 w 55244"/>
                  <a:gd name="connsiteY7" fmla="*/ 29146 h 62769"/>
                  <a:gd name="connsiteX8" fmla="*/ 54864 w 55244"/>
                  <a:gd name="connsiteY8" fmla="*/ 35433 h 62769"/>
                  <a:gd name="connsiteX9" fmla="*/ 16478 w 55244"/>
                  <a:gd name="connsiteY9" fmla="*/ 35433 h 62769"/>
                  <a:gd name="connsiteX10" fmla="*/ 19812 w 55244"/>
                  <a:gd name="connsiteY10" fmla="*/ 46577 h 62769"/>
                  <a:gd name="connsiteX11" fmla="*/ 30194 w 55244"/>
                  <a:gd name="connsiteY11" fmla="*/ 50673 h 62769"/>
                  <a:gd name="connsiteX12" fmla="*/ 35909 w 55244"/>
                  <a:gd name="connsiteY12" fmla="*/ 50006 h 62769"/>
                  <a:gd name="connsiteX13" fmla="*/ 40957 w 55244"/>
                  <a:gd name="connsiteY13" fmla="*/ 48006 h 62769"/>
                  <a:gd name="connsiteX14" fmla="*/ 46958 w 55244"/>
                  <a:gd name="connsiteY14" fmla="*/ 44196 h 62769"/>
                  <a:gd name="connsiteX15" fmla="*/ 53340 w 55244"/>
                  <a:gd name="connsiteY15" fmla="*/ 54388 h 62769"/>
                  <a:gd name="connsiteX16" fmla="*/ 42672 w 55244"/>
                  <a:gd name="connsiteY16" fmla="*/ 60579 h 62769"/>
                  <a:gd name="connsiteX17" fmla="*/ 29432 w 55244"/>
                  <a:gd name="connsiteY17" fmla="*/ 62770 h 62769"/>
                  <a:gd name="connsiteX18" fmla="*/ 7811 w 55244"/>
                  <a:gd name="connsiteY18" fmla="*/ 54864 h 62769"/>
                  <a:gd name="connsiteX19" fmla="*/ 40005 w 55244"/>
                  <a:gd name="connsiteY19" fmla="*/ 24765 h 62769"/>
                  <a:gd name="connsiteX20" fmla="*/ 36862 w 55244"/>
                  <a:gd name="connsiteY20" fmla="*/ 14764 h 62769"/>
                  <a:gd name="connsiteX21" fmla="*/ 28384 w 55244"/>
                  <a:gd name="connsiteY21" fmla="*/ 11525 h 62769"/>
                  <a:gd name="connsiteX22" fmla="*/ 20002 w 55244"/>
                  <a:gd name="connsiteY22" fmla="*/ 14764 h 62769"/>
                  <a:gd name="connsiteX23" fmla="*/ 16669 w 55244"/>
                  <a:gd name="connsiteY23" fmla="*/ 24765 h 62769"/>
                  <a:gd name="connsiteX24" fmla="*/ 40100 w 55244"/>
                  <a:gd name="connsiteY24" fmla="*/ 24765 h 627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55244" h="62769">
                    <a:moveTo>
                      <a:pt x="7715" y="54769"/>
                    </a:moveTo>
                    <a:cubicBezTo>
                      <a:pt x="2572" y="49530"/>
                      <a:pt x="0" y="41624"/>
                      <a:pt x="0" y="31242"/>
                    </a:cubicBezTo>
                    <a:cubicBezTo>
                      <a:pt x="0" y="24289"/>
                      <a:pt x="1238" y="18383"/>
                      <a:pt x="3810" y="13716"/>
                    </a:cubicBezTo>
                    <a:cubicBezTo>
                      <a:pt x="6382" y="9049"/>
                      <a:pt x="9810" y="5620"/>
                      <a:pt x="14097" y="3334"/>
                    </a:cubicBezTo>
                    <a:cubicBezTo>
                      <a:pt x="18383" y="1048"/>
                      <a:pt x="23146" y="0"/>
                      <a:pt x="28480" y="0"/>
                    </a:cubicBezTo>
                    <a:cubicBezTo>
                      <a:pt x="34576" y="0"/>
                      <a:pt x="39719" y="1334"/>
                      <a:pt x="43719" y="4001"/>
                    </a:cubicBezTo>
                    <a:cubicBezTo>
                      <a:pt x="47720" y="6668"/>
                      <a:pt x="50673" y="10192"/>
                      <a:pt x="52483" y="14478"/>
                    </a:cubicBezTo>
                    <a:cubicBezTo>
                      <a:pt x="54293" y="18764"/>
                      <a:pt x="55245" y="23717"/>
                      <a:pt x="55245" y="29146"/>
                    </a:cubicBezTo>
                    <a:cubicBezTo>
                      <a:pt x="55245" y="31242"/>
                      <a:pt x="55150" y="33338"/>
                      <a:pt x="54864" y="35433"/>
                    </a:cubicBezTo>
                    <a:lnTo>
                      <a:pt x="16478" y="35433"/>
                    </a:lnTo>
                    <a:cubicBezTo>
                      <a:pt x="16478" y="40100"/>
                      <a:pt x="17621" y="43815"/>
                      <a:pt x="19812" y="46577"/>
                    </a:cubicBezTo>
                    <a:cubicBezTo>
                      <a:pt x="22003" y="49339"/>
                      <a:pt x="25527" y="50673"/>
                      <a:pt x="30194" y="50673"/>
                    </a:cubicBezTo>
                    <a:cubicBezTo>
                      <a:pt x="32290" y="50673"/>
                      <a:pt x="34194" y="50483"/>
                      <a:pt x="35909" y="50006"/>
                    </a:cubicBezTo>
                    <a:cubicBezTo>
                      <a:pt x="37624" y="49530"/>
                      <a:pt x="39338" y="48863"/>
                      <a:pt x="40957" y="48006"/>
                    </a:cubicBezTo>
                    <a:cubicBezTo>
                      <a:pt x="42576" y="47149"/>
                      <a:pt x="44577" y="45815"/>
                      <a:pt x="46958" y="44196"/>
                    </a:cubicBezTo>
                    <a:lnTo>
                      <a:pt x="53340" y="54388"/>
                    </a:lnTo>
                    <a:cubicBezTo>
                      <a:pt x="49816" y="57055"/>
                      <a:pt x="46196" y="59150"/>
                      <a:pt x="42672" y="60579"/>
                    </a:cubicBezTo>
                    <a:cubicBezTo>
                      <a:pt x="39148" y="62008"/>
                      <a:pt x="34671" y="62770"/>
                      <a:pt x="29432" y="62770"/>
                    </a:cubicBezTo>
                    <a:cubicBezTo>
                      <a:pt x="20193" y="62770"/>
                      <a:pt x="12954" y="60103"/>
                      <a:pt x="7811" y="54864"/>
                    </a:cubicBezTo>
                    <a:close/>
                    <a:moveTo>
                      <a:pt x="40005" y="24765"/>
                    </a:moveTo>
                    <a:cubicBezTo>
                      <a:pt x="39814" y="20193"/>
                      <a:pt x="38767" y="16859"/>
                      <a:pt x="36862" y="14764"/>
                    </a:cubicBezTo>
                    <a:cubicBezTo>
                      <a:pt x="34957" y="12668"/>
                      <a:pt x="32099" y="11525"/>
                      <a:pt x="28384" y="11525"/>
                    </a:cubicBezTo>
                    <a:cubicBezTo>
                      <a:pt x="24669" y="11525"/>
                      <a:pt x="22098" y="12573"/>
                      <a:pt x="20002" y="14764"/>
                    </a:cubicBezTo>
                    <a:cubicBezTo>
                      <a:pt x="17907" y="16954"/>
                      <a:pt x="16764" y="20288"/>
                      <a:pt x="16669" y="24765"/>
                    </a:cubicBezTo>
                    <a:lnTo>
                      <a:pt x="40100" y="24765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22" name="Freeform: Shape 155">
                <a:extLst>
                  <a:ext uri="{FF2B5EF4-FFF2-40B4-BE49-F238E27FC236}">
                    <a16:creationId xmlns:a16="http://schemas.microsoft.com/office/drawing/2014/main" id="{48C9F92B-794B-CC02-AACD-019957FF51B9}"/>
                  </a:ext>
                </a:extLst>
              </p:cNvPr>
              <p:cNvSpPr/>
              <p:nvPr/>
            </p:nvSpPr>
            <p:spPr>
              <a:xfrm>
                <a:off x="7656957" y="4213574"/>
                <a:ext cx="87058" cy="61722"/>
              </a:xfrm>
              <a:custGeom>
                <a:avLst/>
                <a:gdLst>
                  <a:gd name="connsiteX0" fmla="*/ 381 w 87058"/>
                  <a:gd name="connsiteY0" fmla="*/ 14669 h 61722"/>
                  <a:gd name="connsiteX1" fmla="*/ 285 w 87058"/>
                  <a:gd name="connsiteY1" fmla="*/ 6763 h 61722"/>
                  <a:gd name="connsiteX2" fmla="*/ 0 w 87058"/>
                  <a:gd name="connsiteY2" fmla="*/ 1238 h 61722"/>
                  <a:gd name="connsiteX3" fmla="*/ 14954 w 87058"/>
                  <a:gd name="connsiteY3" fmla="*/ 1238 h 61722"/>
                  <a:gd name="connsiteX4" fmla="*/ 15430 w 87058"/>
                  <a:gd name="connsiteY4" fmla="*/ 6191 h 61722"/>
                  <a:gd name="connsiteX5" fmla="*/ 15716 w 87058"/>
                  <a:gd name="connsiteY5" fmla="*/ 12097 h 61722"/>
                  <a:gd name="connsiteX6" fmla="*/ 15907 w 87058"/>
                  <a:gd name="connsiteY6" fmla="*/ 12097 h 61722"/>
                  <a:gd name="connsiteX7" fmla="*/ 23146 w 87058"/>
                  <a:gd name="connsiteY7" fmla="*/ 2953 h 61722"/>
                  <a:gd name="connsiteX8" fmla="*/ 33528 w 87058"/>
                  <a:gd name="connsiteY8" fmla="*/ 0 h 61722"/>
                  <a:gd name="connsiteX9" fmla="*/ 44577 w 87058"/>
                  <a:gd name="connsiteY9" fmla="*/ 3143 h 61722"/>
                  <a:gd name="connsiteX10" fmla="*/ 50292 w 87058"/>
                  <a:gd name="connsiteY10" fmla="*/ 12192 h 61722"/>
                  <a:gd name="connsiteX11" fmla="*/ 50673 w 87058"/>
                  <a:gd name="connsiteY11" fmla="*/ 12192 h 61722"/>
                  <a:gd name="connsiteX12" fmla="*/ 58102 w 87058"/>
                  <a:gd name="connsiteY12" fmla="*/ 2858 h 61722"/>
                  <a:gd name="connsiteX13" fmla="*/ 68961 w 87058"/>
                  <a:gd name="connsiteY13" fmla="*/ 95 h 61722"/>
                  <a:gd name="connsiteX14" fmla="*/ 82677 w 87058"/>
                  <a:gd name="connsiteY14" fmla="*/ 6477 h 61722"/>
                  <a:gd name="connsiteX15" fmla="*/ 87059 w 87058"/>
                  <a:gd name="connsiteY15" fmla="*/ 23431 h 61722"/>
                  <a:gd name="connsiteX16" fmla="*/ 87059 w 87058"/>
                  <a:gd name="connsiteY16" fmla="*/ 61722 h 61722"/>
                  <a:gd name="connsiteX17" fmla="*/ 71533 w 87058"/>
                  <a:gd name="connsiteY17" fmla="*/ 61722 h 61722"/>
                  <a:gd name="connsiteX18" fmla="*/ 71533 w 87058"/>
                  <a:gd name="connsiteY18" fmla="*/ 27908 h 61722"/>
                  <a:gd name="connsiteX19" fmla="*/ 69532 w 87058"/>
                  <a:gd name="connsiteY19" fmla="*/ 17431 h 61722"/>
                  <a:gd name="connsiteX20" fmla="*/ 62865 w 87058"/>
                  <a:gd name="connsiteY20" fmla="*/ 13716 h 61722"/>
                  <a:gd name="connsiteX21" fmla="*/ 57245 w 87058"/>
                  <a:gd name="connsiteY21" fmla="*/ 15621 h 61722"/>
                  <a:gd name="connsiteX22" fmla="*/ 53244 w 87058"/>
                  <a:gd name="connsiteY22" fmla="*/ 20860 h 61722"/>
                  <a:gd name="connsiteX23" fmla="*/ 51625 w 87058"/>
                  <a:gd name="connsiteY23" fmla="*/ 28575 h 61722"/>
                  <a:gd name="connsiteX24" fmla="*/ 51625 w 87058"/>
                  <a:gd name="connsiteY24" fmla="*/ 61722 h 61722"/>
                  <a:gd name="connsiteX25" fmla="*/ 36100 w 87058"/>
                  <a:gd name="connsiteY25" fmla="*/ 61722 h 61722"/>
                  <a:gd name="connsiteX26" fmla="*/ 36100 w 87058"/>
                  <a:gd name="connsiteY26" fmla="*/ 27908 h 61722"/>
                  <a:gd name="connsiteX27" fmla="*/ 34100 w 87058"/>
                  <a:gd name="connsiteY27" fmla="*/ 17431 h 61722"/>
                  <a:gd name="connsiteX28" fmla="*/ 27432 w 87058"/>
                  <a:gd name="connsiteY28" fmla="*/ 13716 h 61722"/>
                  <a:gd name="connsiteX29" fmla="*/ 21717 w 87058"/>
                  <a:gd name="connsiteY29" fmla="*/ 15716 h 61722"/>
                  <a:gd name="connsiteX30" fmla="*/ 17716 w 87058"/>
                  <a:gd name="connsiteY30" fmla="*/ 21241 h 61722"/>
                  <a:gd name="connsiteX31" fmla="*/ 16288 w 87058"/>
                  <a:gd name="connsiteY31" fmla="*/ 29337 h 61722"/>
                  <a:gd name="connsiteX32" fmla="*/ 16288 w 87058"/>
                  <a:gd name="connsiteY32" fmla="*/ 61722 h 61722"/>
                  <a:gd name="connsiteX33" fmla="*/ 571 w 87058"/>
                  <a:gd name="connsiteY33" fmla="*/ 61722 h 61722"/>
                  <a:gd name="connsiteX34" fmla="*/ 571 w 87058"/>
                  <a:gd name="connsiteY34" fmla="*/ 14859 h 61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87058" h="61722">
                    <a:moveTo>
                      <a:pt x="381" y="14669"/>
                    </a:moveTo>
                    <a:cubicBezTo>
                      <a:pt x="381" y="12097"/>
                      <a:pt x="381" y="9430"/>
                      <a:pt x="285" y="6763"/>
                    </a:cubicBezTo>
                    <a:cubicBezTo>
                      <a:pt x="191" y="4096"/>
                      <a:pt x="95" y="2191"/>
                      <a:pt x="0" y="1238"/>
                    </a:cubicBezTo>
                    <a:lnTo>
                      <a:pt x="14954" y="1238"/>
                    </a:lnTo>
                    <a:cubicBezTo>
                      <a:pt x="15144" y="2096"/>
                      <a:pt x="15240" y="3715"/>
                      <a:pt x="15430" y="6191"/>
                    </a:cubicBezTo>
                    <a:cubicBezTo>
                      <a:pt x="15621" y="8668"/>
                      <a:pt x="15716" y="10668"/>
                      <a:pt x="15716" y="12097"/>
                    </a:cubicBezTo>
                    <a:lnTo>
                      <a:pt x="15907" y="12097"/>
                    </a:lnTo>
                    <a:cubicBezTo>
                      <a:pt x="17812" y="8001"/>
                      <a:pt x="20193" y="4953"/>
                      <a:pt x="23146" y="2953"/>
                    </a:cubicBezTo>
                    <a:cubicBezTo>
                      <a:pt x="26098" y="953"/>
                      <a:pt x="29527" y="0"/>
                      <a:pt x="33528" y="0"/>
                    </a:cubicBezTo>
                    <a:cubicBezTo>
                      <a:pt x="38100" y="0"/>
                      <a:pt x="41720" y="1048"/>
                      <a:pt x="44577" y="3143"/>
                    </a:cubicBezTo>
                    <a:cubicBezTo>
                      <a:pt x="47434" y="5239"/>
                      <a:pt x="49339" y="8192"/>
                      <a:pt x="50292" y="12192"/>
                    </a:cubicBezTo>
                    <a:lnTo>
                      <a:pt x="50673" y="12192"/>
                    </a:lnTo>
                    <a:cubicBezTo>
                      <a:pt x="52673" y="7811"/>
                      <a:pt x="55245" y="4667"/>
                      <a:pt x="58102" y="2858"/>
                    </a:cubicBezTo>
                    <a:cubicBezTo>
                      <a:pt x="60960" y="1048"/>
                      <a:pt x="64675" y="95"/>
                      <a:pt x="68961" y="95"/>
                    </a:cubicBezTo>
                    <a:cubicBezTo>
                      <a:pt x="75248" y="95"/>
                      <a:pt x="79820" y="2191"/>
                      <a:pt x="82677" y="6477"/>
                    </a:cubicBezTo>
                    <a:cubicBezTo>
                      <a:pt x="85534" y="10763"/>
                      <a:pt x="87059" y="16383"/>
                      <a:pt x="87059" y="23431"/>
                    </a:cubicBezTo>
                    <a:lnTo>
                      <a:pt x="87059" y="61722"/>
                    </a:lnTo>
                    <a:lnTo>
                      <a:pt x="71533" y="61722"/>
                    </a:lnTo>
                    <a:lnTo>
                      <a:pt x="71533" y="27908"/>
                    </a:lnTo>
                    <a:cubicBezTo>
                      <a:pt x="71533" y="23336"/>
                      <a:pt x="70866" y="19907"/>
                      <a:pt x="69532" y="17431"/>
                    </a:cubicBezTo>
                    <a:cubicBezTo>
                      <a:pt x="68199" y="14954"/>
                      <a:pt x="66008" y="13716"/>
                      <a:pt x="62865" y="13716"/>
                    </a:cubicBezTo>
                    <a:cubicBezTo>
                      <a:pt x="60770" y="13716"/>
                      <a:pt x="58864" y="14383"/>
                      <a:pt x="57245" y="15621"/>
                    </a:cubicBezTo>
                    <a:cubicBezTo>
                      <a:pt x="55626" y="16859"/>
                      <a:pt x="54197" y="18574"/>
                      <a:pt x="53244" y="20860"/>
                    </a:cubicBezTo>
                    <a:cubicBezTo>
                      <a:pt x="52292" y="23146"/>
                      <a:pt x="51721" y="25718"/>
                      <a:pt x="51625" y="28575"/>
                    </a:cubicBezTo>
                    <a:lnTo>
                      <a:pt x="51625" y="61722"/>
                    </a:lnTo>
                    <a:lnTo>
                      <a:pt x="36100" y="61722"/>
                    </a:lnTo>
                    <a:lnTo>
                      <a:pt x="36100" y="27908"/>
                    </a:lnTo>
                    <a:cubicBezTo>
                      <a:pt x="36100" y="23336"/>
                      <a:pt x="35433" y="19907"/>
                      <a:pt x="34100" y="17431"/>
                    </a:cubicBezTo>
                    <a:cubicBezTo>
                      <a:pt x="32766" y="14954"/>
                      <a:pt x="30575" y="13716"/>
                      <a:pt x="27432" y="13716"/>
                    </a:cubicBezTo>
                    <a:cubicBezTo>
                      <a:pt x="25336" y="13716"/>
                      <a:pt x="23432" y="14383"/>
                      <a:pt x="21717" y="15716"/>
                    </a:cubicBezTo>
                    <a:cubicBezTo>
                      <a:pt x="20002" y="17050"/>
                      <a:pt x="18669" y="18860"/>
                      <a:pt x="17716" y="21241"/>
                    </a:cubicBezTo>
                    <a:cubicBezTo>
                      <a:pt x="16764" y="23622"/>
                      <a:pt x="16288" y="26289"/>
                      <a:pt x="16288" y="29337"/>
                    </a:cubicBezTo>
                    <a:lnTo>
                      <a:pt x="16288" y="61722"/>
                    </a:lnTo>
                    <a:lnTo>
                      <a:pt x="571" y="61722"/>
                    </a:lnTo>
                    <a:lnTo>
                      <a:pt x="571" y="14859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23" name="Freeform: Shape 156">
                <a:extLst>
                  <a:ext uri="{FF2B5EF4-FFF2-40B4-BE49-F238E27FC236}">
                    <a16:creationId xmlns:a16="http://schemas.microsoft.com/office/drawing/2014/main" id="{AF964E61-2960-77B7-B236-81EEDB061F33}"/>
                  </a:ext>
                </a:extLst>
              </p:cNvPr>
              <p:cNvSpPr/>
              <p:nvPr/>
            </p:nvSpPr>
            <p:spPr>
              <a:xfrm>
                <a:off x="7755445" y="4213574"/>
                <a:ext cx="55245" cy="62769"/>
              </a:xfrm>
              <a:custGeom>
                <a:avLst/>
                <a:gdLst>
                  <a:gd name="connsiteX0" fmla="*/ 7716 w 55245"/>
                  <a:gd name="connsiteY0" fmla="*/ 54769 h 62769"/>
                  <a:gd name="connsiteX1" fmla="*/ 0 w 55245"/>
                  <a:gd name="connsiteY1" fmla="*/ 31242 h 62769"/>
                  <a:gd name="connsiteX2" fmla="*/ 3810 w 55245"/>
                  <a:gd name="connsiteY2" fmla="*/ 13716 h 62769"/>
                  <a:gd name="connsiteX3" fmla="*/ 14097 w 55245"/>
                  <a:gd name="connsiteY3" fmla="*/ 3334 h 62769"/>
                  <a:gd name="connsiteX4" fmla="*/ 28480 w 55245"/>
                  <a:gd name="connsiteY4" fmla="*/ 0 h 62769"/>
                  <a:gd name="connsiteX5" fmla="*/ 43720 w 55245"/>
                  <a:gd name="connsiteY5" fmla="*/ 4001 h 62769"/>
                  <a:gd name="connsiteX6" fmla="*/ 52483 w 55245"/>
                  <a:gd name="connsiteY6" fmla="*/ 14478 h 62769"/>
                  <a:gd name="connsiteX7" fmla="*/ 55245 w 55245"/>
                  <a:gd name="connsiteY7" fmla="*/ 29146 h 62769"/>
                  <a:gd name="connsiteX8" fmla="*/ 54864 w 55245"/>
                  <a:gd name="connsiteY8" fmla="*/ 35433 h 62769"/>
                  <a:gd name="connsiteX9" fmla="*/ 16479 w 55245"/>
                  <a:gd name="connsiteY9" fmla="*/ 35433 h 62769"/>
                  <a:gd name="connsiteX10" fmla="*/ 19812 w 55245"/>
                  <a:gd name="connsiteY10" fmla="*/ 46577 h 62769"/>
                  <a:gd name="connsiteX11" fmla="*/ 30195 w 55245"/>
                  <a:gd name="connsiteY11" fmla="*/ 50673 h 62769"/>
                  <a:gd name="connsiteX12" fmla="*/ 35909 w 55245"/>
                  <a:gd name="connsiteY12" fmla="*/ 50006 h 62769"/>
                  <a:gd name="connsiteX13" fmla="*/ 40958 w 55245"/>
                  <a:gd name="connsiteY13" fmla="*/ 48006 h 62769"/>
                  <a:gd name="connsiteX14" fmla="*/ 46959 w 55245"/>
                  <a:gd name="connsiteY14" fmla="*/ 44196 h 62769"/>
                  <a:gd name="connsiteX15" fmla="*/ 53340 w 55245"/>
                  <a:gd name="connsiteY15" fmla="*/ 54388 h 62769"/>
                  <a:gd name="connsiteX16" fmla="*/ 42672 w 55245"/>
                  <a:gd name="connsiteY16" fmla="*/ 60579 h 62769"/>
                  <a:gd name="connsiteX17" fmla="*/ 29433 w 55245"/>
                  <a:gd name="connsiteY17" fmla="*/ 62770 h 62769"/>
                  <a:gd name="connsiteX18" fmla="*/ 7811 w 55245"/>
                  <a:gd name="connsiteY18" fmla="*/ 54864 h 62769"/>
                  <a:gd name="connsiteX19" fmla="*/ 40005 w 55245"/>
                  <a:gd name="connsiteY19" fmla="*/ 24765 h 62769"/>
                  <a:gd name="connsiteX20" fmla="*/ 36862 w 55245"/>
                  <a:gd name="connsiteY20" fmla="*/ 14764 h 62769"/>
                  <a:gd name="connsiteX21" fmla="*/ 28385 w 55245"/>
                  <a:gd name="connsiteY21" fmla="*/ 11525 h 62769"/>
                  <a:gd name="connsiteX22" fmla="*/ 20003 w 55245"/>
                  <a:gd name="connsiteY22" fmla="*/ 14764 h 62769"/>
                  <a:gd name="connsiteX23" fmla="*/ 16669 w 55245"/>
                  <a:gd name="connsiteY23" fmla="*/ 24765 h 62769"/>
                  <a:gd name="connsiteX24" fmla="*/ 40100 w 55245"/>
                  <a:gd name="connsiteY24" fmla="*/ 24765 h 627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55245" h="62769">
                    <a:moveTo>
                      <a:pt x="7716" y="54769"/>
                    </a:moveTo>
                    <a:cubicBezTo>
                      <a:pt x="2572" y="49530"/>
                      <a:pt x="0" y="41624"/>
                      <a:pt x="0" y="31242"/>
                    </a:cubicBezTo>
                    <a:cubicBezTo>
                      <a:pt x="0" y="24289"/>
                      <a:pt x="1238" y="18383"/>
                      <a:pt x="3810" y="13716"/>
                    </a:cubicBezTo>
                    <a:cubicBezTo>
                      <a:pt x="6382" y="9049"/>
                      <a:pt x="9811" y="5620"/>
                      <a:pt x="14097" y="3334"/>
                    </a:cubicBezTo>
                    <a:cubicBezTo>
                      <a:pt x="18384" y="1048"/>
                      <a:pt x="23146" y="0"/>
                      <a:pt x="28480" y="0"/>
                    </a:cubicBezTo>
                    <a:cubicBezTo>
                      <a:pt x="34576" y="0"/>
                      <a:pt x="39720" y="1334"/>
                      <a:pt x="43720" y="4001"/>
                    </a:cubicBezTo>
                    <a:cubicBezTo>
                      <a:pt x="47720" y="6668"/>
                      <a:pt x="50673" y="10192"/>
                      <a:pt x="52483" y="14478"/>
                    </a:cubicBezTo>
                    <a:cubicBezTo>
                      <a:pt x="54293" y="18764"/>
                      <a:pt x="55245" y="23717"/>
                      <a:pt x="55245" y="29146"/>
                    </a:cubicBezTo>
                    <a:cubicBezTo>
                      <a:pt x="55245" y="31242"/>
                      <a:pt x="55150" y="33338"/>
                      <a:pt x="54864" y="35433"/>
                    </a:cubicBezTo>
                    <a:lnTo>
                      <a:pt x="16479" y="35433"/>
                    </a:lnTo>
                    <a:cubicBezTo>
                      <a:pt x="16479" y="40100"/>
                      <a:pt x="17622" y="43815"/>
                      <a:pt x="19812" y="46577"/>
                    </a:cubicBezTo>
                    <a:cubicBezTo>
                      <a:pt x="22003" y="49339"/>
                      <a:pt x="25528" y="50673"/>
                      <a:pt x="30195" y="50673"/>
                    </a:cubicBezTo>
                    <a:cubicBezTo>
                      <a:pt x="32290" y="50673"/>
                      <a:pt x="34195" y="50483"/>
                      <a:pt x="35909" y="50006"/>
                    </a:cubicBezTo>
                    <a:cubicBezTo>
                      <a:pt x="37624" y="49530"/>
                      <a:pt x="39338" y="48863"/>
                      <a:pt x="40958" y="48006"/>
                    </a:cubicBezTo>
                    <a:cubicBezTo>
                      <a:pt x="42577" y="47149"/>
                      <a:pt x="44578" y="45815"/>
                      <a:pt x="46959" y="44196"/>
                    </a:cubicBezTo>
                    <a:lnTo>
                      <a:pt x="53340" y="54388"/>
                    </a:lnTo>
                    <a:cubicBezTo>
                      <a:pt x="49816" y="57055"/>
                      <a:pt x="46197" y="59150"/>
                      <a:pt x="42672" y="60579"/>
                    </a:cubicBezTo>
                    <a:cubicBezTo>
                      <a:pt x="39148" y="62008"/>
                      <a:pt x="34671" y="62770"/>
                      <a:pt x="29433" y="62770"/>
                    </a:cubicBezTo>
                    <a:cubicBezTo>
                      <a:pt x="20194" y="62770"/>
                      <a:pt x="12954" y="60103"/>
                      <a:pt x="7811" y="54864"/>
                    </a:cubicBezTo>
                    <a:close/>
                    <a:moveTo>
                      <a:pt x="40005" y="24765"/>
                    </a:moveTo>
                    <a:cubicBezTo>
                      <a:pt x="39815" y="20193"/>
                      <a:pt x="38767" y="16859"/>
                      <a:pt x="36862" y="14764"/>
                    </a:cubicBezTo>
                    <a:cubicBezTo>
                      <a:pt x="34957" y="12668"/>
                      <a:pt x="32100" y="11525"/>
                      <a:pt x="28385" y="11525"/>
                    </a:cubicBezTo>
                    <a:cubicBezTo>
                      <a:pt x="24670" y="11525"/>
                      <a:pt x="22098" y="12573"/>
                      <a:pt x="20003" y="14764"/>
                    </a:cubicBezTo>
                    <a:cubicBezTo>
                      <a:pt x="17907" y="16954"/>
                      <a:pt x="16764" y="20288"/>
                      <a:pt x="16669" y="24765"/>
                    </a:cubicBezTo>
                    <a:lnTo>
                      <a:pt x="40100" y="24765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24" name="Freeform: Shape 157">
                <a:extLst>
                  <a:ext uri="{FF2B5EF4-FFF2-40B4-BE49-F238E27FC236}">
                    <a16:creationId xmlns:a16="http://schemas.microsoft.com/office/drawing/2014/main" id="{4EA63303-389C-1F63-474D-7639B0F08C79}"/>
                  </a:ext>
                </a:extLst>
              </p:cNvPr>
              <p:cNvSpPr/>
              <p:nvPr/>
            </p:nvSpPr>
            <p:spPr>
              <a:xfrm>
                <a:off x="7822215" y="4213574"/>
                <a:ext cx="55150" cy="61722"/>
              </a:xfrm>
              <a:custGeom>
                <a:avLst/>
                <a:gdLst>
                  <a:gd name="connsiteX0" fmla="*/ 381 w 55150"/>
                  <a:gd name="connsiteY0" fmla="*/ 14669 h 61722"/>
                  <a:gd name="connsiteX1" fmla="*/ 286 w 55150"/>
                  <a:gd name="connsiteY1" fmla="*/ 6763 h 61722"/>
                  <a:gd name="connsiteX2" fmla="*/ 0 w 55150"/>
                  <a:gd name="connsiteY2" fmla="*/ 1238 h 61722"/>
                  <a:gd name="connsiteX3" fmla="*/ 14954 w 55150"/>
                  <a:gd name="connsiteY3" fmla="*/ 1238 h 61722"/>
                  <a:gd name="connsiteX4" fmla="*/ 15430 w 55150"/>
                  <a:gd name="connsiteY4" fmla="*/ 6191 h 61722"/>
                  <a:gd name="connsiteX5" fmla="*/ 15716 w 55150"/>
                  <a:gd name="connsiteY5" fmla="*/ 12097 h 61722"/>
                  <a:gd name="connsiteX6" fmla="*/ 15907 w 55150"/>
                  <a:gd name="connsiteY6" fmla="*/ 12097 h 61722"/>
                  <a:gd name="connsiteX7" fmla="*/ 23908 w 55150"/>
                  <a:gd name="connsiteY7" fmla="*/ 2953 h 61722"/>
                  <a:gd name="connsiteX8" fmla="*/ 35338 w 55150"/>
                  <a:gd name="connsiteY8" fmla="*/ 0 h 61722"/>
                  <a:gd name="connsiteX9" fmla="*/ 50388 w 55150"/>
                  <a:gd name="connsiteY9" fmla="*/ 6382 h 61722"/>
                  <a:gd name="connsiteX10" fmla="*/ 55150 w 55150"/>
                  <a:gd name="connsiteY10" fmla="*/ 23336 h 61722"/>
                  <a:gd name="connsiteX11" fmla="*/ 55150 w 55150"/>
                  <a:gd name="connsiteY11" fmla="*/ 61627 h 61722"/>
                  <a:gd name="connsiteX12" fmla="*/ 39529 w 55150"/>
                  <a:gd name="connsiteY12" fmla="*/ 61627 h 61722"/>
                  <a:gd name="connsiteX13" fmla="*/ 39529 w 55150"/>
                  <a:gd name="connsiteY13" fmla="*/ 27813 h 61722"/>
                  <a:gd name="connsiteX14" fmla="*/ 37243 w 55150"/>
                  <a:gd name="connsiteY14" fmla="*/ 17240 h 61722"/>
                  <a:gd name="connsiteX15" fmla="*/ 29337 w 55150"/>
                  <a:gd name="connsiteY15" fmla="*/ 13526 h 61722"/>
                  <a:gd name="connsiteX16" fmla="*/ 22574 w 55150"/>
                  <a:gd name="connsiteY16" fmla="*/ 15526 h 61722"/>
                  <a:gd name="connsiteX17" fmla="*/ 17812 w 55150"/>
                  <a:gd name="connsiteY17" fmla="*/ 21146 h 61722"/>
                  <a:gd name="connsiteX18" fmla="*/ 16097 w 55150"/>
                  <a:gd name="connsiteY18" fmla="*/ 29337 h 61722"/>
                  <a:gd name="connsiteX19" fmla="*/ 16097 w 55150"/>
                  <a:gd name="connsiteY19" fmla="*/ 61722 h 61722"/>
                  <a:gd name="connsiteX20" fmla="*/ 381 w 55150"/>
                  <a:gd name="connsiteY20" fmla="*/ 61722 h 61722"/>
                  <a:gd name="connsiteX21" fmla="*/ 381 w 55150"/>
                  <a:gd name="connsiteY21" fmla="*/ 14859 h 61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55150" h="61722">
                    <a:moveTo>
                      <a:pt x="381" y="14669"/>
                    </a:moveTo>
                    <a:cubicBezTo>
                      <a:pt x="381" y="12097"/>
                      <a:pt x="381" y="9430"/>
                      <a:pt x="286" y="6763"/>
                    </a:cubicBezTo>
                    <a:cubicBezTo>
                      <a:pt x="191" y="4096"/>
                      <a:pt x="95" y="2191"/>
                      <a:pt x="0" y="1238"/>
                    </a:cubicBezTo>
                    <a:lnTo>
                      <a:pt x="14954" y="1238"/>
                    </a:lnTo>
                    <a:cubicBezTo>
                      <a:pt x="15145" y="2096"/>
                      <a:pt x="15240" y="3715"/>
                      <a:pt x="15430" y="6191"/>
                    </a:cubicBezTo>
                    <a:cubicBezTo>
                      <a:pt x="15621" y="8668"/>
                      <a:pt x="15716" y="10668"/>
                      <a:pt x="15716" y="12097"/>
                    </a:cubicBezTo>
                    <a:lnTo>
                      <a:pt x="15907" y="12097"/>
                    </a:lnTo>
                    <a:cubicBezTo>
                      <a:pt x="18002" y="8001"/>
                      <a:pt x="20670" y="4953"/>
                      <a:pt x="23908" y="2953"/>
                    </a:cubicBezTo>
                    <a:cubicBezTo>
                      <a:pt x="27147" y="953"/>
                      <a:pt x="30956" y="0"/>
                      <a:pt x="35338" y="0"/>
                    </a:cubicBezTo>
                    <a:cubicBezTo>
                      <a:pt x="42196" y="0"/>
                      <a:pt x="47244" y="2096"/>
                      <a:pt x="50388" y="6382"/>
                    </a:cubicBezTo>
                    <a:cubicBezTo>
                      <a:pt x="53530" y="10668"/>
                      <a:pt x="55150" y="16288"/>
                      <a:pt x="55150" y="23336"/>
                    </a:cubicBezTo>
                    <a:lnTo>
                      <a:pt x="55150" y="61627"/>
                    </a:lnTo>
                    <a:lnTo>
                      <a:pt x="39529" y="61627"/>
                    </a:lnTo>
                    <a:lnTo>
                      <a:pt x="39529" y="27813"/>
                    </a:lnTo>
                    <a:cubicBezTo>
                      <a:pt x="39529" y="23241"/>
                      <a:pt x="38767" y="19717"/>
                      <a:pt x="37243" y="17240"/>
                    </a:cubicBezTo>
                    <a:cubicBezTo>
                      <a:pt x="35719" y="14764"/>
                      <a:pt x="33052" y="13526"/>
                      <a:pt x="29337" y="13526"/>
                    </a:cubicBezTo>
                    <a:cubicBezTo>
                      <a:pt x="26765" y="13526"/>
                      <a:pt x="24575" y="14192"/>
                      <a:pt x="22574" y="15526"/>
                    </a:cubicBezTo>
                    <a:cubicBezTo>
                      <a:pt x="20574" y="16859"/>
                      <a:pt x="18955" y="18669"/>
                      <a:pt x="17812" y="21146"/>
                    </a:cubicBezTo>
                    <a:cubicBezTo>
                      <a:pt x="16669" y="23622"/>
                      <a:pt x="16097" y="26289"/>
                      <a:pt x="16097" y="29337"/>
                    </a:cubicBezTo>
                    <a:lnTo>
                      <a:pt x="16097" y="61722"/>
                    </a:lnTo>
                    <a:lnTo>
                      <a:pt x="381" y="61722"/>
                    </a:lnTo>
                    <a:lnTo>
                      <a:pt x="381" y="14859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25" name="Freeform: Shape 158">
                <a:extLst>
                  <a:ext uri="{FF2B5EF4-FFF2-40B4-BE49-F238E27FC236}">
                    <a16:creationId xmlns:a16="http://schemas.microsoft.com/office/drawing/2014/main" id="{34597BC6-F855-0C04-1526-DEAAC4015964}"/>
                  </a:ext>
                </a:extLst>
              </p:cNvPr>
              <p:cNvSpPr/>
              <p:nvPr/>
            </p:nvSpPr>
            <p:spPr>
              <a:xfrm>
                <a:off x="7885842" y="4200048"/>
                <a:ext cx="35814" cy="76104"/>
              </a:xfrm>
              <a:custGeom>
                <a:avLst/>
                <a:gdLst>
                  <a:gd name="connsiteX0" fmla="*/ 11621 w 35814"/>
                  <a:gd name="connsiteY0" fmla="*/ 71914 h 76104"/>
                  <a:gd name="connsiteX1" fmla="*/ 7620 w 35814"/>
                  <a:gd name="connsiteY1" fmla="*/ 59722 h 76104"/>
                  <a:gd name="connsiteX2" fmla="*/ 7620 w 35814"/>
                  <a:gd name="connsiteY2" fmla="*/ 26384 h 76104"/>
                  <a:gd name="connsiteX3" fmla="*/ 0 w 35814"/>
                  <a:gd name="connsiteY3" fmla="*/ 26384 h 76104"/>
                  <a:gd name="connsiteX4" fmla="*/ 0 w 35814"/>
                  <a:gd name="connsiteY4" fmla="*/ 14764 h 76104"/>
                  <a:gd name="connsiteX5" fmla="*/ 8382 w 35814"/>
                  <a:gd name="connsiteY5" fmla="*/ 14764 h 76104"/>
                  <a:gd name="connsiteX6" fmla="*/ 9144 w 35814"/>
                  <a:gd name="connsiteY6" fmla="*/ 1143 h 76104"/>
                  <a:gd name="connsiteX7" fmla="*/ 23051 w 35814"/>
                  <a:gd name="connsiteY7" fmla="*/ 0 h 76104"/>
                  <a:gd name="connsiteX8" fmla="*/ 23051 w 35814"/>
                  <a:gd name="connsiteY8" fmla="*/ 14764 h 76104"/>
                  <a:gd name="connsiteX9" fmla="*/ 35053 w 35814"/>
                  <a:gd name="connsiteY9" fmla="*/ 14764 h 76104"/>
                  <a:gd name="connsiteX10" fmla="*/ 35053 w 35814"/>
                  <a:gd name="connsiteY10" fmla="*/ 26384 h 76104"/>
                  <a:gd name="connsiteX11" fmla="*/ 23051 w 35814"/>
                  <a:gd name="connsiteY11" fmla="*/ 26384 h 76104"/>
                  <a:gd name="connsiteX12" fmla="*/ 23051 w 35814"/>
                  <a:gd name="connsiteY12" fmla="*/ 55531 h 76104"/>
                  <a:gd name="connsiteX13" fmla="*/ 24479 w 35814"/>
                  <a:gd name="connsiteY13" fmla="*/ 61246 h 76104"/>
                  <a:gd name="connsiteX14" fmla="*/ 28956 w 35814"/>
                  <a:gd name="connsiteY14" fmla="*/ 63055 h 76104"/>
                  <a:gd name="connsiteX15" fmla="*/ 34671 w 35814"/>
                  <a:gd name="connsiteY15" fmla="*/ 62389 h 76104"/>
                  <a:gd name="connsiteX16" fmla="*/ 35814 w 35814"/>
                  <a:gd name="connsiteY16" fmla="*/ 74295 h 76104"/>
                  <a:gd name="connsiteX17" fmla="*/ 23051 w 35814"/>
                  <a:gd name="connsiteY17" fmla="*/ 76105 h 76104"/>
                  <a:gd name="connsiteX18" fmla="*/ 11525 w 35814"/>
                  <a:gd name="connsiteY18" fmla="*/ 72009 h 761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814" h="76104">
                    <a:moveTo>
                      <a:pt x="11621" y="71914"/>
                    </a:moveTo>
                    <a:cubicBezTo>
                      <a:pt x="8954" y="69151"/>
                      <a:pt x="7620" y="65151"/>
                      <a:pt x="7620" y="59722"/>
                    </a:cubicBezTo>
                    <a:lnTo>
                      <a:pt x="7620" y="26384"/>
                    </a:lnTo>
                    <a:lnTo>
                      <a:pt x="0" y="26384"/>
                    </a:lnTo>
                    <a:lnTo>
                      <a:pt x="0" y="14764"/>
                    </a:lnTo>
                    <a:lnTo>
                      <a:pt x="8382" y="14764"/>
                    </a:lnTo>
                    <a:lnTo>
                      <a:pt x="9144" y="1143"/>
                    </a:lnTo>
                    <a:lnTo>
                      <a:pt x="23051" y="0"/>
                    </a:lnTo>
                    <a:lnTo>
                      <a:pt x="23051" y="14764"/>
                    </a:lnTo>
                    <a:lnTo>
                      <a:pt x="35053" y="14764"/>
                    </a:lnTo>
                    <a:lnTo>
                      <a:pt x="35053" y="26384"/>
                    </a:lnTo>
                    <a:lnTo>
                      <a:pt x="23051" y="26384"/>
                    </a:lnTo>
                    <a:lnTo>
                      <a:pt x="23051" y="55531"/>
                    </a:lnTo>
                    <a:cubicBezTo>
                      <a:pt x="23051" y="58102"/>
                      <a:pt x="23527" y="60007"/>
                      <a:pt x="24479" y="61246"/>
                    </a:cubicBezTo>
                    <a:cubicBezTo>
                      <a:pt x="25432" y="62484"/>
                      <a:pt x="26861" y="63055"/>
                      <a:pt x="28956" y="63055"/>
                    </a:cubicBezTo>
                    <a:cubicBezTo>
                      <a:pt x="30575" y="63055"/>
                      <a:pt x="32481" y="62865"/>
                      <a:pt x="34671" y="62389"/>
                    </a:cubicBezTo>
                    <a:lnTo>
                      <a:pt x="35814" y="74295"/>
                    </a:lnTo>
                    <a:cubicBezTo>
                      <a:pt x="31528" y="75438"/>
                      <a:pt x="27337" y="76105"/>
                      <a:pt x="23051" y="76105"/>
                    </a:cubicBezTo>
                    <a:cubicBezTo>
                      <a:pt x="18002" y="76105"/>
                      <a:pt x="14193" y="74771"/>
                      <a:pt x="11525" y="72009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38" name="Freeform: Shape 99">
              <a:extLst>
                <a:ext uri="{FF2B5EF4-FFF2-40B4-BE49-F238E27FC236}">
                  <a16:creationId xmlns:a16="http://schemas.microsoft.com/office/drawing/2014/main" id="{BB380278-850B-92D7-D2EE-3C9E33BCF836}"/>
                </a:ext>
              </a:extLst>
            </p:cNvPr>
            <p:cNvSpPr/>
            <p:nvPr/>
          </p:nvSpPr>
          <p:spPr>
            <a:xfrm>
              <a:off x="3896035" y="4162971"/>
              <a:ext cx="133700" cy="78688"/>
            </a:xfrm>
            <a:custGeom>
              <a:avLst/>
              <a:gdLst>
                <a:gd name="connsiteX0" fmla="*/ 100584 w 100584"/>
                <a:gd name="connsiteY0" fmla="*/ 14002 h 57340"/>
                <a:gd name="connsiteX1" fmla="*/ 43244 w 100584"/>
                <a:gd name="connsiteY1" fmla="*/ 57341 h 57340"/>
                <a:gd name="connsiteX2" fmla="*/ 0 w 100584"/>
                <a:gd name="connsiteY2" fmla="*/ 0 h 57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0584" h="57340">
                  <a:moveTo>
                    <a:pt x="100584" y="14002"/>
                  </a:moveTo>
                  <a:lnTo>
                    <a:pt x="43244" y="57341"/>
                  </a:lnTo>
                  <a:lnTo>
                    <a:pt x="0" y="0"/>
                  </a:lnTo>
                </a:path>
              </a:pathLst>
            </a:custGeom>
            <a:noFill/>
            <a:ln w="12700" cap="flat">
              <a:solidFill>
                <a:srgbClr val="AFBAC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913304">
                <a:defRPr/>
              </a:pPr>
              <a:endParaRPr lang="en-US" sz="1796">
                <a:solidFill>
                  <a:srgbClr val="000000"/>
                </a:solidFill>
              </a:endParaRPr>
            </a:p>
          </p:txBody>
        </p:sp>
        <p:sp>
          <p:nvSpPr>
            <p:cNvPr id="39" name="Freeform: Shape 100">
              <a:extLst>
                <a:ext uri="{FF2B5EF4-FFF2-40B4-BE49-F238E27FC236}">
                  <a16:creationId xmlns:a16="http://schemas.microsoft.com/office/drawing/2014/main" id="{986820B8-ACDC-6D51-FA67-C31C537604D7}"/>
                </a:ext>
              </a:extLst>
            </p:cNvPr>
            <p:cNvSpPr/>
            <p:nvPr/>
          </p:nvSpPr>
          <p:spPr>
            <a:xfrm>
              <a:off x="11139044" y="4162971"/>
              <a:ext cx="133700" cy="78688"/>
            </a:xfrm>
            <a:custGeom>
              <a:avLst/>
              <a:gdLst>
                <a:gd name="connsiteX0" fmla="*/ 0 w 100583"/>
                <a:gd name="connsiteY0" fmla="*/ 14002 h 57340"/>
                <a:gd name="connsiteX1" fmla="*/ 57245 w 100583"/>
                <a:gd name="connsiteY1" fmla="*/ 57341 h 57340"/>
                <a:gd name="connsiteX2" fmla="*/ 100584 w 100583"/>
                <a:gd name="connsiteY2" fmla="*/ 0 h 57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0583" h="57340">
                  <a:moveTo>
                    <a:pt x="0" y="14002"/>
                  </a:moveTo>
                  <a:lnTo>
                    <a:pt x="57245" y="57341"/>
                  </a:lnTo>
                  <a:lnTo>
                    <a:pt x="100584" y="0"/>
                  </a:lnTo>
                </a:path>
              </a:pathLst>
            </a:custGeom>
            <a:noFill/>
            <a:ln w="12700" cap="flat">
              <a:solidFill>
                <a:srgbClr val="AFBAC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913304">
                <a:defRPr/>
              </a:pPr>
              <a:endParaRPr lang="en-US" sz="1796">
                <a:solidFill>
                  <a:srgbClr val="000000"/>
                </a:solidFill>
              </a:endParaRPr>
            </a:p>
          </p:txBody>
        </p:sp>
        <p:grpSp>
          <p:nvGrpSpPr>
            <p:cNvPr id="41" name="Group 101">
              <a:extLst>
                <a:ext uri="{FF2B5EF4-FFF2-40B4-BE49-F238E27FC236}">
                  <a16:creationId xmlns:a16="http://schemas.microsoft.com/office/drawing/2014/main" id="{2505BEE7-F231-8C0E-444F-3DDEA0CB3820}"/>
                </a:ext>
              </a:extLst>
            </p:cNvPr>
            <p:cNvGrpSpPr/>
            <p:nvPr/>
          </p:nvGrpSpPr>
          <p:grpSpPr>
            <a:xfrm>
              <a:off x="6487131" y="910723"/>
              <a:ext cx="2193358" cy="292623"/>
              <a:chOff x="5133975" y="866775"/>
              <a:chExt cx="1927383" cy="249077"/>
            </a:xfrm>
          </p:grpSpPr>
          <p:sp>
            <p:nvSpPr>
              <p:cNvPr id="42" name="Freeform: Shape 102">
                <a:extLst>
                  <a:ext uri="{FF2B5EF4-FFF2-40B4-BE49-F238E27FC236}">
                    <a16:creationId xmlns:a16="http://schemas.microsoft.com/office/drawing/2014/main" id="{E8C9BB87-1CEB-4969-5E17-A87A90FB903D}"/>
                  </a:ext>
                </a:extLst>
              </p:cNvPr>
              <p:cNvSpPr/>
              <p:nvPr/>
            </p:nvSpPr>
            <p:spPr>
              <a:xfrm>
                <a:off x="5133975" y="1012983"/>
                <a:ext cx="84582" cy="102869"/>
              </a:xfrm>
              <a:custGeom>
                <a:avLst/>
                <a:gdLst>
                  <a:gd name="connsiteX0" fmla="*/ 53150 w 84582"/>
                  <a:gd name="connsiteY0" fmla="*/ 63817 h 102869"/>
                  <a:gd name="connsiteX1" fmla="*/ 18764 w 84582"/>
                  <a:gd name="connsiteY1" fmla="*/ 74295 h 102869"/>
                  <a:gd name="connsiteX2" fmla="*/ 18193 w 84582"/>
                  <a:gd name="connsiteY2" fmla="*/ 97345 h 102869"/>
                  <a:gd name="connsiteX3" fmla="*/ 0 w 84582"/>
                  <a:gd name="connsiteY3" fmla="*/ 102870 h 102869"/>
                  <a:gd name="connsiteX4" fmla="*/ 5239 w 84582"/>
                  <a:gd name="connsiteY4" fmla="*/ 6477 h 102869"/>
                  <a:gd name="connsiteX5" fmla="*/ 26670 w 84582"/>
                  <a:gd name="connsiteY5" fmla="*/ 0 h 102869"/>
                  <a:gd name="connsiteX6" fmla="*/ 84582 w 84582"/>
                  <a:gd name="connsiteY6" fmla="*/ 77153 h 102869"/>
                  <a:gd name="connsiteX7" fmla="*/ 66389 w 84582"/>
                  <a:gd name="connsiteY7" fmla="*/ 82677 h 102869"/>
                  <a:gd name="connsiteX8" fmla="*/ 53054 w 84582"/>
                  <a:gd name="connsiteY8" fmla="*/ 63817 h 102869"/>
                  <a:gd name="connsiteX9" fmla="*/ 44482 w 84582"/>
                  <a:gd name="connsiteY9" fmla="*/ 51626 h 102869"/>
                  <a:gd name="connsiteX10" fmla="*/ 27718 w 84582"/>
                  <a:gd name="connsiteY10" fmla="*/ 28099 h 102869"/>
                  <a:gd name="connsiteX11" fmla="*/ 20860 w 84582"/>
                  <a:gd name="connsiteY11" fmla="*/ 17907 h 102869"/>
                  <a:gd name="connsiteX12" fmla="*/ 20003 w 84582"/>
                  <a:gd name="connsiteY12" fmla="*/ 16669 h 102869"/>
                  <a:gd name="connsiteX13" fmla="*/ 20003 w 84582"/>
                  <a:gd name="connsiteY13" fmla="*/ 22289 h 102869"/>
                  <a:gd name="connsiteX14" fmla="*/ 19812 w 84582"/>
                  <a:gd name="connsiteY14" fmla="*/ 30480 h 102869"/>
                  <a:gd name="connsiteX15" fmla="*/ 19050 w 84582"/>
                  <a:gd name="connsiteY15" fmla="*/ 59341 h 102869"/>
                  <a:gd name="connsiteX16" fmla="*/ 44387 w 84582"/>
                  <a:gd name="connsiteY16" fmla="*/ 51626 h 1028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84582" h="102869">
                    <a:moveTo>
                      <a:pt x="53150" y="63817"/>
                    </a:moveTo>
                    <a:lnTo>
                      <a:pt x="18764" y="74295"/>
                    </a:lnTo>
                    <a:lnTo>
                      <a:pt x="18193" y="97345"/>
                    </a:lnTo>
                    <a:lnTo>
                      <a:pt x="0" y="102870"/>
                    </a:lnTo>
                    <a:lnTo>
                      <a:pt x="5239" y="6477"/>
                    </a:lnTo>
                    <a:lnTo>
                      <a:pt x="26670" y="0"/>
                    </a:lnTo>
                    <a:lnTo>
                      <a:pt x="84582" y="77153"/>
                    </a:lnTo>
                    <a:lnTo>
                      <a:pt x="66389" y="82677"/>
                    </a:lnTo>
                    <a:lnTo>
                      <a:pt x="53054" y="63817"/>
                    </a:lnTo>
                    <a:close/>
                    <a:moveTo>
                      <a:pt x="44482" y="51626"/>
                    </a:moveTo>
                    <a:lnTo>
                      <a:pt x="27718" y="28099"/>
                    </a:lnTo>
                    <a:cubicBezTo>
                      <a:pt x="27718" y="28099"/>
                      <a:pt x="25146" y="24289"/>
                      <a:pt x="20860" y="17907"/>
                    </a:cubicBezTo>
                    <a:lnTo>
                      <a:pt x="20003" y="16669"/>
                    </a:lnTo>
                    <a:cubicBezTo>
                      <a:pt x="20003" y="17621"/>
                      <a:pt x="20003" y="19526"/>
                      <a:pt x="20003" y="22289"/>
                    </a:cubicBezTo>
                    <a:cubicBezTo>
                      <a:pt x="20003" y="25051"/>
                      <a:pt x="20003" y="27813"/>
                      <a:pt x="19812" y="30480"/>
                    </a:cubicBezTo>
                    <a:lnTo>
                      <a:pt x="19050" y="59341"/>
                    </a:lnTo>
                    <a:lnTo>
                      <a:pt x="44387" y="51626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1717">
                  <a:defRPr/>
                </a:pPr>
                <a:endParaRPr lang="en-US" sz="1696">
                  <a:solidFill>
                    <a:srgbClr val="000000"/>
                  </a:solidFill>
                </a:endParaRPr>
              </a:p>
            </p:txBody>
          </p:sp>
          <p:sp>
            <p:nvSpPr>
              <p:cNvPr id="43" name="Freeform: Shape 103">
                <a:extLst>
                  <a:ext uri="{FF2B5EF4-FFF2-40B4-BE49-F238E27FC236}">
                    <a16:creationId xmlns:a16="http://schemas.microsoft.com/office/drawing/2014/main" id="{2A314B8A-3533-BEA0-2C30-A472F599C49C}"/>
                  </a:ext>
                </a:extLst>
              </p:cNvPr>
              <p:cNvSpPr/>
              <p:nvPr/>
            </p:nvSpPr>
            <p:spPr>
              <a:xfrm>
                <a:off x="5203888" y="995171"/>
                <a:ext cx="42957" cy="92392"/>
              </a:xfrm>
              <a:custGeom>
                <a:avLst/>
                <a:gdLst>
                  <a:gd name="connsiteX0" fmla="*/ 0 w 42957"/>
                  <a:gd name="connsiteY0" fmla="*/ 5144 h 92392"/>
                  <a:gd name="connsiteX1" fmla="*/ 18288 w 42957"/>
                  <a:gd name="connsiteY1" fmla="*/ 0 h 92392"/>
                  <a:gd name="connsiteX2" fmla="*/ 42958 w 42957"/>
                  <a:gd name="connsiteY2" fmla="*/ 87249 h 92392"/>
                  <a:gd name="connsiteX3" fmla="*/ 24670 w 42957"/>
                  <a:gd name="connsiteY3" fmla="*/ 92393 h 92392"/>
                  <a:gd name="connsiteX4" fmla="*/ 0 w 42957"/>
                  <a:gd name="connsiteY4" fmla="*/ 5144 h 923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957" h="92392">
                    <a:moveTo>
                      <a:pt x="0" y="5144"/>
                    </a:moveTo>
                    <a:lnTo>
                      <a:pt x="18288" y="0"/>
                    </a:lnTo>
                    <a:lnTo>
                      <a:pt x="42958" y="87249"/>
                    </a:lnTo>
                    <a:lnTo>
                      <a:pt x="24670" y="92393"/>
                    </a:lnTo>
                    <a:lnTo>
                      <a:pt x="0" y="5144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1717">
                  <a:defRPr/>
                </a:pPr>
                <a:endParaRPr lang="en-US" sz="1696">
                  <a:solidFill>
                    <a:srgbClr val="000000"/>
                  </a:solidFill>
                </a:endParaRPr>
              </a:p>
            </p:txBody>
          </p:sp>
          <p:sp>
            <p:nvSpPr>
              <p:cNvPr id="44" name="Freeform: Shape 104">
                <a:extLst>
                  <a:ext uri="{FF2B5EF4-FFF2-40B4-BE49-F238E27FC236}">
                    <a16:creationId xmlns:a16="http://schemas.microsoft.com/office/drawing/2014/main" id="{C6E6F046-9DD9-D711-85D3-FD106C08EB60}"/>
                  </a:ext>
                </a:extLst>
              </p:cNvPr>
              <p:cNvSpPr/>
              <p:nvPr/>
            </p:nvSpPr>
            <p:spPr>
              <a:xfrm>
                <a:off x="5248846" y="1029461"/>
                <a:ext cx="36385" cy="23812"/>
              </a:xfrm>
              <a:custGeom>
                <a:avLst/>
                <a:gdLst>
                  <a:gd name="connsiteX0" fmla="*/ 0 w 36385"/>
                  <a:gd name="connsiteY0" fmla="*/ 8668 h 23812"/>
                  <a:gd name="connsiteX1" fmla="*/ 32290 w 36385"/>
                  <a:gd name="connsiteY1" fmla="*/ 0 h 23812"/>
                  <a:gd name="connsiteX2" fmla="*/ 36385 w 36385"/>
                  <a:gd name="connsiteY2" fmla="*/ 15145 h 23812"/>
                  <a:gd name="connsiteX3" fmla="*/ 4096 w 36385"/>
                  <a:gd name="connsiteY3" fmla="*/ 23813 h 23812"/>
                  <a:gd name="connsiteX4" fmla="*/ 0 w 36385"/>
                  <a:gd name="connsiteY4" fmla="*/ 8763 h 238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385" h="23812">
                    <a:moveTo>
                      <a:pt x="0" y="8668"/>
                    </a:moveTo>
                    <a:lnTo>
                      <a:pt x="32290" y="0"/>
                    </a:lnTo>
                    <a:lnTo>
                      <a:pt x="36385" y="15145"/>
                    </a:lnTo>
                    <a:lnTo>
                      <a:pt x="4096" y="23813"/>
                    </a:lnTo>
                    <a:lnTo>
                      <a:pt x="0" y="8763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1717">
                  <a:defRPr/>
                </a:pPr>
                <a:endParaRPr lang="en-US" sz="1696">
                  <a:solidFill>
                    <a:srgbClr val="000000"/>
                  </a:solidFill>
                </a:endParaRPr>
              </a:p>
            </p:txBody>
          </p:sp>
          <p:sp>
            <p:nvSpPr>
              <p:cNvPr id="48" name="Freeform: Shape 105">
                <a:extLst>
                  <a:ext uri="{FF2B5EF4-FFF2-40B4-BE49-F238E27FC236}">
                    <a16:creationId xmlns:a16="http://schemas.microsoft.com/office/drawing/2014/main" id="{F07BE056-326F-1EA2-92E4-400D91236AFF}"/>
                  </a:ext>
                </a:extLst>
              </p:cNvPr>
              <p:cNvSpPr/>
              <p:nvPr/>
            </p:nvSpPr>
            <p:spPr>
              <a:xfrm>
                <a:off x="5288756" y="987026"/>
                <a:ext cx="75187" cy="106062"/>
              </a:xfrm>
              <a:custGeom>
                <a:avLst/>
                <a:gdLst>
                  <a:gd name="connsiteX0" fmla="*/ 4286 w 75187"/>
                  <a:gd name="connsiteY0" fmla="*/ 27290 h 106062"/>
                  <a:gd name="connsiteX1" fmla="*/ 0 w 75187"/>
                  <a:gd name="connsiteY1" fmla="*/ 11955 h 106062"/>
                  <a:gd name="connsiteX2" fmla="*/ 17050 w 75187"/>
                  <a:gd name="connsiteY2" fmla="*/ 7764 h 106062"/>
                  <a:gd name="connsiteX3" fmla="*/ 18479 w 75187"/>
                  <a:gd name="connsiteY3" fmla="*/ 11574 h 106062"/>
                  <a:gd name="connsiteX4" fmla="*/ 20193 w 75187"/>
                  <a:gd name="connsiteY4" fmla="*/ 17289 h 106062"/>
                  <a:gd name="connsiteX5" fmla="*/ 20479 w 75187"/>
                  <a:gd name="connsiteY5" fmla="*/ 17289 h 106062"/>
                  <a:gd name="connsiteX6" fmla="*/ 39243 w 75187"/>
                  <a:gd name="connsiteY6" fmla="*/ 811 h 106062"/>
                  <a:gd name="connsiteX7" fmla="*/ 54293 w 75187"/>
                  <a:gd name="connsiteY7" fmla="*/ 1859 h 106062"/>
                  <a:gd name="connsiteX8" fmla="*/ 66008 w 75187"/>
                  <a:gd name="connsiteY8" fmla="*/ 12050 h 106062"/>
                  <a:gd name="connsiteX9" fmla="*/ 73438 w 75187"/>
                  <a:gd name="connsiteY9" fmla="*/ 29291 h 106062"/>
                  <a:gd name="connsiteX10" fmla="*/ 74771 w 75187"/>
                  <a:gd name="connsiteY10" fmla="*/ 48436 h 106062"/>
                  <a:gd name="connsiteX11" fmla="*/ 68580 w 75187"/>
                  <a:gd name="connsiteY11" fmla="*/ 63295 h 106062"/>
                  <a:gd name="connsiteX12" fmla="*/ 55055 w 75187"/>
                  <a:gd name="connsiteY12" fmla="*/ 71391 h 106062"/>
                  <a:gd name="connsiteX13" fmla="*/ 42863 w 75187"/>
                  <a:gd name="connsiteY13" fmla="*/ 71677 h 106062"/>
                  <a:gd name="connsiteX14" fmla="*/ 32480 w 75187"/>
                  <a:gd name="connsiteY14" fmla="*/ 65581 h 106062"/>
                  <a:gd name="connsiteX15" fmla="*/ 32099 w 75187"/>
                  <a:gd name="connsiteY15" fmla="*/ 65581 h 106062"/>
                  <a:gd name="connsiteX16" fmla="*/ 33338 w 75187"/>
                  <a:gd name="connsiteY16" fmla="*/ 69677 h 106062"/>
                  <a:gd name="connsiteX17" fmla="*/ 34957 w 75187"/>
                  <a:gd name="connsiteY17" fmla="*/ 75677 h 106062"/>
                  <a:gd name="connsiteX18" fmla="*/ 41434 w 75187"/>
                  <a:gd name="connsiteY18" fmla="*/ 101681 h 106062"/>
                  <a:gd name="connsiteX19" fmla="*/ 23908 w 75187"/>
                  <a:gd name="connsiteY19" fmla="*/ 106062 h 106062"/>
                  <a:gd name="connsiteX20" fmla="*/ 4381 w 75187"/>
                  <a:gd name="connsiteY20" fmla="*/ 27386 h 106062"/>
                  <a:gd name="connsiteX21" fmla="*/ 55245 w 75187"/>
                  <a:gd name="connsiteY21" fmla="*/ 50912 h 106062"/>
                  <a:gd name="connsiteX22" fmla="*/ 55055 w 75187"/>
                  <a:gd name="connsiteY22" fmla="*/ 33767 h 106062"/>
                  <a:gd name="connsiteX23" fmla="*/ 47434 w 75187"/>
                  <a:gd name="connsiteY23" fmla="*/ 19194 h 106062"/>
                  <a:gd name="connsiteX24" fmla="*/ 35909 w 75187"/>
                  <a:gd name="connsiteY24" fmla="*/ 16432 h 106062"/>
                  <a:gd name="connsiteX25" fmla="*/ 29051 w 75187"/>
                  <a:gd name="connsiteY25" fmla="*/ 20242 h 106062"/>
                  <a:gd name="connsiteX26" fmla="*/ 25146 w 75187"/>
                  <a:gd name="connsiteY26" fmla="*/ 28338 h 106062"/>
                  <a:gd name="connsiteX27" fmla="*/ 26098 w 75187"/>
                  <a:gd name="connsiteY27" fmla="*/ 41387 h 106062"/>
                  <a:gd name="connsiteX28" fmla="*/ 31337 w 75187"/>
                  <a:gd name="connsiteY28" fmla="*/ 53198 h 106062"/>
                  <a:gd name="connsiteX29" fmla="*/ 38481 w 75187"/>
                  <a:gd name="connsiteY29" fmla="*/ 58532 h 106062"/>
                  <a:gd name="connsiteX30" fmla="*/ 46196 w 75187"/>
                  <a:gd name="connsiteY30" fmla="*/ 58723 h 106062"/>
                  <a:gd name="connsiteX31" fmla="*/ 55150 w 75187"/>
                  <a:gd name="connsiteY31" fmla="*/ 50912 h 1060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75187" h="106062">
                    <a:moveTo>
                      <a:pt x="4286" y="27290"/>
                    </a:moveTo>
                    <a:cubicBezTo>
                      <a:pt x="2667" y="20909"/>
                      <a:pt x="1238" y="15860"/>
                      <a:pt x="0" y="11955"/>
                    </a:cubicBezTo>
                    <a:lnTo>
                      <a:pt x="17050" y="7764"/>
                    </a:lnTo>
                    <a:cubicBezTo>
                      <a:pt x="17050" y="7764"/>
                      <a:pt x="17812" y="9383"/>
                      <a:pt x="18479" y="11574"/>
                    </a:cubicBezTo>
                    <a:cubicBezTo>
                      <a:pt x="19145" y="13765"/>
                      <a:pt x="19717" y="15670"/>
                      <a:pt x="20193" y="17289"/>
                    </a:cubicBezTo>
                    <a:lnTo>
                      <a:pt x="20479" y="17289"/>
                    </a:lnTo>
                    <a:cubicBezTo>
                      <a:pt x="23051" y="8717"/>
                      <a:pt x="29337" y="3192"/>
                      <a:pt x="39243" y="811"/>
                    </a:cubicBezTo>
                    <a:cubicBezTo>
                      <a:pt x="44672" y="-523"/>
                      <a:pt x="49720" y="-237"/>
                      <a:pt x="54293" y="1859"/>
                    </a:cubicBezTo>
                    <a:cubicBezTo>
                      <a:pt x="58865" y="3859"/>
                      <a:pt x="62770" y="7288"/>
                      <a:pt x="66008" y="12050"/>
                    </a:cubicBezTo>
                    <a:cubicBezTo>
                      <a:pt x="69247" y="16813"/>
                      <a:pt x="71723" y="22528"/>
                      <a:pt x="73438" y="29291"/>
                    </a:cubicBezTo>
                    <a:cubicBezTo>
                      <a:pt x="75152" y="36244"/>
                      <a:pt x="75629" y="42626"/>
                      <a:pt x="74771" y="48436"/>
                    </a:cubicBezTo>
                    <a:cubicBezTo>
                      <a:pt x="74009" y="54341"/>
                      <a:pt x="71914" y="59294"/>
                      <a:pt x="68580" y="63295"/>
                    </a:cubicBezTo>
                    <a:cubicBezTo>
                      <a:pt x="65246" y="67295"/>
                      <a:pt x="60674" y="70058"/>
                      <a:pt x="55055" y="71391"/>
                    </a:cubicBezTo>
                    <a:cubicBezTo>
                      <a:pt x="50864" y="72439"/>
                      <a:pt x="46863" y="72534"/>
                      <a:pt x="42863" y="71677"/>
                    </a:cubicBezTo>
                    <a:cubicBezTo>
                      <a:pt x="38862" y="70820"/>
                      <a:pt x="35433" y="68819"/>
                      <a:pt x="32480" y="65581"/>
                    </a:cubicBezTo>
                    <a:lnTo>
                      <a:pt x="32099" y="65581"/>
                    </a:lnTo>
                    <a:cubicBezTo>
                      <a:pt x="32290" y="66152"/>
                      <a:pt x="32671" y="67486"/>
                      <a:pt x="33338" y="69677"/>
                    </a:cubicBezTo>
                    <a:cubicBezTo>
                      <a:pt x="34004" y="71963"/>
                      <a:pt x="34481" y="73963"/>
                      <a:pt x="34957" y="75677"/>
                    </a:cubicBezTo>
                    <a:lnTo>
                      <a:pt x="41434" y="101681"/>
                    </a:lnTo>
                    <a:lnTo>
                      <a:pt x="23908" y="106062"/>
                    </a:lnTo>
                    <a:lnTo>
                      <a:pt x="4381" y="27386"/>
                    </a:lnTo>
                    <a:close/>
                    <a:moveTo>
                      <a:pt x="55245" y="50912"/>
                    </a:moveTo>
                    <a:cubicBezTo>
                      <a:pt x="56959" y="46721"/>
                      <a:pt x="56864" y="41006"/>
                      <a:pt x="55055" y="33767"/>
                    </a:cubicBezTo>
                    <a:cubicBezTo>
                      <a:pt x="53340" y="26909"/>
                      <a:pt x="50864" y="22052"/>
                      <a:pt x="47434" y="19194"/>
                    </a:cubicBezTo>
                    <a:cubicBezTo>
                      <a:pt x="44101" y="16337"/>
                      <a:pt x="40291" y="15384"/>
                      <a:pt x="35909" y="16432"/>
                    </a:cubicBezTo>
                    <a:cubicBezTo>
                      <a:pt x="33242" y="17099"/>
                      <a:pt x="31052" y="18337"/>
                      <a:pt x="29051" y="20242"/>
                    </a:cubicBezTo>
                    <a:cubicBezTo>
                      <a:pt x="27146" y="22147"/>
                      <a:pt x="25813" y="24814"/>
                      <a:pt x="25146" y="28338"/>
                    </a:cubicBezTo>
                    <a:cubicBezTo>
                      <a:pt x="24479" y="31862"/>
                      <a:pt x="24765" y="36244"/>
                      <a:pt x="26098" y="41387"/>
                    </a:cubicBezTo>
                    <a:cubicBezTo>
                      <a:pt x="27337" y="46436"/>
                      <a:pt x="29051" y="50436"/>
                      <a:pt x="31337" y="53198"/>
                    </a:cubicBezTo>
                    <a:cubicBezTo>
                      <a:pt x="33623" y="55961"/>
                      <a:pt x="35909" y="57770"/>
                      <a:pt x="38481" y="58532"/>
                    </a:cubicBezTo>
                    <a:cubicBezTo>
                      <a:pt x="41053" y="59294"/>
                      <a:pt x="43625" y="59390"/>
                      <a:pt x="46196" y="58723"/>
                    </a:cubicBezTo>
                    <a:cubicBezTo>
                      <a:pt x="50482" y="57675"/>
                      <a:pt x="53435" y="55008"/>
                      <a:pt x="55150" y="50912"/>
                    </a:cubicBez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1717">
                  <a:defRPr/>
                </a:pPr>
                <a:endParaRPr lang="en-US" sz="1696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Freeform: Shape 106">
                <a:extLst>
                  <a:ext uri="{FF2B5EF4-FFF2-40B4-BE49-F238E27FC236}">
                    <a16:creationId xmlns:a16="http://schemas.microsoft.com/office/drawing/2014/main" id="{C0C3EBD0-2B74-37BD-3585-B4302ECC8E12}"/>
                  </a:ext>
                </a:extLst>
              </p:cNvPr>
              <p:cNvSpPr/>
              <p:nvPr/>
            </p:nvSpPr>
            <p:spPr>
              <a:xfrm>
                <a:off x="5371504" y="970151"/>
                <a:ext cx="70759" cy="72748"/>
              </a:xfrm>
              <a:custGeom>
                <a:avLst/>
                <a:gdLst>
                  <a:gd name="connsiteX0" fmla="*/ 23455 w 70759"/>
                  <a:gd name="connsiteY0" fmla="*/ 71122 h 72748"/>
                  <a:gd name="connsiteX1" fmla="*/ 8977 w 70759"/>
                  <a:gd name="connsiteY1" fmla="*/ 61025 h 72748"/>
                  <a:gd name="connsiteX2" fmla="*/ 1072 w 70759"/>
                  <a:gd name="connsiteY2" fmla="*/ 43880 h 72748"/>
                  <a:gd name="connsiteX3" fmla="*/ 1072 w 70759"/>
                  <a:gd name="connsiteY3" fmla="*/ 25307 h 72748"/>
                  <a:gd name="connsiteX4" fmla="*/ 9835 w 70759"/>
                  <a:gd name="connsiteY4" fmla="*/ 10067 h 72748"/>
                  <a:gd name="connsiteX5" fmla="*/ 27742 w 70759"/>
                  <a:gd name="connsiteY5" fmla="*/ 1208 h 72748"/>
                  <a:gd name="connsiteX6" fmla="*/ 48125 w 70759"/>
                  <a:gd name="connsiteY6" fmla="*/ 1589 h 72748"/>
                  <a:gd name="connsiteX7" fmla="*/ 62127 w 70759"/>
                  <a:gd name="connsiteY7" fmla="*/ 11686 h 72748"/>
                  <a:gd name="connsiteX8" fmla="*/ 69652 w 70759"/>
                  <a:gd name="connsiteY8" fmla="*/ 28736 h 72748"/>
                  <a:gd name="connsiteX9" fmla="*/ 69652 w 70759"/>
                  <a:gd name="connsiteY9" fmla="*/ 47595 h 72748"/>
                  <a:gd name="connsiteX10" fmla="*/ 60698 w 70759"/>
                  <a:gd name="connsiteY10" fmla="*/ 62835 h 72748"/>
                  <a:gd name="connsiteX11" fmla="*/ 42791 w 70759"/>
                  <a:gd name="connsiteY11" fmla="*/ 71693 h 72748"/>
                  <a:gd name="connsiteX12" fmla="*/ 23360 w 70759"/>
                  <a:gd name="connsiteY12" fmla="*/ 71122 h 72748"/>
                  <a:gd name="connsiteX13" fmla="*/ 50411 w 70759"/>
                  <a:gd name="connsiteY13" fmla="*/ 49500 h 72748"/>
                  <a:gd name="connsiteX14" fmla="*/ 51173 w 70759"/>
                  <a:gd name="connsiteY14" fmla="*/ 32736 h 72748"/>
                  <a:gd name="connsiteX15" fmla="*/ 43744 w 70759"/>
                  <a:gd name="connsiteY15" fmla="*/ 17972 h 72748"/>
                  <a:gd name="connsiteX16" fmla="*/ 31075 w 70759"/>
                  <a:gd name="connsiteY16" fmla="*/ 15020 h 72748"/>
                  <a:gd name="connsiteX17" fmla="*/ 20312 w 70759"/>
                  <a:gd name="connsiteY17" fmla="*/ 23116 h 72748"/>
                  <a:gd name="connsiteX18" fmla="*/ 19645 w 70759"/>
                  <a:gd name="connsiteY18" fmla="*/ 39689 h 72748"/>
                  <a:gd name="connsiteX19" fmla="*/ 24122 w 70759"/>
                  <a:gd name="connsiteY19" fmla="*/ 50834 h 72748"/>
                  <a:gd name="connsiteX20" fmla="*/ 31075 w 70759"/>
                  <a:gd name="connsiteY20" fmla="*/ 56930 h 72748"/>
                  <a:gd name="connsiteX21" fmla="*/ 39648 w 70759"/>
                  <a:gd name="connsiteY21" fmla="*/ 57692 h 72748"/>
                  <a:gd name="connsiteX22" fmla="*/ 50506 w 70759"/>
                  <a:gd name="connsiteY22" fmla="*/ 49500 h 72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70759" h="72748">
                    <a:moveTo>
                      <a:pt x="23455" y="71122"/>
                    </a:moveTo>
                    <a:cubicBezTo>
                      <a:pt x="17645" y="69122"/>
                      <a:pt x="12787" y="65788"/>
                      <a:pt x="8977" y="61025"/>
                    </a:cubicBezTo>
                    <a:cubicBezTo>
                      <a:pt x="5167" y="56263"/>
                      <a:pt x="2500" y="50548"/>
                      <a:pt x="1072" y="43880"/>
                    </a:cubicBezTo>
                    <a:cubicBezTo>
                      <a:pt x="-357" y="37403"/>
                      <a:pt x="-357" y="31212"/>
                      <a:pt x="1072" y="25307"/>
                    </a:cubicBezTo>
                    <a:cubicBezTo>
                      <a:pt x="2500" y="19401"/>
                      <a:pt x="5358" y="14353"/>
                      <a:pt x="9835" y="10067"/>
                    </a:cubicBezTo>
                    <a:cubicBezTo>
                      <a:pt x="14311" y="5780"/>
                      <a:pt x="20217" y="2828"/>
                      <a:pt x="27742" y="1208"/>
                    </a:cubicBezTo>
                    <a:cubicBezTo>
                      <a:pt x="35552" y="-506"/>
                      <a:pt x="42410" y="-411"/>
                      <a:pt x="48125" y="1589"/>
                    </a:cubicBezTo>
                    <a:cubicBezTo>
                      <a:pt x="53935" y="3590"/>
                      <a:pt x="58603" y="6923"/>
                      <a:pt x="62127" y="11686"/>
                    </a:cubicBezTo>
                    <a:cubicBezTo>
                      <a:pt x="65651" y="16448"/>
                      <a:pt x="68223" y="22068"/>
                      <a:pt x="69652" y="28736"/>
                    </a:cubicBezTo>
                    <a:cubicBezTo>
                      <a:pt x="71080" y="35403"/>
                      <a:pt x="71176" y="41690"/>
                      <a:pt x="69652" y="47595"/>
                    </a:cubicBezTo>
                    <a:cubicBezTo>
                      <a:pt x="68223" y="53501"/>
                      <a:pt x="65270" y="58644"/>
                      <a:pt x="60698" y="62835"/>
                    </a:cubicBezTo>
                    <a:cubicBezTo>
                      <a:pt x="56221" y="67121"/>
                      <a:pt x="50221" y="70074"/>
                      <a:pt x="42791" y="71693"/>
                    </a:cubicBezTo>
                    <a:cubicBezTo>
                      <a:pt x="35647" y="73313"/>
                      <a:pt x="29170" y="73027"/>
                      <a:pt x="23360" y="71122"/>
                    </a:cubicBezTo>
                    <a:close/>
                    <a:moveTo>
                      <a:pt x="50411" y="49500"/>
                    </a:moveTo>
                    <a:cubicBezTo>
                      <a:pt x="52411" y="45214"/>
                      <a:pt x="52602" y="39594"/>
                      <a:pt x="51173" y="32736"/>
                    </a:cubicBezTo>
                    <a:cubicBezTo>
                      <a:pt x="49649" y="25973"/>
                      <a:pt x="47173" y="21020"/>
                      <a:pt x="43744" y="17972"/>
                    </a:cubicBezTo>
                    <a:cubicBezTo>
                      <a:pt x="40315" y="14924"/>
                      <a:pt x="36028" y="13972"/>
                      <a:pt x="31075" y="15020"/>
                    </a:cubicBezTo>
                    <a:cubicBezTo>
                      <a:pt x="25837" y="16163"/>
                      <a:pt x="22312" y="18925"/>
                      <a:pt x="20312" y="23116"/>
                    </a:cubicBezTo>
                    <a:cubicBezTo>
                      <a:pt x="18312" y="27402"/>
                      <a:pt x="18121" y="32927"/>
                      <a:pt x="19645" y="39689"/>
                    </a:cubicBezTo>
                    <a:cubicBezTo>
                      <a:pt x="20598" y="44166"/>
                      <a:pt x="22122" y="47881"/>
                      <a:pt x="24122" y="50834"/>
                    </a:cubicBezTo>
                    <a:cubicBezTo>
                      <a:pt x="26122" y="53786"/>
                      <a:pt x="28408" y="55786"/>
                      <a:pt x="31075" y="56930"/>
                    </a:cubicBezTo>
                    <a:cubicBezTo>
                      <a:pt x="33742" y="58073"/>
                      <a:pt x="36600" y="58358"/>
                      <a:pt x="39648" y="57692"/>
                    </a:cubicBezTo>
                    <a:cubicBezTo>
                      <a:pt x="44887" y="56549"/>
                      <a:pt x="48506" y="53786"/>
                      <a:pt x="50506" y="49500"/>
                    </a:cubicBez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1717">
                  <a:defRPr/>
                </a:pPr>
                <a:endParaRPr lang="en-US" sz="1696">
                  <a:solidFill>
                    <a:srgbClr val="000000"/>
                  </a:solidFill>
                </a:endParaRPr>
              </a:p>
            </p:txBody>
          </p:sp>
          <p:sp>
            <p:nvSpPr>
              <p:cNvPr id="57" name="Freeform: Shape 107">
                <a:extLst>
                  <a:ext uri="{FF2B5EF4-FFF2-40B4-BE49-F238E27FC236}">
                    <a16:creationId xmlns:a16="http://schemas.microsoft.com/office/drawing/2014/main" id="{2C14B157-EF7B-FFCB-A145-23CF0E8EA2B8}"/>
                  </a:ext>
                </a:extLst>
              </p:cNvPr>
              <p:cNvSpPr/>
              <p:nvPr/>
            </p:nvSpPr>
            <p:spPr>
              <a:xfrm>
                <a:off x="5439537" y="944117"/>
                <a:ext cx="101536" cy="84391"/>
              </a:xfrm>
              <a:custGeom>
                <a:avLst/>
                <a:gdLst>
                  <a:gd name="connsiteX0" fmla="*/ 95 w 101536"/>
                  <a:gd name="connsiteY0" fmla="*/ 19431 h 84391"/>
                  <a:gd name="connsiteX1" fmla="*/ 17050 w 101536"/>
                  <a:gd name="connsiteY1" fmla="*/ 16192 h 84391"/>
                  <a:gd name="connsiteX2" fmla="*/ 33338 w 101536"/>
                  <a:gd name="connsiteY2" fmla="*/ 54673 h 84391"/>
                  <a:gd name="connsiteX3" fmla="*/ 36195 w 101536"/>
                  <a:gd name="connsiteY3" fmla="*/ 61722 h 84391"/>
                  <a:gd name="connsiteX4" fmla="*/ 38005 w 101536"/>
                  <a:gd name="connsiteY4" fmla="*/ 66294 h 84391"/>
                  <a:gd name="connsiteX5" fmla="*/ 37909 w 101536"/>
                  <a:gd name="connsiteY5" fmla="*/ 60579 h 84391"/>
                  <a:gd name="connsiteX6" fmla="*/ 38100 w 101536"/>
                  <a:gd name="connsiteY6" fmla="*/ 53816 h 84391"/>
                  <a:gd name="connsiteX7" fmla="*/ 41148 w 101536"/>
                  <a:gd name="connsiteY7" fmla="*/ 11621 h 84391"/>
                  <a:gd name="connsiteX8" fmla="*/ 60388 w 101536"/>
                  <a:gd name="connsiteY8" fmla="*/ 7906 h 84391"/>
                  <a:gd name="connsiteX9" fmla="*/ 78581 w 101536"/>
                  <a:gd name="connsiteY9" fmla="*/ 46006 h 84391"/>
                  <a:gd name="connsiteX10" fmla="*/ 81724 w 101536"/>
                  <a:gd name="connsiteY10" fmla="*/ 53340 h 84391"/>
                  <a:gd name="connsiteX11" fmla="*/ 83344 w 101536"/>
                  <a:gd name="connsiteY11" fmla="*/ 57531 h 84391"/>
                  <a:gd name="connsiteX12" fmla="*/ 83344 w 101536"/>
                  <a:gd name="connsiteY12" fmla="*/ 52388 h 84391"/>
                  <a:gd name="connsiteX13" fmla="*/ 83439 w 101536"/>
                  <a:gd name="connsiteY13" fmla="*/ 45053 h 84391"/>
                  <a:gd name="connsiteX14" fmla="*/ 84868 w 101536"/>
                  <a:gd name="connsiteY14" fmla="*/ 3143 h 84391"/>
                  <a:gd name="connsiteX15" fmla="*/ 101537 w 101536"/>
                  <a:gd name="connsiteY15" fmla="*/ 0 h 84391"/>
                  <a:gd name="connsiteX16" fmla="*/ 96964 w 101536"/>
                  <a:gd name="connsiteY16" fmla="*/ 71723 h 84391"/>
                  <a:gd name="connsiteX17" fmla="*/ 77438 w 101536"/>
                  <a:gd name="connsiteY17" fmla="*/ 75438 h 84391"/>
                  <a:gd name="connsiteX18" fmla="*/ 58960 w 101536"/>
                  <a:gd name="connsiteY18" fmla="*/ 35814 h 84391"/>
                  <a:gd name="connsiteX19" fmla="*/ 55721 w 101536"/>
                  <a:gd name="connsiteY19" fmla="*/ 28480 h 84391"/>
                  <a:gd name="connsiteX20" fmla="*/ 53245 w 101536"/>
                  <a:gd name="connsiteY20" fmla="*/ 22384 h 84391"/>
                  <a:gd name="connsiteX21" fmla="*/ 53054 w 101536"/>
                  <a:gd name="connsiteY21" fmla="*/ 28956 h 84391"/>
                  <a:gd name="connsiteX22" fmla="*/ 52673 w 101536"/>
                  <a:gd name="connsiteY22" fmla="*/ 37148 h 84391"/>
                  <a:gd name="connsiteX23" fmla="*/ 50006 w 101536"/>
                  <a:gd name="connsiteY23" fmla="*/ 80677 h 84391"/>
                  <a:gd name="connsiteX24" fmla="*/ 30385 w 101536"/>
                  <a:gd name="connsiteY24" fmla="*/ 84392 h 84391"/>
                  <a:gd name="connsiteX25" fmla="*/ 0 w 101536"/>
                  <a:gd name="connsiteY25" fmla="*/ 19336 h 843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101536" h="84391">
                    <a:moveTo>
                      <a:pt x="95" y="19431"/>
                    </a:moveTo>
                    <a:lnTo>
                      <a:pt x="17050" y="16192"/>
                    </a:lnTo>
                    <a:lnTo>
                      <a:pt x="33338" y="54673"/>
                    </a:lnTo>
                    <a:cubicBezTo>
                      <a:pt x="34290" y="57150"/>
                      <a:pt x="35242" y="59436"/>
                      <a:pt x="36195" y="61722"/>
                    </a:cubicBezTo>
                    <a:cubicBezTo>
                      <a:pt x="37052" y="64008"/>
                      <a:pt x="37719" y="65532"/>
                      <a:pt x="38005" y="66294"/>
                    </a:cubicBezTo>
                    <a:cubicBezTo>
                      <a:pt x="38005" y="65341"/>
                      <a:pt x="38005" y="63532"/>
                      <a:pt x="37909" y="60579"/>
                    </a:cubicBezTo>
                    <a:cubicBezTo>
                      <a:pt x="37814" y="57626"/>
                      <a:pt x="37909" y="55435"/>
                      <a:pt x="38100" y="53816"/>
                    </a:cubicBezTo>
                    <a:lnTo>
                      <a:pt x="41148" y="11621"/>
                    </a:lnTo>
                    <a:lnTo>
                      <a:pt x="60388" y="7906"/>
                    </a:lnTo>
                    <a:lnTo>
                      <a:pt x="78581" y="46006"/>
                    </a:lnTo>
                    <a:cubicBezTo>
                      <a:pt x="79629" y="48197"/>
                      <a:pt x="80677" y="50673"/>
                      <a:pt x="81724" y="53340"/>
                    </a:cubicBezTo>
                    <a:cubicBezTo>
                      <a:pt x="82772" y="56007"/>
                      <a:pt x="83344" y="57436"/>
                      <a:pt x="83344" y="57531"/>
                    </a:cubicBezTo>
                    <a:cubicBezTo>
                      <a:pt x="83344" y="56579"/>
                      <a:pt x="83344" y="54864"/>
                      <a:pt x="83344" y="52388"/>
                    </a:cubicBezTo>
                    <a:cubicBezTo>
                      <a:pt x="83344" y="49911"/>
                      <a:pt x="83344" y="47530"/>
                      <a:pt x="83439" y="45053"/>
                    </a:cubicBezTo>
                    <a:lnTo>
                      <a:pt x="84868" y="3143"/>
                    </a:lnTo>
                    <a:lnTo>
                      <a:pt x="101537" y="0"/>
                    </a:lnTo>
                    <a:lnTo>
                      <a:pt x="96964" y="71723"/>
                    </a:lnTo>
                    <a:lnTo>
                      <a:pt x="77438" y="75438"/>
                    </a:lnTo>
                    <a:lnTo>
                      <a:pt x="58960" y="35814"/>
                    </a:lnTo>
                    <a:cubicBezTo>
                      <a:pt x="58007" y="33814"/>
                      <a:pt x="56959" y="31337"/>
                      <a:pt x="55721" y="28480"/>
                    </a:cubicBezTo>
                    <a:cubicBezTo>
                      <a:pt x="54578" y="25622"/>
                      <a:pt x="53721" y="23527"/>
                      <a:pt x="53245" y="22384"/>
                    </a:cubicBezTo>
                    <a:cubicBezTo>
                      <a:pt x="53245" y="23622"/>
                      <a:pt x="53245" y="25813"/>
                      <a:pt x="53054" y="28956"/>
                    </a:cubicBezTo>
                    <a:cubicBezTo>
                      <a:pt x="52959" y="32099"/>
                      <a:pt x="52864" y="34766"/>
                      <a:pt x="52673" y="37148"/>
                    </a:cubicBezTo>
                    <a:lnTo>
                      <a:pt x="50006" y="80677"/>
                    </a:lnTo>
                    <a:lnTo>
                      <a:pt x="30385" y="84392"/>
                    </a:lnTo>
                    <a:lnTo>
                      <a:pt x="0" y="19336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1717">
                  <a:defRPr/>
                </a:pPr>
                <a:endParaRPr lang="en-US" sz="1696">
                  <a:solidFill>
                    <a:srgbClr val="000000"/>
                  </a:solidFill>
                </a:endParaRPr>
              </a:p>
            </p:txBody>
          </p:sp>
          <p:sp>
            <p:nvSpPr>
              <p:cNvPr id="59" name="Freeform: Shape 108">
                <a:extLst>
                  <a:ext uri="{FF2B5EF4-FFF2-40B4-BE49-F238E27FC236}">
                    <a16:creationId xmlns:a16="http://schemas.microsoft.com/office/drawing/2014/main" id="{BE347098-8A8B-8DB8-7C21-408689CAF4F7}"/>
                  </a:ext>
                </a:extLst>
              </p:cNvPr>
              <p:cNvSpPr/>
              <p:nvPr/>
            </p:nvSpPr>
            <p:spPr>
              <a:xfrm>
                <a:off x="5551820" y="936307"/>
                <a:ext cx="65643" cy="72369"/>
              </a:xfrm>
              <a:custGeom>
                <a:avLst/>
                <a:gdLst>
                  <a:gd name="connsiteX0" fmla="*/ 13922 w 65643"/>
                  <a:gd name="connsiteY0" fmla="*/ 66675 h 72369"/>
                  <a:gd name="connsiteX1" fmla="*/ 778 w 65643"/>
                  <a:gd name="connsiteY1" fmla="*/ 41339 h 72369"/>
                  <a:gd name="connsiteX2" fmla="*/ 1921 w 65643"/>
                  <a:gd name="connsiteY2" fmla="*/ 20764 h 72369"/>
                  <a:gd name="connsiteX3" fmla="*/ 11732 w 65643"/>
                  <a:gd name="connsiteY3" fmla="*/ 7049 h 72369"/>
                  <a:gd name="connsiteX4" fmla="*/ 27448 w 65643"/>
                  <a:gd name="connsiteY4" fmla="*/ 572 h 72369"/>
                  <a:gd name="connsiteX5" fmla="*/ 45450 w 65643"/>
                  <a:gd name="connsiteY5" fmla="*/ 2286 h 72369"/>
                  <a:gd name="connsiteX6" fmla="*/ 57356 w 65643"/>
                  <a:gd name="connsiteY6" fmla="*/ 12668 h 72369"/>
                  <a:gd name="connsiteX7" fmla="*/ 63167 w 65643"/>
                  <a:gd name="connsiteY7" fmla="*/ 28861 h 72369"/>
                  <a:gd name="connsiteX8" fmla="*/ 63929 w 65643"/>
                  <a:gd name="connsiteY8" fmla="*/ 36100 h 72369"/>
                  <a:gd name="connsiteX9" fmla="*/ 20209 w 65643"/>
                  <a:gd name="connsiteY9" fmla="*/ 43244 h 72369"/>
                  <a:gd name="connsiteX10" fmla="*/ 26019 w 65643"/>
                  <a:gd name="connsiteY10" fmla="*/ 55340 h 72369"/>
                  <a:gd name="connsiteX11" fmla="*/ 38592 w 65643"/>
                  <a:gd name="connsiteY11" fmla="*/ 58102 h 72369"/>
                  <a:gd name="connsiteX12" fmla="*/ 44974 w 65643"/>
                  <a:gd name="connsiteY12" fmla="*/ 56293 h 72369"/>
                  <a:gd name="connsiteX13" fmla="*/ 50308 w 65643"/>
                  <a:gd name="connsiteY13" fmla="*/ 53054 h 72369"/>
                  <a:gd name="connsiteX14" fmla="*/ 56499 w 65643"/>
                  <a:gd name="connsiteY14" fmla="*/ 47530 h 72369"/>
                  <a:gd name="connsiteX15" fmla="*/ 65643 w 65643"/>
                  <a:gd name="connsiteY15" fmla="*/ 57912 h 72369"/>
                  <a:gd name="connsiteX16" fmla="*/ 54594 w 65643"/>
                  <a:gd name="connsiteY16" fmla="*/ 66866 h 72369"/>
                  <a:gd name="connsiteX17" fmla="*/ 39830 w 65643"/>
                  <a:gd name="connsiteY17" fmla="*/ 71723 h 72369"/>
                  <a:gd name="connsiteX18" fmla="*/ 13732 w 65643"/>
                  <a:gd name="connsiteY18" fmla="*/ 66770 h 72369"/>
                  <a:gd name="connsiteX19" fmla="*/ 45069 w 65643"/>
                  <a:gd name="connsiteY19" fmla="*/ 26575 h 72369"/>
                  <a:gd name="connsiteX20" fmla="*/ 39640 w 65643"/>
                  <a:gd name="connsiteY20" fmla="*/ 15716 h 72369"/>
                  <a:gd name="connsiteX21" fmla="*/ 29353 w 65643"/>
                  <a:gd name="connsiteY21" fmla="*/ 13621 h 72369"/>
                  <a:gd name="connsiteX22" fmla="*/ 20399 w 65643"/>
                  <a:gd name="connsiteY22" fmla="*/ 18859 h 72369"/>
                  <a:gd name="connsiteX23" fmla="*/ 18399 w 65643"/>
                  <a:gd name="connsiteY23" fmla="*/ 30861 h 72369"/>
                  <a:gd name="connsiteX24" fmla="*/ 45069 w 65643"/>
                  <a:gd name="connsiteY24" fmla="*/ 26575 h 723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65643" h="72369">
                    <a:moveTo>
                      <a:pt x="13922" y="66675"/>
                    </a:moveTo>
                    <a:cubicBezTo>
                      <a:pt x="7064" y="61627"/>
                      <a:pt x="2683" y="53150"/>
                      <a:pt x="778" y="41339"/>
                    </a:cubicBezTo>
                    <a:cubicBezTo>
                      <a:pt x="-556" y="33338"/>
                      <a:pt x="-175" y="26480"/>
                      <a:pt x="1921" y="20764"/>
                    </a:cubicBezTo>
                    <a:cubicBezTo>
                      <a:pt x="4016" y="15050"/>
                      <a:pt x="7255" y="10382"/>
                      <a:pt x="11732" y="7049"/>
                    </a:cubicBezTo>
                    <a:cubicBezTo>
                      <a:pt x="16208" y="3715"/>
                      <a:pt x="21447" y="1524"/>
                      <a:pt x="27448" y="572"/>
                    </a:cubicBezTo>
                    <a:cubicBezTo>
                      <a:pt x="34401" y="-572"/>
                      <a:pt x="40402" y="0"/>
                      <a:pt x="45450" y="2286"/>
                    </a:cubicBezTo>
                    <a:cubicBezTo>
                      <a:pt x="50498" y="4572"/>
                      <a:pt x="54499" y="8001"/>
                      <a:pt x="57356" y="12668"/>
                    </a:cubicBezTo>
                    <a:cubicBezTo>
                      <a:pt x="60214" y="17336"/>
                      <a:pt x="62214" y="22670"/>
                      <a:pt x="63167" y="28861"/>
                    </a:cubicBezTo>
                    <a:cubicBezTo>
                      <a:pt x="63548" y="31242"/>
                      <a:pt x="63833" y="33719"/>
                      <a:pt x="63929" y="36100"/>
                    </a:cubicBezTo>
                    <a:lnTo>
                      <a:pt x="20209" y="43244"/>
                    </a:lnTo>
                    <a:cubicBezTo>
                      <a:pt x="21066" y="48577"/>
                      <a:pt x="23066" y="52578"/>
                      <a:pt x="26019" y="55340"/>
                    </a:cubicBezTo>
                    <a:cubicBezTo>
                      <a:pt x="29067" y="58102"/>
                      <a:pt x="33258" y="58960"/>
                      <a:pt x="38592" y="58102"/>
                    </a:cubicBezTo>
                    <a:cubicBezTo>
                      <a:pt x="40973" y="57721"/>
                      <a:pt x="43164" y="57055"/>
                      <a:pt x="44974" y="56293"/>
                    </a:cubicBezTo>
                    <a:cubicBezTo>
                      <a:pt x="46879" y="55436"/>
                      <a:pt x="48593" y="54388"/>
                      <a:pt x="50308" y="53054"/>
                    </a:cubicBezTo>
                    <a:cubicBezTo>
                      <a:pt x="52022" y="51721"/>
                      <a:pt x="54023" y="49911"/>
                      <a:pt x="56499" y="47530"/>
                    </a:cubicBezTo>
                    <a:lnTo>
                      <a:pt x="65643" y="57912"/>
                    </a:lnTo>
                    <a:cubicBezTo>
                      <a:pt x="62119" y="61627"/>
                      <a:pt x="58404" y="64580"/>
                      <a:pt x="54594" y="66866"/>
                    </a:cubicBezTo>
                    <a:cubicBezTo>
                      <a:pt x="50784" y="69152"/>
                      <a:pt x="45831" y="70771"/>
                      <a:pt x="39830" y="71723"/>
                    </a:cubicBezTo>
                    <a:cubicBezTo>
                      <a:pt x="29258" y="73438"/>
                      <a:pt x="20590" y="71723"/>
                      <a:pt x="13732" y="66770"/>
                    </a:cubicBezTo>
                    <a:close/>
                    <a:moveTo>
                      <a:pt x="45069" y="26575"/>
                    </a:moveTo>
                    <a:cubicBezTo>
                      <a:pt x="44021" y="21431"/>
                      <a:pt x="42212" y="17812"/>
                      <a:pt x="39640" y="15716"/>
                    </a:cubicBezTo>
                    <a:cubicBezTo>
                      <a:pt x="36973" y="13621"/>
                      <a:pt x="33544" y="12954"/>
                      <a:pt x="29353" y="13621"/>
                    </a:cubicBezTo>
                    <a:cubicBezTo>
                      <a:pt x="25352" y="14288"/>
                      <a:pt x="22400" y="16002"/>
                      <a:pt x="20399" y="18859"/>
                    </a:cubicBezTo>
                    <a:cubicBezTo>
                      <a:pt x="18399" y="21717"/>
                      <a:pt x="17732" y="25718"/>
                      <a:pt x="18399" y="30861"/>
                    </a:cubicBezTo>
                    <a:lnTo>
                      <a:pt x="45069" y="26575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1717">
                  <a:defRPr/>
                </a:pPr>
                <a:endParaRPr lang="en-US" sz="1696">
                  <a:solidFill>
                    <a:srgbClr val="000000"/>
                  </a:solidFill>
                </a:endParaRPr>
              </a:p>
            </p:txBody>
          </p:sp>
          <p:sp>
            <p:nvSpPr>
              <p:cNvPr id="61" name="Freeform: Shape 109">
                <a:extLst>
                  <a:ext uri="{FF2B5EF4-FFF2-40B4-BE49-F238E27FC236}">
                    <a16:creationId xmlns:a16="http://schemas.microsoft.com/office/drawing/2014/main" id="{49FC2DC2-E942-30C7-A734-A22CBDE35796}"/>
                  </a:ext>
                </a:extLst>
              </p:cNvPr>
              <p:cNvSpPr/>
              <p:nvPr/>
            </p:nvSpPr>
            <p:spPr>
              <a:xfrm>
                <a:off x="5623750" y="924782"/>
                <a:ext cx="41910" cy="75247"/>
              </a:xfrm>
              <a:custGeom>
                <a:avLst/>
                <a:gdLst>
                  <a:gd name="connsiteX0" fmla="*/ 2858 w 41910"/>
                  <a:gd name="connsiteY0" fmla="*/ 22670 h 75247"/>
                  <a:gd name="connsiteX1" fmla="*/ 1334 w 41910"/>
                  <a:gd name="connsiteY1" fmla="*/ 13144 h 75247"/>
                  <a:gd name="connsiteX2" fmla="*/ 0 w 41910"/>
                  <a:gd name="connsiteY2" fmla="*/ 6572 h 75247"/>
                  <a:gd name="connsiteX3" fmla="*/ 17050 w 41910"/>
                  <a:gd name="connsiteY3" fmla="*/ 4096 h 75247"/>
                  <a:gd name="connsiteX4" fmla="*/ 18383 w 41910"/>
                  <a:gd name="connsiteY4" fmla="*/ 9525 h 75247"/>
                  <a:gd name="connsiteX5" fmla="*/ 19622 w 41910"/>
                  <a:gd name="connsiteY5" fmla="*/ 16002 h 75247"/>
                  <a:gd name="connsiteX6" fmla="*/ 19907 w 41910"/>
                  <a:gd name="connsiteY6" fmla="*/ 16002 h 75247"/>
                  <a:gd name="connsiteX7" fmla="*/ 22670 w 41910"/>
                  <a:gd name="connsiteY7" fmla="*/ 7810 h 75247"/>
                  <a:gd name="connsiteX8" fmla="*/ 26861 w 41910"/>
                  <a:gd name="connsiteY8" fmla="*/ 2857 h 75247"/>
                  <a:gd name="connsiteX9" fmla="*/ 34290 w 41910"/>
                  <a:gd name="connsiteY9" fmla="*/ 190 h 75247"/>
                  <a:gd name="connsiteX10" fmla="*/ 37719 w 41910"/>
                  <a:gd name="connsiteY10" fmla="*/ 0 h 75247"/>
                  <a:gd name="connsiteX11" fmla="*/ 40196 w 41910"/>
                  <a:gd name="connsiteY11" fmla="*/ 381 h 75247"/>
                  <a:gd name="connsiteX12" fmla="*/ 41910 w 41910"/>
                  <a:gd name="connsiteY12" fmla="*/ 15907 h 75247"/>
                  <a:gd name="connsiteX13" fmla="*/ 40577 w 41910"/>
                  <a:gd name="connsiteY13" fmla="*/ 15907 h 75247"/>
                  <a:gd name="connsiteX14" fmla="*/ 34671 w 41910"/>
                  <a:gd name="connsiteY14" fmla="*/ 16097 h 75247"/>
                  <a:gd name="connsiteX15" fmla="*/ 25051 w 41910"/>
                  <a:gd name="connsiteY15" fmla="*/ 22955 h 75247"/>
                  <a:gd name="connsiteX16" fmla="*/ 23527 w 41910"/>
                  <a:gd name="connsiteY16" fmla="*/ 38957 h 75247"/>
                  <a:gd name="connsiteX17" fmla="*/ 28289 w 41910"/>
                  <a:gd name="connsiteY17" fmla="*/ 72676 h 75247"/>
                  <a:gd name="connsiteX18" fmla="*/ 10382 w 41910"/>
                  <a:gd name="connsiteY18" fmla="*/ 75248 h 75247"/>
                  <a:gd name="connsiteX19" fmla="*/ 2858 w 41910"/>
                  <a:gd name="connsiteY19" fmla="*/ 22574 h 752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41910" h="75247">
                    <a:moveTo>
                      <a:pt x="2858" y="22670"/>
                    </a:moveTo>
                    <a:cubicBezTo>
                      <a:pt x="2477" y="19717"/>
                      <a:pt x="1905" y="16573"/>
                      <a:pt x="1334" y="13144"/>
                    </a:cubicBezTo>
                    <a:cubicBezTo>
                      <a:pt x="762" y="9811"/>
                      <a:pt x="286" y="7620"/>
                      <a:pt x="0" y="6572"/>
                    </a:cubicBezTo>
                    <a:lnTo>
                      <a:pt x="17050" y="4096"/>
                    </a:lnTo>
                    <a:cubicBezTo>
                      <a:pt x="17336" y="4858"/>
                      <a:pt x="17812" y="6667"/>
                      <a:pt x="18383" y="9525"/>
                    </a:cubicBezTo>
                    <a:cubicBezTo>
                      <a:pt x="18955" y="12382"/>
                      <a:pt x="19431" y="14573"/>
                      <a:pt x="19622" y="16002"/>
                    </a:cubicBezTo>
                    <a:lnTo>
                      <a:pt x="19907" y="16002"/>
                    </a:lnTo>
                    <a:cubicBezTo>
                      <a:pt x="20765" y="12573"/>
                      <a:pt x="21717" y="9811"/>
                      <a:pt x="22670" y="7810"/>
                    </a:cubicBezTo>
                    <a:cubicBezTo>
                      <a:pt x="23622" y="5810"/>
                      <a:pt x="25051" y="4191"/>
                      <a:pt x="26861" y="2857"/>
                    </a:cubicBezTo>
                    <a:cubicBezTo>
                      <a:pt x="28670" y="1524"/>
                      <a:pt x="31147" y="667"/>
                      <a:pt x="34290" y="190"/>
                    </a:cubicBezTo>
                    <a:cubicBezTo>
                      <a:pt x="35433" y="0"/>
                      <a:pt x="36576" y="0"/>
                      <a:pt x="37719" y="0"/>
                    </a:cubicBezTo>
                    <a:cubicBezTo>
                      <a:pt x="38862" y="0"/>
                      <a:pt x="39624" y="190"/>
                      <a:pt x="40196" y="381"/>
                    </a:cubicBezTo>
                    <a:lnTo>
                      <a:pt x="41910" y="15907"/>
                    </a:lnTo>
                    <a:cubicBezTo>
                      <a:pt x="41339" y="15907"/>
                      <a:pt x="40862" y="15907"/>
                      <a:pt x="40577" y="15907"/>
                    </a:cubicBezTo>
                    <a:cubicBezTo>
                      <a:pt x="38195" y="15811"/>
                      <a:pt x="36195" y="15907"/>
                      <a:pt x="34671" y="16097"/>
                    </a:cubicBezTo>
                    <a:cubicBezTo>
                      <a:pt x="30290" y="16764"/>
                      <a:pt x="27051" y="19050"/>
                      <a:pt x="25051" y="22955"/>
                    </a:cubicBezTo>
                    <a:cubicBezTo>
                      <a:pt x="23051" y="26860"/>
                      <a:pt x="22574" y="32290"/>
                      <a:pt x="23527" y="38957"/>
                    </a:cubicBezTo>
                    <a:lnTo>
                      <a:pt x="28289" y="72676"/>
                    </a:lnTo>
                    <a:lnTo>
                      <a:pt x="10382" y="75248"/>
                    </a:lnTo>
                    <a:lnTo>
                      <a:pt x="2858" y="22574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1717">
                  <a:defRPr/>
                </a:pPr>
                <a:endParaRPr lang="en-US" sz="1696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Freeform: Shape 110">
                <a:extLst>
                  <a:ext uri="{FF2B5EF4-FFF2-40B4-BE49-F238E27FC236}">
                    <a16:creationId xmlns:a16="http://schemas.microsoft.com/office/drawing/2014/main" id="{A6F67A02-1D0A-4702-DDA4-D9F194E60DD6}"/>
                  </a:ext>
                </a:extLst>
              </p:cNvPr>
              <p:cNvSpPr/>
              <p:nvPr/>
            </p:nvSpPr>
            <p:spPr>
              <a:xfrm>
                <a:off x="5674458" y="918837"/>
                <a:ext cx="64734" cy="72162"/>
              </a:xfrm>
              <a:custGeom>
                <a:avLst/>
                <a:gdLst>
                  <a:gd name="connsiteX0" fmla="*/ 12633 w 64734"/>
                  <a:gd name="connsiteY0" fmla="*/ 65952 h 72162"/>
                  <a:gd name="connsiteX1" fmla="*/ 441 w 64734"/>
                  <a:gd name="connsiteY1" fmla="*/ 40044 h 72162"/>
                  <a:gd name="connsiteX2" fmla="*/ 2346 w 64734"/>
                  <a:gd name="connsiteY2" fmla="*/ 19470 h 72162"/>
                  <a:gd name="connsiteX3" fmla="*/ 12633 w 64734"/>
                  <a:gd name="connsiteY3" fmla="*/ 6135 h 72162"/>
                  <a:gd name="connsiteX4" fmla="*/ 28635 w 64734"/>
                  <a:gd name="connsiteY4" fmla="*/ 325 h 72162"/>
                  <a:gd name="connsiteX5" fmla="*/ 46637 w 64734"/>
                  <a:gd name="connsiteY5" fmla="*/ 2706 h 72162"/>
                  <a:gd name="connsiteX6" fmla="*/ 58162 w 64734"/>
                  <a:gd name="connsiteY6" fmla="*/ 13469 h 72162"/>
                  <a:gd name="connsiteX7" fmla="*/ 63401 w 64734"/>
                  <a:gd name="connsiteY7" fmla="*/ 29852 h 72162"/>
                  <a:gd name="connsiteX8" fmla="*/ 63877 w 64734"/>
                  <a:gd name="connsiteY8" fmla="*/ 37091 h 72162"/>
                  <a:gd name="connsiteX9" fmla="*/ 19967 w 64734"/>
                  <a:gd name="connsiteY9" fmla="*/ 42520 h 72162"/>
                  <a:gd name="connsiteX10" fmla="*/ 25301 w 64734"/>
                  <a:gd name="connsiteY10" fmla="*/ 54808 h 72162"/>
                  <a:gd name="connsiteX11" fmla="*/ 37779 w 64734"/>
                  <a:gd name="connsiteY11" fmla="*/ 58046 h 72162"/>
                  <a:gd name="connsiteX12" fmla="*/ 44256 w 64734"/>
                  <a:gd name="connsiteY12" fmla="*/ 56427 h 72162"/>
                  <a:gd name="connsiteX13" fmla="*/ 49685 w 64734"/>
                  <a:gd name="connsiteY13" fmla="*/ 53379 h 72162"/>
                  <a:gd name="connsiteX14" fmla="*/ 56067 w 64734"/>
                  <a:gd name="connsiteY14" fmla="*/ 48140 h 72162"/>
                  <a:gd name="connsiteX15" fmla="*/ 64735 w 64734"/>
                  <a:gd name="connsiteY15" fmla="*/ 58903 h 72162"/>
                  <a:gd name="connsiteX16" fmla="*/ 53305 w 64734"/>
                  <a:gd name="connsiteY16" fmla="*/ 67476 h 72162"/>
                  <a:gd name="connsiteX17" fmla="*/ 38446 w 64734"/>
                  <a:gd name="connsiteY17" fmla="*/ 71762 h 72162"/>
                  <a:gd name="connsiteX18" fmla="*/ 12633 w 64734"/>
                  <a:gd name="connsiteY18" fmla="*/ 65761 h 72162"/>
                  <a:gd name="connsiteX19" fmla="*/ 45399 w 64734"/>
                  <a:gd name="connsiteY19" fmla="*/ 27090 h 72162"/>
                  <a:gd name="connsiteX20" fmla="*/ 40351 w 64734"/>
                  <a:gd name="connsiteY20" fmla="*/ 16041 h 72162"/>
                  <a:gd name="connsiteX21" fmla="*/ 30159 w 64734"/>
                  <a:gd name="connsiteY21" fmla="*/ 13564 h 72162"/>
                  <a:gd name="connsiteX22" fmla="*/ 21015 w 64734"/>
                  <a:gd name="connsiteY22" fmla="*/ 18517 h 72162"/>
                  <a:gd name="connsiteX23" fmla="*/ 18538 w 64734"/>
                  <a:gd name="connsiteY23" fmla="*/ 30424 h 72162"/>
                  <a:gd name="connsiteX24" fmla="*/ 45399 w 64734"/>
                  <a:gd name="connsiteY24" fmla="*/ 27090 h 721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64734" h="72162">
                    <a:moveTo>
                      <a:pt x="12633" y="65952"/>
                    </a:moveTo>
                    <a:cubicBezTo>
                      <a:pt x="5965" y="60713"/>
                      <a:pt x="1965" y="52045"/>
                      <a:pt x="441" y="40044"/>
                    </a:cubicBezTo>
                    <a:cubicBezTo>
                      <a:pt x="-512" y="32043"/>
                      <a:pt x="60" y="25185"/>
                      <a:pt x="2346" y="19470"/>
                    </a:cubicBezTo>
                    <a:cubicBezTo>
                      <a:pt x="4632" y="13755"/>
                      <a:pt x="8061" y="9373"/>
                      <a:pt x="12633" y="6135"/>
                    </a:cubicBezTo>
                    <a:cubicBezTo>
                      <a:pt x="17205" y="2992"/>
                      <a:pt x="22539" y="991"/>
                      <a:pt x="28635" y="325"/>
                    </a:cubicBezTo>
                    <a:cubicBezTo>
                      <a:pt x="35683" y="-533"/>
                      <a:pt x="41684" y="325"/>
                      <a:pt x="46637" y="2706"/>
                    </a:cubicBezTo>
                    <a:cubicBezTo>
                      <a:pt x="51590" y="5087"/>
                      <a:pt x="55400" y="8802"/>
                      <a:pt x="58162" y="13469"/>
                    </a:cubicBezTo>
                    <a:cubicBezTo>
                      <a:pt x="60925" y="18232"/>
                      <a:pt x="62639" y="23661"/>
                      <a:pt x="63401" y="29852"/>
                    </a:cubicBezTo>
                    <a:cubicBezTo>
                      <a:pt x="63687" y="32233"/>
                      <a:pt x="63877" y="34710"/>
                      <a:pt x="63877" y="37091"/>
                    </a:cubicBezTo>
                    <a:lnTo>
                      <a:pt x="19967" y="42520"/>
                    </a:lnTo>
                    <a:cubicBezTo>
                      <a:pt x="20634" y="47854"/>
                      <a:pt x="22444" y="51950"/>
                      <a:pt x="25301" y="54808"/>
                    </a:cubicBezTo>
                    <a:cubicBezTo>
                      <a:pt x="28254" y="57665"/>
                      <a:pt x="32350" y="58713"/>
                      <a:pt x="37779" y="58046"/>
                    </a:cubicBezTo>
                    <a:cubicBezTo>
                      <a:pt x="40160" y="57760"/>
                      <a:pt x="42351" y="57189"/>
                      <a:pt x="44256" y="56427"/>
                    </a:cubicBezTo>
                    <a:cubicBezTo>
                      <a:pt x="46161" y="55665"/>
                      <a:pt x="47971" y="54617"/>
                      <a:pt x="49685" y="53379"/>
                    </a:cubicBezTo>
                    <a:cubicBezTo>
                      <a:pt x="51400" y="52141"/>
                      <a:pt x="53590" y="50331"/>
                      <a:pt x="56067" y="48140"/>
                    </a:cubicBezTo>
                    <a:lnTo>
                      <a:pt x="64735" y="58903"/>
                    </a:lnTo>
                    <a:cubicBezTo>
                      <a:pt x="61020" y="62428"/>
                      <a:pt x="57305" y="65285"/>
                      <a:pt x="53305" y="67476"/>
                    </a:cubicBezTo>
                    <a:cubicBezTo>
                      <a:pt x="49399" y="69667"/>
                      <a:pt x="44446" y="71095"/>
                      <a:pt x="38446" y="71762"/>
                    </a:cubicBezTo>
                    <a:cubicBezTo>
                      <a:pt x="27873" y="73096"/>
                      <a:pt x="19205" y="71095"/>
                      <a:pt x="12633" y="65761"/>
                    </a:cubicBezTo>
                    <a:close/>
                    <a:moveTo>
                      <a:pt x="45399" y="27090"/>
                    </a:moveTo>
                    <a:cubicBezTo>
                      <a:pt x="44637" y="21946"/>
                      <a:pt x="42922" y="18232"/>
                      <a:pt x="40351" y="16041"/>
                    </a:cubicBezTo>
                    <a:cubicBezTo>
                      <a:pt x="37779" y="13850"/>
                      <a:pt x="34445" y="12993"/>
                      <a:pt x="30159" y="13564"/>
                    </a:cubicBezTo>
                    <a:cubicBezTo>
                      <a:pt x="26158" y="14041"/>
                      <a:pt x="23110" y="15660"/>
                      <a:pt x="21015" y="18517"/>
                    </a:cubicBezTo>
                    <a:cubicBezTo>
                      <a:pt x="18919" y="21280"/>
                      <a:pt x="18062" y="25280"/>
                      <a:pt x="18538" y="30424"/>
                    </a:cubicBezTo>
                    <a:lnTo>
                      <a:pt x="45399" y="27090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1717">
                  <a:defRPr/>
                </a:pPr>
                <a:endParaRPr lang="en-US" sz="1696">
                  <a:solidFill>
                    <a:srgbClr val="000000"/>
                  </a:solidFill>
                </a:endParaRPr>
              </a:p>
            </p:txBody>
          </p:sp>
          <p:sp>
            <p:nvSpPr>
              <p:cNvPr id="63" name="Freeform: Shape 111">
                <a:extLst>
                  <a:ext uri="{FF2B5EF4-FFF2-40B4-BE49-F238E27FC236}">
                    <a16:creationId xmlns:a16="http://schemas.microsoft.com/office/drawing/2014/main" id="{265707A1-2C12-36CC-05BC-D5B6229B3179}"/>
                  </a:ext>
                </a:extLst>
              </p:cNvPr>
              <p:cNvSpPr/>
              <p:nvPr/>
            </p:nvSpPr>
            <p:spPr>
              <a:xfrm>
                <a:off x="5747855" y="883158"/>
                <a:ext cx="70395" cy="100354"/>
              </a:xfrm>
              <a:custGeom>
                <a:avLst/>
                <a:gdLst>
                  <a:gd name="connsiteX0" fmla="*/ 15817 w 70395"/>
                  <a:gd name="connsiteY0" fmla="*/ 97155 h 100354"/>
                  <a:gd name="connsiteX1" fmla="*/ 5245 w 70395"/>
                  <a:gd name="connsiteY1" fmla="*/ 85344 h 100354"/>
                  <a:gd name="connsiteX2" fmla="*/ 292 w 70395"/>
                  <a:gd name="connsiteY2" fmla="*/ 67056 h 100354"/>
                  <a:gd name="connsiteX3" fmla="*/ 1720 w 70395"/>
                  <a:gd name="connsiteY3" fmla="*/ 48101 h 100354"/>
                  <a:gd name="connsiteX4" fmla="*/ 10198 w 70395"/>
                  <a:gd name="connsiteY4" fmla="*/ 34481 h 100354"/>
                  <a:gd name="connsiteX5" fmla="*/ 25438 w 70395"/>
                  <a:gd name="connsiteY5" fmla="*/ 28384 h 100354"/>
                  <a:gd name="connsiteX6" fmla="*/ 37153 w 70395"/>
                  <a:gd name="connsiteY6" fmla="*/ 29909 h 100354"/>
                  <a:gd name="connsiteX7" fmla="*/ 46107 w 70395"/>
                  <a:gd name="connsiteY7" fmla="*/ 37338 h 100354"/>
                  <a:gd name="connsiteX8" fmla="*/ 46202 w 70395"/>
                  <a:gd name="connsiteY8" fmla="*/ 37338 h 100354"/>
                  <a:gd name="connsiteX9" fmla="*/ 45821 w 70395"/>
                  <a:gd name="connsiteY9" fmla="*/ 34290 h 100354"/>
                  <a:gd name="connsiteX10" fmla="*/ 45059 w 70395"/>
                  <a:gd name="connsiteY10" fmla="*/ 27146 h 100354"/>
                  <a:gd name="connsiteX11" fmla="*/ 42583 w 70395"/>
                  <a:gd name="connsiteY11" fmla="*/ 1810 h 100354"/>
                  <a:gd name="connsiteX12" fmla="*/ 60490 w 70395"/>
                  <a:gd name="connsiteY12" fmla="*/ 0 h 100354"/>
                  <a:gd name="connsiteX13" fmla="*/ 68395 w 70395"/>
                  <a:gd name="connsiteY13" fmla="*/ 80010 h 100354"/>
                  <a:gd name="connsiteX14" fmla="*/ 69348 w 70395"/>
                  <a:gd name="connsiteY14" fmla="*/ 88297 h 100354"/>
                  <a:gd name="connsiteX15" fmla="*/ 70015 w 70395"/>
                  <a:gd name="connsiteY15" fmla="*/ 92964 h 100354"/>
                  <a:gd name="connsiteX16" fmla="*/ 70396 w 70395"/>
                  <a:gd name="connsiteY16" fmla="*/ 95060 h 100354"/>
                  <a:gd name="connsiteX17" fmla="*/ 52965 w 70395"/>
                  <a:gd name="connsiteY17" fmla="*/ 96774 h 100354"/>
                  <a:gd name="connsiteX18" fmla="*/ 51917 w 70395"/>
                  <a:gd name="connsiteY18" fmla="*/ 92583 h 100354"/>
                  <a:gd name="connsiteX19" fmla="*/ 51060 w 70395"/>
                  <a:gd name="connsiteY19" fmla="*/ 86868 h 100354"/>
                  <a:gd name="connsiteX20" fmla="*/ 50774 w 70395"/>
                  <a:gd name="connsiteY20" fmla="*/ 86868 h 100354"/>
                  <a:gd name="connsiteX21" fmla="*/ 43249 w 70395"/>
                  <a:gd name="connsiteY21" fmla="*/ 96203 h 100354"/>
                  <a:gd name="connsiteX22" fmla="*/ 31057 w 70395"/>
                  <a:gd name="connsiteY22" fmla="*/ 100203 h 100354"/>
                  <a:gd name="connsiteX23" fmla="*/ 15627 w 70395"/>
                  <a:gd name="connsiteY23" fmla="*/ 97060 h 100354"/>
                  <a:gd name="connsiteX24" fmla="*/ 42773 w 70395"/>
                  <a:gd name="connsiteY24" fmla="*/ 82582 h 100354"/>
                  <a:gd name="connsiteX25" fmla="*/ 47821 w 70395"/>
                  <a:gd name="connsiteY25" fmla="*/ 74962 h 100354"/>
                  <a:gd name="connsiteX26" fmla="*/ 48774 w 70395"/>
                  <a:gd name="connsiteY26" fmla="*/ 61913 h 100354"/>
                  <a:gd name="connsiteX27" fmla="*/ 42678 w 70395"/>
                  <a:gd name="connsiteY27" fmla="*/ 45911 h 100354"/>
                  <a:gd name="connsiteX28" fmla="*/ 31248 w 70395"/>
                  <a:gd name="connsiteY28" fmla="*/ 42101 h 100354"/>
                  <a:gd name="connsiteX29" fmla="*/ 21342 w 70395"/>
                  <a:gd name="connsiteY29" fmla="*/ 48482 h 100354"/>
                  <a:gd name="connsiteX30" fmla="*/ 19056 w 70395"/>
                  <a:gd name="connsiteY30" fmla="*/ 65246 h 100354"/>
                  <a:gd name="connsiteX31" fmla="*/ 24485 w 70395"/>
                  <a:gd name="connsiteY31" fmla="*/ 80963 h 100354"/>
                  <a:gd name="connsiteX32" fmla="*/ 35439 w 70395"/>
                  <a:gd name="connsiteY32" fmla="*/ 85535 h 100354"/>
                  <a:gd name="connsiteX33" fmla="*/ 42773 w 70395"/>
                  <a:gd name="connsiteY33" fmla="*/ 82677 h 1003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70395" h="100354">
                    <a:moveTo>
                      <a:pt x="15817" y="97155"/>
                    </a:moveTo>
                    <a:cubicBezTo>
                      <a:pt x="11436" y="94488"/>
                      <a:pt x="7912" y="90583"/>
                      <a:pt x="5245" y="85344"/>
                    </a:cubicBezTo>
                    <a:cubicBezTo>
                      <a:pt x="2673" y="80105"/>
                      <a:pt x="958" y="74009"/>
                      <a:pt x="292" y="67056"/>
                    </a:cubicBezTo>
                    <a:cubicBezTo>
                      <a:pt x="-375" y="60008"/>
                      <a:pt x="101" y="53721"/>
                      <a:pt x="1720" y="48101"/>
                    </a:cubicBezTo>
                    <a:cubicBezTo>
                      <a:pt x="3340" y="42482"/>
                      <a:pt x="6197" y="37909"/>
                      <a:pt x="10198" y="34481"/>
                    </a:cubicBezTo>
                    <a:cubicBezTo>
                      <a:pt x="14198" y="31052"/>
                      <a:pt x="19246" y="28956"/>
                      <a:pt x="25438" y="28384"/>
                    </a:cubicBezTo>
                    <a:cubicBezTo>
                      <a:pt x="29533" y="28003"/>
                      <a:pt x="33439" y="28480"/>
                      <a:pt x="37153" y="29909"/>
                    </a:cubicBezTo>
                    <a:cubicBezTo>
                      <a:pt x="40868" y="31337"/>
                      <a:pt x="43821" y="33814"/>
                      <a:pt x="46107" y="37338"/>
                    </a:cubicBezTo>
                    <a:lnTo>
                      <a:pt x="46202" y="37338"/>
                    </a:lnTo>
                    <a:cubicBezTo>
                      <a:pt x="46107" y="36195"/>
                      <a:pt x="46012" y="35243"/>
                      <a:pt x="45821" y="34290"/>
                    </a:cubicBezTo>
                    <a:lnTo>
                      <a:pt x="45059" y="27146"/>
                    </a:lnTo>
                    <a:lnTo>
                      <a:pt x="42583" y="1810"/>
                    </a:lnTo>
                    <a:lnTo>
                      <a:pt x="60490" y="0"/>
                    </a:lnTo>
                    <a:lnTo>
                      <a:pt x="68395" y="80010"/>
                    </a:lnTo>
                    <a:cubicBezTo>
                      <a:pt x="68681" y="82963"/>
                      <a:pt x="68967" y="85725"/>
                      <a:pt x="69348" y="88297"/>
                    </a:cubicBezTo>
                    <a:cubicBezTo>
                      <a:pt x="69729" y="90869"/>
                      <a:pt x="69919" y="92393"/>
                      <a:pt x="70015" y="92964"/>
                    </a:cubicBezTo>
                    <a:cubicBezTo>
                      <a:pt x="70205" y="94107"/>
                      <a:pt x="70300" y="94774"/>
                      <a:pt x="70396" y="95060"/>
                    </a:cubicBezTo>
                    <a:lnTo>
                      <a:pt x="52965" y="96774"/>
                    </a:lnTo>
                    <a:cubicBezTo>
                      <a:pt x="52679" y="96203"/>
                      <a:pt x="52393" y="94774"/>
                      <a:pt x="51917" y="92583"/>
                    </a:cubicBezTo>
                    <a:cubicBezTo>
                      <a:pt x="51536" y="90392"/>
                      <a:pt x="51250" y="88487"/>
                      <a:pt x="51060" y="86868"/>
                    </a:cubicBezTo>
                    <a:lnTo>
                      <a:pt x="50774" y="86868"/>
                    </a:lnTo>
                    <a:cubicBezTo>
                      <a:pt x="49155" y="90964"/>
                      <a:pt x="46678" y="94012"/>
                      <a:pt x="43249" y="96203"/>
                    </a:cubicBezTo>
                    <a:cubicBezTo>
                      <a:pt x="39820" y="98393"/>
                      <a:pt x="35820" y="99727"/>
                      <a:pt x="31057" y="100203"/>
                    </a:cubicBezTo>
                    <a:cubicBezTo>
                      <a:pt x="25152" y="100775"/>
                      <a:pt x="20008" y="99727"/>
                      <a:pt x="15627" y="97060"/>
                    </a:cubicBezTo>
                    <a:close/>
                    <a:moveTo>
                      <a:pt x="42773" y="82582"/>
                    </a:moveTo>
                    <a:cubicBezTo>
                      <a:pt x="44964" y="80963"/>
                      <a:pt x="46678" y="78391"/>
                      <a:pt x="47821" y="74962"/>
                    </a:cubicBezTo>
                    <a:cubicBezTo>
                      <a:pt x="48964" y="71533"/>
                      <a:pt x="49345" y="67151"/>
                      <a:pt x="48774" y="61913"/>
                    </a:cubicBezTo>
                    <a:cubicBezTo>
                      <a:pt x="48012" y="54197"/>
                      <a:pt x="46012" y="48863"/>
                      <a:pt x="42678" y="45911"/>
                    </a:cubicBezTo>
                    <a:cubicBezTo>
                      <a:pt x="39344" y="42958"/>
                      <a:pt x="35629" y="41624"/>
                      <a:pt x="31248" y="42101"/>
                    </a:cubicBezTo>
                    <a:cubicBezTo>
                      <a:pt x="26866" y="42482"/>
                      <a:pt x="23533" y="44672"/>
                      <a:pt x="21342" y="48482"/>
                    </a:cubicBezTo>
                    <a:cubicBezTo>
                      <a:pt x="19056" y="52292"/>
                      <a:pt x="18294" y="57912"/>
                      <a:pt x="19056" y="65246"/>
                    </a:cubicBezTo>
                    <a:cubicBezTo>
                      <a:pt x="19723" y="72200"/>
                      <a:pt x="21532" y="77438"/>
                      <a:pt x="24485" y="80963"/>
                    </a:cubicBezTo>
                    <a:cubicBezTo>
                      <a:pt x="27438" y="84392"/>
                      <a:pt x="31057" y="85916"/>
                      <a:pt x="35439" y="85535"/>
                    </a:cubicBezTo>
                    <a:cubicBezTo>
                      <a:pt x="38106" y="85249"/>
                      <a:pt x="40487" y="84296"/>
                      <a:pt x="42773" y="82677"/>
                    </a:cubicBez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1717">
                  <a:defRPr/>
                </a:pPr>
                <a:endParaRPr lang="en-US" sz="1696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Freeform: Shape 112">
                <a:extLst>
                  <a:ext uri="{FF2B5EF4-FFF2-40B4-BE49-F238E27FC236}">
                    <a16:creationId xmlns:a16="http://schemas.microsoft.com/office/drawing/2014/main" id="{B66A9385-7346-6942-167D-9166C5206A09}"/>
                  </a:ext>
                </a:extLst>
              </p:cNvPr>
              <p:cNvSpPr/>
              <p:nvPr/>
            </p:nvSpPr>
            <p:spPr>
              <a:xfrm>
                <a:off x="5866161" y="877347"/>
                <a:ext cx="70252" cy="96583"/>
              </a:xfrm>
              <a:custGeom>
                <a:avLst/>
                <a:gdLst>
                  <a:gd name="connsiteX0" fmla="*/ 32671 w 70252"/>
                  <a:gd name="connsiteY0" fmla="*/ 93536 h 96583"/>
                  <a:gd name="connsiteX1" fmla="*/ 23431 w 70252"/>
                  <a:gd name="connsiteY1" fmla="*/ 85630 h 96583"/>
                  <a:gd name="connsiteX2" fmla="*/ 23336 w 70252"/>
                  <a:gd name="connsiteY2" fmla="*/ 85630 h 96583"/>
                  <a:gd name="connsiteX3" fmla="*/ 23336 w 70252"/>
                  <a:gd name="connsiteY3" fmla="*/ 91345 h 96583"/>
                  <a:gd name="connsiteX4" fmla="*/ 22955 w 70252"/>
                  <a:gd name="connsiteY4" fmla="*/ 95536 h 96583"/>
                  <a:gd name="connsiteX5" fmla="*/ 5429 w 70252"/>
                  <a:gd name="connsiteY5" fmla="*/ 96584 h 96583"/>
                  <a:gd name="connsiteX6" fmla="*/ 4953 w 70252"/>
                  <a:gd name="connsiteY6" fmla="*/ 80582 h 96583"/>
                  <a:gd name="connsiteX7" fmla="*/ 0 w 70252"/>
                  <a:gd name="connsiteY7" fmla="*/ 1143 h 96583"/>
                  <a:gd name="connsiteX8" fmla="*/ 18002 w 70252"/>
                  <a:gd name="connsiteY8" fmla="*/ 0 h 96583"/>
                  <a:gd name="connsiteX9" fmla="*/ 19621 w 70252"/>
                  <a:gd name="connsiteY9" fmla="*/ 26765 h 96583"/>
                  <a:gd name="connsiteX10" fmla="*/ 19907 w 70252"/>
                  <a:gd name="connsiteY10" fmla="*/ 32766 h 96583"/>
                  <a:gd name="connsiteX11" fmla="*/ 19907 w 70252"/>
                  <a:gd name="connsiteY11" fmla="*/ 36671 h 96583"/>
                  <a:gd name="connsiteX12" fmla="*/ 20193 w 70252"/>
                  <a:gd name="connsiteY12" fmla="*/ 36671 h 96583"/>
                  <a:gd name="connsiteX13" fmla="*/ 28670 w 70252"/>
                  <a:gd name="connsiteY13" fmla="*/ 27051 h 96583"/>
                  <a:gd name="connsiteX14" fmla="*/ 41529 w 70252"/>
                  <a:gd name="connsiteY14" fmla="*/ 23336 h 96583"/>
                  <a:gd name="connsiteX15" fmla="*/ 56197 w 70252"/>
                  <a:gd name="connsiteY15" fmla="*/ 27051 h 96583"/>
                  <a:gd name="connsiteX16" fmla="*/ 65913 w 70252"/>
                  <a:gd name="connsiteY16" fmla="*/ 39148 h 96583"/>
                  <a:gd name="connsiteX17" fmla="*/ 70104 w 70252"/>
                  <a:gd name="connsiteY17" fmla="*/ 57531 h 96583"/>
                  <a:gd name="connsiteX18" fmla="*/ 68104 w 70252"/>
                  <a:gd name="connsiteY18" fmla="*/ 76581 h 96583"/>
                  <a:gd name="connsiteX19" fmla="*/ 59531 w 70252"/>
                  <a:gd name="connsiteY19" fmla="*/ 90011 h 96583"/>
                  <a:gd name="connsiteX20" fmla="*/ 44863 w 70252"/>
                  <a:gd name="connsiteY20" fmla="*/ 95536 h 96583"/>
                  <a:gd name="connsiteX21" fmla="*/ 32480 w 70252"/>
                  <a:gd name="connsiteY21" fmla="*/ 93631 h 96583"/>
                  <a:gd name="connsiteX22" fmla="*/ 48482 w 70252"/>
                  <a:gd name="connsiteY22" fmla="*/ 75438 h 96583"/>
                  <a:gd name="connsiteX23" fmla="*/ 51435 w 70252"/>
                  <a:gd name="connsiteY23" fmla="*/ 58674 h 96583"/>
                  <a:gd name="connsiteX24" fmla="*/ 46672 w 70252"/>
                  <a:gd name="connsiteY24" fmla="*/ 43053 h 96583"/>
                  <a:gd name="connsiteX25" fmla="*/ 35814 w 70252"/>
                  <a:gd name="connsiteY25" fmla="*/ 38291 h 96583"/>
                  <a:gd name="connsiteX26" fmla="*/ 25051 w 70252"/>
                  <a:gd name="connsiteY26" fmla="*/ 44006 h 96583"/>
                  <a:gd name="connsiteX27" fmla="*/ 21622 w 70252"/>
                  <a:gd name="connsiteY27" fmla="*/ 61055 h 96583"/>
                  <a:gd name="connsiteX28" fmla="*/ 24574 w 70252"/>
                  <a:gd name="connsiteY28" fmla="*/ 73533 h 96583"/>
                  <a:gd name="connsiteX29" fmla="*/ 30575 w 70252"/>
                  <a:gd name="connsiteY29" fmla="*/ 80010 h 96583"/>
                  <a:gd name="connsiteX30" fmla="*/ 38290 w 70252"/>
                  <a:gd name="connsiteY30" fmla="*/ 81534 h 96583"/>
                  <a:gd name="connsiteX31" fmla="*/ 48482 w 70252"/>
                  <a:gd name="connsiteY31" fmla="*/ 75438 h 965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70252" h="96583">
                    <a:moveTo>
                      <a:pt x="32671" y="93536"/>
                    </a:moveTo>
                    <a:cubicBezTo>
                      <a:pt x="28765" y="92012"/>
                      <a:pt x="25717" y="89345"/>
                      <a:pt x="23431" y="85630"/>
                    </a:cubicBezTo>
                    <a:lnTo>
                      <a:pt x="23336" y="85630"/>
                    </a:lnTo>
                    <a:cubicBezTo>
                      <a:pt x="23431" y="87249"/>
                      <a:pt x="23431" y="89154"/>
                      <a:pt x="23336" y="91345"/>
                    </a:cubicBezTo>
                    <a:cubicBezTo>
                      <a:pt x="23241" y="93536"/>
                      <a:pt x="23146" y="94964"/>
                      <a:pt x="22955" y="95536"/>
                    </a:cubicBezTo>
                    <a:lnTo>
                      <a:pt x="5429" y="96584"/>
                    </a:lnTo>
                    <a:cubicBezTo>
                      <a:pt x="5429" y="92583"/>
                      <a:pt x="5429" y="87249"/>
                      <a:pt x="4953" y="80582"/>
                    </a:cubicBezTo>
                    <a:lnTo>
                      <a:pt x="0" y="1143"/>
                    </a:lnTo>
                    <a:lnTo>
                      <a:pt x="18002" y="0"/>
                    </a:lnTo>
                    <a:lnTo>
                      <a:pt x="19621" y="26765"/>
                    </a:lnTo>
                    <a:cubicBezTo>
                      <a:pt x="19717" y="28766"/>
                      <a:pt x="19812" y="30766"/>
                      <a:pt x="19907" y="32766"/>
                    </a:cubicBezTo>
                    <a:cubicBezTo>
                      <a:pt x="19907" y="34766"/>
                      <a:pt x="19907" y="36100"/>
                      <a:pt x="19907" y="36671"/>
                    </a:cubicBezTo>
                    <a:lnTo>
                      <a:pt x="20193" y="36671"/>
                    </a:lnTo>
                    <a:cubicBezTo>
                      <a:pt x="22193" y="32385"/>
                      <a:pt x="24955" y="29147"/>
                      <a:pt x="28670" y="27051"/>
                    </a:cubicBezTo>
                    <a:cubicBezTo>
                      <a:pt x="32385" y="24860"/>
                      <a:pt x="36671" y="23622"/>
                      <a:pt x="41529" y="23336"/>
                    </a:cubicBezTo>
                    <a:cubicBezTo>
                      <a:pt x="47149" y="22955"/>
                      <a:pt x="52006" y="24194"/>
                      <a:pt x="56197" y="27051"/>
                    </a:cubicBezTo>
                    <a:cubicBezTo>
                      <a:pt x="60388" y="29909"/>
                      <a:pt x="63627" y="33909"/>
                      <a:pt x="65913" y="39148"/>
                    </a:cubicBezTo>
                    <a:cubicBezTo>
                      <a:pt x="68199" y="44387"/>
                      <a:pt x="69628" y="50578"/>
                      <a:pt x="70104" y="57531"/>
                    </a:cubicBezTo>
                    <a:cubicBezTo>
                      <a:pt x="70580" y="64675"/>
                      <a:pt x="69913" y="70961"/>
                      <a:pt x="68104" y="76581"/>
                    </a:cubicBezTo>
                    <a:cubicBezTo>
                      <a:pt x="66294" y="82201"/>
                      <a:pt x="63436" y="86678"/>
                      <a:pt x="59531" y="90011"/>
                    </a:cubicBezTo>
                    <a:cubicBezTo>
                      <a:pt x="55626" y="93345"/>
                      <a:pt x="50673" y="95155"/>
                      <a:pt x="44863" y="95536"/>
                    </a:cubicBezTo>
                    <a:cubicBezTo>
                      <a:pt x="40481" y="95822"/>
                      <a:pt x="36385" y="95155"/>
                      <a:pt x="32480" y="93631"/>
                    </a:cubicBezTo>
                    <a:close/>
                    <a:moveTo>
                      <a:pt x="48482" y="75438"/>
                    </a:moveTo>
                    <a:cubicBezTo>
                      <a:pt x="50959" y="71628"/>
                      <a:pt x="51911" y="66008"/>
                      <a:pt x="51435" y="58674"/>
                    </a:cubicBezTo>
                    <a:cubicBezTo>
                      <a:pt x="51054" y="51721"/>
                      <a:pt x="49435" y="46482"/>
                      <a:pt x="46672" y="43053"/>
                    </a:cubicBezTo>
                    <a:cubicBezTo>
                      <a:pt x="43910" y="39624"/>
                      <a:pt x="40291" y="38005"/>
                      <a:pt x="35814" y="38291"/>
                    </a:cubicBezTo>
                    <a:cubicBezTo>
                      <a:pt x="31432" y="38576"/>
                      <a:pt x="27908" y="40481"/>
                      <a:pt x="25051" y="44006"/>
                    </a:cubicBezTo>
                    <a:cubicBezTo>
                      <a:pt x="22288" y="47530"/>
                      <a:pt x="21145" y="53245"/>
                      <a:pt x="21622" y="61055"/>
                    </a:cubicBezTo>
                    <a:cubicBezTo>
                      <a:pt x="21907" y="66294"/>
                      <a:pt x="22955" y="70485"/>
                      <a:pt x="24574" y="73533"/>
                    </a:cubicBezTo>
                    <a:cubicBezTo>
                      <a:pt x="26194" y="76676"/>
                      <a:pt x="28289" y="78772"/>
                      <a:pt x="30575" y="80010"/>
                    </a:cubicBezTo>
                    <a:cubicBezTo>
                      <a:pt x="32956" y="81248"/>
                      <a:pt x="35528" y="81724"/>
                      <a:pt x="38290" y="81534"/>
                    </a:cubicBezTo>
                    <a:cubicBezTo>
                      <a:pt x="42577" y="81248"/>
                      <a:pt x="46006" y="79248"/>
                      <a:pt x="48482" y="75438"/>
                    </a:cubicBez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1717">
                  <a:defRPr/>
                </a:pPr>
                <a:endParaRPr lang="en-US" sz="1696">
                  <a:solidFill>
                    <a:srgbClr val="000000"/>
                  </a:solidFill>
                </a:endParaRPr>
              </a:p>
            </p:txBody>
          </p:sp>
          <p:sp>
            <p:nvSpPr>
              <p:cNvPr id="69" name="Freeform: Shape 113">
                <a:extLst>
                  <a:ext uri="{FF2B5EF4-FFF2-40B4-BE49-F238E27FC236}">
                    <a16:creationId xmlns:a16="http://schemas.microsoft.com/office/drawing/2014/main" id="{DAB01655-9D9E-1D57-5D1B-2FA19C60B3AA}"/>
                  </a:ext>
                </a:extLst>
              </p:cNvPr>
              <p:cNvSpPr/>
              <p:nvPr/>
            </p:nvSpPr>
            <p:spPr>
              <a:xfrm>
                <a:off x="5948838" y="897445"/>
                <a:ext cx="66198" cy="72319"/>
              </a:xfrm>
              <a:custGeom>
                <a:avLst/>
                <a:gdLst>
                  <a:gd name="connsiteX0" fmla="*/ 7810 w 66198"/>
                  <a:gd name="connsiteY0" fmla="*/ 65627 h 72319"/>
                  <a:gd name="connsiteX1" fmla="*/ 1619 w 66198"/>
                  <a:gd name="connsiteY1" fmla="*/ 46387 h 72319"/>
                  <a:gd name="connsiteX2" fmla="*/ 0 w 66198"/>
                  <a:gd name="connsiteY2" fmla="*/ 2286 h 72319"/>
                  <a:gd name="connsiteX3" fmla="*/ 18097 w 66198"/>
                  <a:gd name="connsiteY3" fmla="*/ 1619 h 72319"/>
                  <a:gd name="connsiteX4" fmla="*/ 19526 w 66198"/>
                  <a:gd name="connsiteY4" fmla="*/ 40577 h 72319"/>
                  <a:gd name="connsiteX5" fmla="*/ 22574 w 66198"/>
                  <a:gd name="connsiteY5" fmla="*/ 52578 h 72319"/>
                  <a:gd name="connsiteX6" fmla="*/ 31813 w 66198"/>
                  <a:gd name="connsiteY6" fmla="*/ 56483 h 72319"/>
                  <a:gd name="connsiteX7" fmla="*/ 39529 w 66198"/>
                  <a:gd name="connsiteY7" fmla="*/ 53912 h 72319"/>
                  <a:gd name="connsiteX8" fmla="*/ 44767 w 66198"/>
                  <a:gd name="connsiteY8" fmla="*/ 47339 h 72319"/>
                  <a:gd name="connsiteX9" fmla="*/ 46387 w 66198"/>
                  <a:gd name="connsiteY9" fmla="*/ 37909 h 72319"/>
                  <a:gd name="connsiteX10" fmla="*/ 45053 w 66198"/>
                  <a:gd name="connsiteY10" fmla="*/ 667 h 72319"/>
                  <a:gd name="connsiteX11" fmla="*/ 63151 w 66198"/>
                  <a:gd name="connsiteY11" fmla="*/ 0 h 72319"/>
                  <a:gd name="connsiteX12" fmla="*/ 65151 w 66198"/>
                  <a:gd name="connsiteY12" fmla="*/ 53912 h 72319"/>
                  <a:gd name="connsiteX13" fmla="*/ 65627 w 66198"/>
                  <a:gd name="connsiteY13" fmla="*/ 62960 h 72319"/>
                  <a:gd name="connsiteX14" fmla="*/ 66199 w 66198"/>
                  <a:gd name="connsiteY14" fmla="*/ 69437 h 72319"/>
                  <a:gd name="connsiteX15" fmla="*/ 48958 w 66198"/>
                  <a:gd name="connsiteY15" fmla="*/ 70104 h 72319"/>
                  <a:gd name="connsiteX16" fmla="*/ 48292 w 66198"/>
                  <a:gd name="connsiteY16" fmla="*/ 64294 h 72319"/>
                  <a:gd name="connsiteX17" fmla="*/ 47720 w 66198"/>
                  <a:gd name="connsiteY17" fmla="*/ 57626 h 72319"/>
                  <a:gd name="connsiteX18" fmla="*/ 47434 w 66198"/>
                  <a:gd name="connsiteY18" fmla="*/ 57626 h 72319"/>
                  <a:gd name="connsiteX19" fmla="*/ 38671 w 66198"/>
                  <a:gd name="connsiteY19" fmla="*/ 68485 h 72319"/>
                  <a:gd name="connsiteX20" fmla="*/ 25527 w 66198"/>
                  <a:gd name="connsiteY20" fmla="*/ 72295 h 72319"/>
                  <a:gd name="connsiteX21" fmla="*/ 7906 w 66198"/>
                  <a:gd name="connsiteY21" fmla="*/ 65723 h 723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66198" h="72319">
                    <a:moveTo>
                      <a:pt x="7810" y="65627"/>
                    </a:moveTo>
                    <a:cubicBezTo>
                      <a:pt x="4000" y="60960"/>
                      <a:pt x="1905" y="54483"/>
                      <a:pt x="1619" y="46387"/>
                    </a:cubicBezTo>
                    <a:lnTo>
                      <a:pt x="0" y="2286"/>
                    </a:lnTo>
                    <a:lnTo>
                      <a:pt x="18097" y="1619"/>
                    </a:lnTo>
                    <a:lnTo>
                      <a:pt x="19526" y="40577"/>
                    </a:lnTo>
                    <a:cubicBezTo>
                      <a:pt x="19717" y="45720"/>
                      <a:pt x="20765" y="49720"/>
                      <a:pt x="22574" y="52578"/>
                    </a:cubicBezTo>
                    <a:cubicBezTo>
                      <a:pt x="24479" y="55340"/>
                      <a:pt x="27527" y="56674"/>
                      <a:pt x="31813" y="56483"/>
                    </a:cubicBezTo>
                    <a:cubicBezTo>
                      <a:pt x="34671" y="56388"/>
                      <a:pt x="37243" y="55531"/>
                      <a:pt x="39529" y="53912"/>
                    </a:cubicBezTo>
                    <a:cubicBezTo>
                      <a:pt x="41815" y="52292"/>
                      <a:pt x="43529" y="50101"/>
                      <a:pt x="44767" y="47339"/>
                    </a:cubicBezTo>
                    <a:cubicBezTo>
                      <a:pt x="46006" y="44577"/>
                      <a:pt x="46577" y="41434"/>
                      <a:pt x="46387" y="37909"/>
                    </a:cubicBezTo>
                    <a:lnTo>
                      <a:pt x="45053" y="667"/>
                    </a:lnTo>
                    <a:lnTo>
                      <a:pt x="63151" y="0"/>
                    </a:lnTo>
                    <a:lnTo>
                      <a:pt x="65151" y="53912"/>
                    </a:lnTo>
                    <a:cubicBezTo>
                      <a:pt x="65246" y="56864"/>
                      <a:pt x="65437" y="59817"/>
                      <a:pt x="65627" y="62960"/>
                    </a:cubicBezTo>
                    <a:cubicBezTo>
                      <a:pt x="65818" y="66104"/>
                      <a:pt x="66008" y="68294"/>
                      <a:pt x="66199" y="69437"/>
                    </a:cubicBezTo>
                    <a:lnTo>
                      <a:pt x="48958" y="70104"/>
                    </a:lnTo>
                    <a:cubicBezTo>
                      <a:pt x="48768" y="69056"/>
                      <a:pt x="48577" y="67151"/>
                      <a:pt x="48292" y="64294"/>
                    </a:cubicBezTo>
                    <a:cubicBezTo>
                      <a:pt x="48006" y="61436"/>
                      <a:pt x="47815" y="59245"/>
                      <a:pt x="47720" y="57626"/>
                    </a:cubicBezTo>
                    <a:lnTo>
                      <a:pt x="47434" y="57626"/>
                    </a:lnTo>
                    <a:cubicBezTo>
                      <a:pt x="45244" y="62484"/>
                      <a:pt x="42386" y="66104"/>
                      <a:pt x="38671" y="68485"/>
                    </a:cubicBezTo>
                    <a:cubicBezTo>
                      <a:pt x="35052" y="70866"/>
                      <a:pt x="30670" y="72104"/>
                      <a:pt x="25527" y="72295"/>
                    </a:cubicBezTo>
                    <a:cubicBezTo>
                      <a:pt x="17621" y="72581"/>
                      <a:pt x="11716" y="70390"/>
                      <a:pt x="7906" y="65723"/>
                    </a:cubicBez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1717">
                  <a:defRPr/>
                </a:pPr>
                <a:endParaRPr lang="en-US" sz="1696">
                  <a:solidFill>
                    <a:srgbClr val="000000"/>
                  </a:solidFill>
                </a:endParaRPr>
              </a:p>
            </p:txBody>
          </p:sp>
          <p:sp>
            <p:nvSpPr>
              <p:cNvPr id="70" name="Freeform: Shape 114">
                <a:extLst>
                  <a:ext uri="{FF2B5EF4-FFF2-40B4-BE49-F238E27FC236}">
                    <a16:creationId xmlns:a16="http://schemas.microsoft.com/office/drawing/2014/main" id="{EFF09F95-029C-77D2-8341-37CF84CCF886}"/>
                  </a:ext>
                </a:extLst>
              </p:cNvPr>
              <p:cNvSpPr/>
              <p:nvPr/>
            </p:nvSpPr>
            <p:spPr>
              <a:xfrm>
                <a:off x="6026181" y="895445"/>
                <a:ext cx="58197" cy="72303"/>
              </a:xfrm>
              <a:custGeom>
                <a:avLst/>
                <a:gdLst>
                  <a:gd name="connsiteX0" fmla="*/ 13621 w 58197"/>
                  <a:gd name="connsiteY0" fmla="*/ 69914 h 72303"/>
                  <a:gd name="connsiteX1" fmla="*/ 0 w 58197"/>
                  <a:gd name="connsiteY1" fmla="*/ 62579 h 72303"/>
                  <a:gd name="connsiteX2" fmla="*/ 8001 w 58197"/>
                  <a:gd name="connsiteY2" fmla="*/ 50006 h 72303"/>
                  <a:gd name="connsiteX3" fmla="*/ 18860 w 58197"/>
                  <a:gd name="connsiteY3" fmla="*/ 56483 h 72303"/>
                  <a:gd name="connsiteX4" fmla="*/ 29527 w 58197"/>
                  <a:gd name="connsiteY4" fmla="*/ 58579 h 72303"/>
                  <a:gd name="connsiteX5" fmla="*/ 38386 w 58197"/>
                  <a:gd name="connsiteY5" fmla="*/ 56959 h 72303"/>
                  <a:gd name="connsiteX6" fmla="*/ 41529 w 58197"/>
                  <a:gd name="connsiteY6" fmla="*/ 51721 h 72303"/>
                  <a:gd name="connsiteX7" fmla="*/ 39815 w 58197"/>
                  <a:gd name="connsiteY7" fmla="*/ 47434 h 72303"/>
                  <a:gd name="connsiteX8" fmla="*/ 35528 w 58197"/>
                  <a:gd name="connsiteY8" fmla="*/ 45053 h 72303"/>
                  <a:gd name="connsiteX9" fmla="*/ 28099 w 58197"/>
                  <a:gd name="connsiteY9" fmla="*/ 43244 h 72303"/>
                  <a:gd name="connsiteX10" fmla="*/ 24670 w 58197"/>
                  <a:gd name="connsiteY10" fmla="*/ 42482 h 72303"/>
                  <a:gd name="connsiteX11" fmla="*/ 12954 w 58197"/>
                  <a:gd name="connsiteY11" fmla="*/ 38672 h 72303"/>
                  <a:gd name="connsiteX12" fmla="*/ 5239 w 58197"/>
                  <a:gd name="connsiteY12" fmla="*/ 32385 h 72303"/>
                  <a:gd name="connsiteX13" fmla="*/ 2096 w 58197"/>
                  <a:gd name="connsiteY13" fmla="*/ 21527 h 72303"/>
                  <a:gd name="connsiteX14" fmla="*/ 5048 w 58197"/>
                  <a:gd name="connsiteY14" fmla="*/ 10192 h 72303"/>
                  <a:gd name="connsiteX15" fmla="*/ 14192 w 58197"/>
                  <a:gd name="connsiteY15" fmla="*/ 2762 h 72303"/>
                  <a:gd name="connsiteX16" fmla="*/ 28861 w 58197"/>
                  <a:gd name="connsiteY16" fmla="*/ 0 h 72303"/>
                  <a:gd name="connsiteX17" fmla="*/ 43910 w 58197"/>
                  <a:gd name="connsiteY17" fmla="*/ 2286 h 72303"/>
                  <a:gd name="connsiteX18" fmla="*/ 55626 w 58197"/>
                  <a:gd name="connsiteY18" fmla="*/ 9620 h 72303"/>
                  <a:gd name="connsiteX19" fmla="*/ 46577 w 58197"/>
                  <a:gd name="connsiteY19" fmla="*/ 20479 h 72303"/>
                  <a:gd name="connsiteX20" fmla="*/ 29242 w 58197"/>
                  <a:gd name="connsiteY20" fmla="*/ 13525 h 72303"/>
                  <a:gd name="connsiteX21" fmla="*/ 18669 w 58197"/>
                  <a:gd name="connsiteY21" fmla="*/ 19907 h 72303"/>
                  <a:gd name="connsiteX22" fmla="*/ 20098 w 58197"/>
                  <a:gd name="connsiteY22" fmla="*/ 23622 h 72303"/>
                  <a:gd name="connsiteX23" fmla="*/ 23813 w 58197"/>
                  <a:gd name="connsiteY23" fmla="*/ 25718 h 72303"/>
                  <a:gd name="connsiteX24" fmla="*/ 30290 w 58197"/>
                  <a:gd name="connsiteY24" fmla="*/ 27337 h 72303"/>
                  <a:gd name="connsiteX25" fmla="*/ 33623 w 58197"/>
                  <a:gd name="connsiteY25" fmla="*/ 28099 h 72303"/>
                  <a:gd name="connsiteX26" fmla="*/ 46387 w 58197"/>
                  <a:gd name="connsiteY26" fmla="*/ 32004 h 72303"/>
                  <a:gd name="connsiteX27" fmla="*/ 54769 w 58197"/>
                  <a:gd name="connsiteY27" fmla="*/ 38576 h 72303"/>
                  <a:gd name="connsiteX28" fmla="*/ 58198 w 58197"/>
                  <a:gd name="connsiteY28" fmla="*/ 50292 h 72303"/>
                  <a:gd name="connsiteX29" fmla="*/ 55054 w 58197"/>
                  <a:gd name="connsiteY29" fmla="*/ 61817 h 72303"/>
                  <a:gd name="connsiteX30" fmla="*/ 45339 w 58197"/>
                  <a:gd name="connsiteY30" fmla="*/ 69437 h 72303"/>
                  <a:gd name="connsiteX31" fmla="*/ 29908 w 58197"/>
                  <a:gd name="connsiteY31" fmla="*/ 72295 h 72303"/>
                  <a:gd name="connsiteX32" fmla="*/ 13811 w 58197"/>
                  <a:gd name="connsiteY32" fmla="*/ 70199 h 723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58197" h="72303">
                    <a:moveTo>
                      <a:pt x="13621" y="69914"/>
                    </a:moveTo>
                    <a:cubicBezTo>
                      <a:pt x="8858" y="68390"/>
                      <a:pt x="4381" y="65913"/>
                      <a:pt x="0" y="62579"/>
                    </a:cubicBezTo>
                    <a:lnTo>
                      <a:pt x="8001" y="50006"/>
                    </a:lnTo>
                    <a:cubicBezTo>
                      <a:pt x="11906" y="52864"/>
                      <a:pt x="15526" y="55055"/>
                      <a:pt x="18860" y="56483"/>
                    </a:cubicBezTo>
                    <a:cubicBezTo>
                      <a:pt x="22193" y="57912"/>
                      <a:pt x="25718" y="58579"/>
                      <a:pt x="29527" y="58579"/>
                    </a:cubicBezTo>
                    <a:cubicBezTo>
                      <a:pt x="33338" y="58579"/>
                      <a:pt x="36290" y="58007"/>
                      <a:pt x="38386" y="56959"/>
                    </a:cubicBezTo>
                    <a:cubicBezTo>
                      <a:pt x="40481" y="55912"/>
                      <a:pt x="41529" y="54197"/>
                      <a:pt x="41529" y="51721"/>
                    </a:cubicBezTo>
                    <a:cubicBezTo>
                      <a:pt x="41529" y="49911"/>
                      <a:pt x="40958" y="48482"/>
                      <a:pt x="39815" y="47434"/>
                    </a:cubicBezTo>
                    <a:cubicBezTo>
                      <a:pt x="38672" y="46387"/>
                      <a:pt x="37243" y="45530"/>
                      <a:pt x="35528" y="45053"/>
                    </a:cubicBezTo>
                    <a:cubicBezTo>
                      <a:pt x="33814" y="44482"/>
                      <a:pt x="31337" y="43910"/>
                      <a:pt x="28099" y="43244"/>
                    </a:cubicBezTo>
                    <a:lnTo>
                      <a:pt x="24670" y="42482"/>
                    </a:lnTo>
                    <a:cubicBezTo>
                      <a:pt x="20002" y="41339"/>
                      <a:pt x="16097" y="40100"/>
                      <a:pt x="12954" y="38672"/>
                    </a:cubicBezTo>
                    <a:cubicBezTo>
                      <a:pt x="9811" y="37243"/>
                      <a:pt x="7239" y="35147"/>
                      <a:pt x="5239" y="32385"/>
                    </a:cubicBezTo>
                    <a:cubicBezTo>
                      <a:pt x="3239" y="29623"/>
                      <a:pt x="2191" y="26003"/>
                      <a:pt x="2096" y="21527"/>
                    </a:cubicBezTo>
                    <a:cubicBezTo>
                      <a:pt x="2096" y="17145"/>
                      <a:pt x="3048" y="13335"/>
                      <a:pt x="5048" y="10192"/>
                    </a:cubicBezTo>
                    <a:cubicBezTo>
                      <a:pt x="7049" y="7049"/>
                      <a:pt x="10192" y="4572"/>
                      <a:pt x="14192" y="2762"/>
                    </a:cubicBezTo>
                    <a:cubicBezTo>
                      <a:pt x="18193" y="1048"/>
                      <a:pt x="23146" y="95"/>
                      <a:pt x="28861" y="0"/>
                    </a:cubicBezTo>
                    <a:cubicBezTo>
                      <a:pt x="34385" y="0"/>
                      <a:pt x="39338" y="667"/>
                      <a:pt x="43910" y="2286"/>
                    </a:cubicBezTo>
                    <a:cubicBezTo>
                      <a:pt x="48482" y="3905"/>
                      <a:pt x="52388" y="6287"/>
                      <a:pt x="55626" y="9620"/>
                    </a:cubicBezTo>
                    <a:lnTo>
                      <a:pt x="46577" y="20479"/>
                    </a:lnTo>
                    <a:cubicBezTo>
                      <a:pt x="41529" y="15716"/>
                      <a:pt x="35814" y="13335"/>
                      <a:pt x="29242" y="13525"/>
                    </a:cubicBezTo>
                    <a:cubicBezTo>
                      <a:pt x="22098" y="13621"/>
                      <a:pt x="18574" y="15716"/>
                      <a:pt x="18669" y="19907"/>
                    </a:cubicBezTo>
                    <a:cubicBezTo>
                      <a:pt x="18669" y="21527"/>
                      <a:pt x="19145" y="22765"/>
                      <a:pt x="20098" y="23622"/>
                    </a:cubicBezTo>
                    <a:cubicBezTo>
                      <a:pt x="21050" y="24479"/>
                      <a:pt x="22289" y="25241"/>
                      <a:pt x="23813" y="25718"/>
                    </a:cubicBezTo>
                    <a:cubicBezTo>
                      <a:pt x="25337" y="26194"/>
                      <a:pt x="27527" y="26765"/>
                      <a:pt x="30290" y="27337"/>
                    </a:cubicBezTo>
                    <a:lnTo>
                      <a:pt x="33623" y="28099"/>
                    </a:lnTo>
                    <a:cubicBezTo>
                      <a:pt x="38767" y="29337"/>
                      <a:pt x="43053" y="30575"/>
                      <a:pt x="46387" y="32004"/>
                    </a:cubicBezTo>
                    <a:cubicBezTo>
                      <a:pt x="49721" y="33433"/>
                      <a:pt x="52483" y="35624"/>
                      <a:pt x="54769" y="38576"/>
                    </a:cubicBezTo>
                    <a:cubicBezTo>
                      <a:pt x="57055" y="41529"/>
                      <a:pt x="58102" y="45434"/>
                      <a:pt x="58198" y="50292"/>
                    </a:cubicBezTo>
                    <a:cubicBezTo>
                      <a:pt x="58198" y="54674"/>
                      <a:pt x="57245" y="58579"/>
                      <a:pt x="55054" y="61817"/>
                    </a:cubicBezTo>
                    <a:cubicBezTo>
                      <a:pt x="52864" y="65056"/>
                      <a:pt x="49625" y="67628"/>
                      <a:pt x="45339" y="69437"/>
                    </a:cubicBezTo>
                    <a:cubicBezTo>
                      <a:pt x="41053" y="71247"/>
                      <a:pt x="35909" y="72200"/>
                      <a:pt x="29908" y="72295"/>
                    </a:cubicBezTo>
                    <a:cubicBezTo>
                      <a:pt x="23908" y="72390"/>
                      <a:pt x="18574" y="71723"/>
                      <a:pt x="13811" y="70199"/>
                    </a:cubicBez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1717">
                  <a:defRPr/>
                </a:pPr>
                <a:endParaRPr lang="en-US" sz="1696">
                  <a:solidFill>
                    <a:srgbClr val="000000"/>
                  </a:solidFill>
                </a:endParaRPr>
              </a:p>
            </p:txBody>
          </p:sp>
          <p:sp>
            <p:nvSpPr>
              <p:cNvPr id="71" name="Freeform: Shape 115">
                <a:extLst>
                  <a:ext uri="{FF2B5EF4-FFF2-40B4-BE49-F238E27FC236}">
                    <a16:creationId xmlns:a16="http://schemas.microsoft.com/office/drawing/2014/main" id="{58308BCE-B749-2931-F69F-C607DBCFEC9F}"/>
                  </a:ext>
                </a:extLst>
              </p:cNvPr>
              <p:cNvSpPr/>
              <p:nvPr/>
            </p:nvSpPr>
            <p:spPr>
              <a:xfrm>
                <a:off x="6097333" y="866775"/>
                <a:ext cx="20581" cy="99250"/>
              </a:xfrm>
              <a:custGeom>
                <a:avLst/>
                <a:gdLst>
                  <a:gd name="connsiteX0" fmla="*/ 1143 w 20581"/>
                  <a:gd name="connsiteY0" fmla="*/ 29432 h 99250"/>
                  <a:gd name="connsiteX1" fmla="*/ 19241 w 20581"/>
                  <a:gd name="connsiteY1" fmla="*/ 29718 h 99250"/>
                  <a:gd name="connsiteX2" fmla="*/ 18098 w 20581"/>
                  <a:gd name="connsiteY2" fmla="*/ 99251 h 99250"/>
                  <a:gd name="connsiteX3" fmla="*/ 0 w 20581"/>
                  <a:gd name="connsiteY3" fmla="*/ 98965 h 99250"/>
                  <a:gd name="connsiteX4" fmla="*/ 1143 w 20581"/>
                  <a:gd name="connsiteY4" fmla="*/ 29432 h 99250"/>
                  <a:gd name="connsiteX5" fmla="*/ 3048 w 20581"/>
                  <a:gd name="connsiteY5" fmla="*/ 17431 h 99250"/>
                  <a:gd name="connsiteX6" fmla="*/ 476 w 20581"/>
                  <a:gd name="connsiteY6" fmla="*/ 10001 h 99250"/>
                  <a:gd name="connsiteX7" fmla="*/ 3334 w 20581"/>
                  <a:gd name="connsiteY7" fmla="*/ 2572 h 99250"/>
                  <a:gd name="connsiteX8" fmla="*/ 10763 w 20581"/>
                  <a:gd name="connsiteY8" fmla="*/ 0 h 99250"/>
                  <a:gd name="connsiteX9" fmla="*/ 18002 w 20581"/>
                  <a:gd name="connsiteY9" fmla="*/ 2858 h 99250"/>
                  <a:gd name="connsiteX10" fmla="*/ 20574 w 20581"/>
                  <a:gd name="connsiteY10" fmla="*/ 10287 h 99250"/>
                  <a:gd name="connsiteX11" fmla="*/ 17717 w 20581"/>
                  <a:gd name="connsiteY11" fmla="*/ 17621 h 99250"/>
                  <a:gd name="connsiteX12" fmla="*/ 10477 w 20581"/>
                  <a:gd name="connsiteY12" fmla="*/ 20288 h 99250"/>
                  <a:gd name="connsiteX13" fmla="*/ 3048 w 20581"/>
                  <a:gd name="connsiteY13" fmla="*/ 17431 h 99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0581" h="99250">
                    <a:moveTo>
                      <a:pt x="1143" y="29432"/>
                    </a:moveTo>
                    <a:lnTo>
                      <a:pt x="19241" y="29718"/>
                    </a:lnTo>
                    <a:lnTo>
                      <a:pt x="18098" y="99251"/>
                    </a:lnTo>
                    <a:lnTo>
                      <a:pt x="0" y="98965"/>
                    </a:lnTo>
                    <a:lnTo>
                      <a:pt x="1143" y="29432"/>
                    </a:lnTo>
                    <a:close/>
                    <a:moveTo>
                      <a:pt x="3048" y="17431"/>
                    </a:moveTo>
                    <a:cubicBezTo>
                      <a:pt x="1238" y="15621"/>
                      <a:pt x="381" y="13145"/>
                      <a:pt x="476" y="10001"/>
                    </a:cubicBezTo>
                    <a:cubicBezTo>
                      <a:pt x="476" y="6858"/>
                      <a:pt x="1429" y="4382"/>
                      <a:pt x="3334" y="2572"/>
                    </a:cubicBezTo>
                    <a:cubicBezTo>
                      <a:pt x="5239" y="762"/>
                      <a:pt x="7620" y="0"/>
                      <a:pt x="10763" y="0"/>
                    </a:cubicBezTo>
                    <a:cubicBezTo>
                      <a:pt x="13811" y="0"/>
                      <a:pt x="16192" y="953"/>
                      <a:pt x="18002" y="2858"/>
                    </a:cubicBezTo>
                    <a:cubicBezTo>
                      <a:pt x="19812" y="4667"/>
                      <a:pt x="20669" y="7239"/>
                      <a:pt x="20574" y="10287"/>
                    </a:cubicBezTo>
                    <a:cubicBezTo>
                      <a:pt x="20574" y="13335"/>
                      <a:pt x="19621" y="15812"/>
                      <a:pt x="17717" y="17621"/>
                    </a:cubicBezTo>
                    <a:cubicBezTo>
                      <a:pt x="15812" y="19431"/>
                      <a:pt x="13430" y="20288"/>
                      <a:pt x="10477" y="20288"/>
                    </a:cubicBezTo>
                    <a:cubicBezTo>
                      <a:pt x="7334" y="20288"/>
                      <a:pt x="4858" y="19241"/>
                      <a:pt x="3048" y="17431"/>
                    </a:cubicBez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1717">
                  <a:defRPr/>
                </a:pPr>
                <a:endParaRPr lang="en-US" sz="1696">
                  <a:solidFill>
                    <a:srgbClr val="000000"/>
                  </a:solidFill>
                </a:endParaRPr>
              </a:p>
            </p:txBody>
          </p:sp>
          <p:sp>
            <p:nvSpPr>
              <p:cNvPr id="73" name="Freeform: Shape 116">
                <a:extLst>
                  <a:ext uri="{FF2B5EF4-FFF2-40B4-BE49-F238E27FC236}">
                    <a16:creationId xmlns:a16="http://schemas.microsoft.com/office/drawing/2014/main" id="{17F17CF6-6525-DDF9-9614-10EAA64B7551}"/>
                  </a:ext>
                </a:extLst>
              </p:cNvPr>
              <p:cNvSpPr/>
              <p:nvPr/>
            </p:nvSpPr>
            <p:spPr>
              <a:xfrm>
                <a:off x="6134004" y="895534"/>
                <a:ext cx="64011" cy="71443"/>
              </a:xfrm>
              <a:custGeom>
                <a:avLst/>
                <a:gdLst>
                  <a:gd name="connsiteX0" fmla="*/ 952 w 64011"/>
                  <a:gd name="connsiteY0" fmla="*/ 16294 h 71443"/>
                  <a:gd name="connsiteX1" fmla="*/ 952 w 64011"/>
                  <a:gd name="connsiteY1" fmla="*/ 7150 h 71443"/>
                  <a:gd name="connsiteX2" fmla="*/ 762 w 64011"/>
                  <a:gd name="connsiteY2" fmla="*/ 768 h 71443"/>
                  <a:gd name="connsiteX3" fmla="*/ 18002 w 64011"/>
                  <a:gd name="connsiteY3" fmla="*/ 1054 h 71443"/>
                  <a:gd name="connsiteX4" fmla="*/ 18479 w 64011"/>
                  <a:gd name="connsiteY4" fmla="*/ 6769 h 71443"/>
                  <a:gd name="connsiteX5" fmla="*/ 18669 w 64011"/>
                  <a:gd name="connsiteY5" fmla="*/ 13531 h 71443"/>
                  <a:gd name="connsiteX6" fmla="*/ 18955 w 64011"/>
                  <a:gd name="connsiteY6" fmla="*/ 13531 h 71443"/>
                  <a:gd name="connsiteX7" fmla="*/ 28385 w 64011"/>
                  <a:gd name="connsiteY7" fmla="*/ 3149 h 71443"/>
                  <a:gd name="connsiteX8" fmla="*/ 41624 w 64011"/>
                  <a:gd name="connsiteY8" fmla="*/ 6 h 71443"/>
                  <a:gd name="connsiteX9" fmla="*/ 58865 w 64011"/>
                  <a:gd name="connsiteY9" fmla="*/ 7626 h 71443"/>
                  <a:gd name="connsiteX10" fmla="*/ 64008 w 64011"/>
                  <a:gd name="connsiteY10" fmla="*/ 27343 h 71443"/>
                  <a:gd name="connsiteX11" fmla="*/ 63151 w 64011"/>
                  <a:gd name="connsiteY11" fmla="*/ 71443 h 71443"/>
                  <a:gd name="connsiteX12" fmla="*/ 45149 w 64011"/>
                  <a:gd name="connsiteY12" fmla="*/ 71062 h 71443"/>
                  <a:gd name="connsiteX13" fmla="*/ 45910 w 64011"/>
                  <a:gd name="connsiteY13" fmla="*/ 32105 h 71443"/>
                  <a:gd name="connsiteX14" fmla="*/ 43529 w 64011"/>
                  <a:gd name="connsiteY14" fmla="*/ 19913 h 71443"/>
                  <a:gd name="connsiteX15" fmla="*/ 34576 w 64011"/>
                  <a:gd name="connsiteY15" fmla="*/ 15436 h 71443"/>
                  <a:gd name="connsiteX16" fmla="*/ 26670 w 64011"/>
                  <a:gd name="connsiteY16" fmla="*/ 17532 h 71443"/>
                  <a:gd name="connsiteX17" fmla="*/ 21050 w 64011"/>
                  <a:gd name="connsiteY17" fmla="*/ 23818 h 71443"/>
                  <a:gd name="connsiteX18" fmla="*/ 18860 w 64011"/>
                  <a:gd name="connsiteY18" fmla="*/ 33248 h 71443"/>
                  <a:gd name="connsiteX19" fmla="*/ 18098 w 64011"/>
                  <a:gd name="connsiteY19" fmla="*/ 70586 h 71443"/>
                  <a:gd name="connsiteX20" fmla="*/ 0 w 64011"/>
                  <a:gd name="connsiteY20" fmla="*/ 70205 h 71443"/>
                  <a:gd name="connsiteX21" fmla="*/ 1048 w 64011"/>
                  <a:gd name="connsiteY21" fmla="*/ 16198 h 714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64011" h="71443">
                    <a:moveTo>
                      <a:pt x="952" y="16294"/>
                    </a:moveTo>
                    <a:cubicBezTo>
                      <a:pt x="952" y="13341"/>
                      <a:pt x="952" y="10293"/>
                      <a:pt x="952" y="7150"/>
                    </a:cubicBezTo>
                    <a:cubicBezTo>
                      <a:pt x="952" y="4006"/>
                      <a:pt x="857" y="1911"/>
                      <a:pt x="762" y="768"/>
                    </a:cubicBezTo>
                    <a:lnTo>
                      <a:pt x="18002" y="1054"/>
                    </a:lnTo>
                    <a:cubicBezTo>
                      <a:pt x="18193" y="2006"/>
                      <a:pt x="18288" y="3911"/>
                      <a:pt x="18479" y="6769"/>
                    </a:cubicBezTo>
                    <a:cubicBezTo>
                      <a:pt x="18574" y="9626"/>
                      <a:pt x="18669" y="11912"/>
                      <a:pt x="18669" y="13531"/>
                    </a:cubicBezTo>
                    <a:lnTo>
                      <a:pt x="18955" y="13531"/>
                    </a:lnTo>
                    <a:cubicBezTo>
                      <a:pt x="21527" y="8864"/>
                      <a:pt x="24670" y="5340"/>
                      <a:pt x="28385" y="3149"/>
                    </a:cubicBezTo>
                    <a:cubicBezTo>
                      <a:pt x="32099" y="958"/>
                      <a:pt x="36576" y="-89"/>
                      <a:pt x="41624" y="6"/>
                    </a:cubicBezTo>
                    <a:cubicBezTo>
                      <a:pt x="49530" y="196"/>
                      <a:pt x="55340" y="2673"/>
                      <a:pt x="58865" y="7626"/>
                    </a:cubicBezTo>
                    <a:cubicBezTo>
                      <a:pt x="62389" y="12579"/>
                      <a:pt x="64103" y="19151"/>
                      <a:pt x="64008" y="27343"/>
                    </a:cubicBezTo>
                    <a:lnTo>
                      <a:pt x="63151" y="71443"/>
                    </a:lnTo>
                    <a:lnTo>
                      <a:pt x="45149" y="71062"/>
                    </a:lnTo>
                    <a:lnTo>
                      <a:pt x="45910" y="32105"/>
                    </a:lnTo>
                    <a:cubicBezTo>
                      <a:pt x="46006" y="26866"/>
                      <a:pt x="45244" y="22771"/>
                      <a:pt x="43529" y="19913"/>
                    </a:cubicBezTo>
                    <a:cubicBezTo>
                      <a:pt x="41815" y="17056"/>
                      <a:pt x="38862" y="15532"/>
                      <a:pt x="34576" y="15436"/>
                    </a:cubicBezTo>
                    <a:cubicBezTo>
                      <a:pt x="31623" y="15436"/>
                      <a:pt x="29051" y="16103"/>
                      <a:pt x="26670" y="17532"/>
                    </a:cubicBezTo>
                    <a:cubicBezTo>
                      <a:pt x="24289" y="19056"/>
                      <a:pt x="22479" y="21151"/>
                      <a:pt x="21050" y="23818"/>
                    </a:cubicBezTo>
                    <a:cubicBezTo>
                      <a:pt x="19622" y="26581"/>
                      <a:pt x="18955" y="29724"/>
                      <a:pt x="18860" y="33248"/>
                    </a:cubicBezTo>
                    <a:lnTo>
                      <a:pt x="18098" y="70586"/>
                    </a:lnTo>
                    <a:lnTo>
                      <a:pt x="0" y="70205"/>
                    </a:lnTo>
                    <a:lnTo>
                      <a:pt x="1048" y="16198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1717">
                  <a:defRPr/>
                </a:pPr>
                <a:endParaRPr lang="en-US" sz="1696">
                  <a:solidFill>
                    <a:srgbClr val="000000"/>
                  </a:solidFill>
                </a:endParaRPr>
              </a:p>
            </p:txBody>
          </p:sp>
          <p:sp>
            <p:nvSpPr>
              <p:cNvPr id="74" name="Freeform: Shape 117">
                <a:extLst>
                  <a:ext uri="{FF2B5EF4-FFF2-40B4-BE49-F238E27FC236}">
                    <a16:creationId xmlns:a16="http://schemas.microsoft.com/office/drawing/2014/main" id="{7B447250-4E5C-FB02-B66A-BA31698ED3CC}"/>
                  </a:ext>
                </a:extLst>
              </p:cNvPr>
              <p:cNvSpPr/>
              <p:nvPr/>
            </p:nvSpPr>
            <p:spPr>
              <a:xfrm>
                <a:off x="6211174" y="897971"/>
                <a:ext cx="63758" cy="72405"/>
              </a:xfrm>
              <a:custGeom>
                <a:avLst/>
                <a:gdLst>
                  <a:gd name="connsiteX0" fmla="*/ 7793 w 63758"/>
                  <a:gd name="connsiteY0" fmla="*/ 62149 h 72405"/>
                  <a:gd name="connsiteX1" fmla="*/ 78 w 63758"/>
                  <a:gd name="connsiteY1" fmla="*/ 34622 h 72405"/>
                  <a:gd name="connsiteX2" fmla="*/ 5317 w 63758"/>
                  <a:gd name="connsiteY2" fmla="*/ 14619 h 72405"/>
                  <a:gd name="connsiteX3" fmla="*/ 17604 w 63758"/>
                  <a:gd name="connsiteY3" fmla="*/ 3189 h 72405"/>
                  <a:gd name="connsiteX4" fmla="*/ 34368 w 63758"/>
                  <a:gd name="connsiteY4" fmla="*/ 46 h 72405"/>
                  <a:gd name="connsiteX5" fmla="*/ 51703 w 63758"/>
                  <a:gd name="connsiteY5" fmla="*/ 5380 h 72405"/>
                  <a:gd name="connsiteX6" fmla="*/ 61228 w 63758"/>
                  <a:gd name="connsiteY6" fmla="*/ 17953 h 72405"/>
                  <a:gd name="connsiteX7" fmla="*/ 63705 w 63758"/>
                  <a:gd name="connsiteY7" fmla="*/ 35003 h 72405"/>
                  <a:gd name="connsiteX8" fmla="*/ 63038 w 63758"/>
                  <a:gd name="connsiteY8" fmla="*/ 42242 h 72405"/>
                  <a:gd name="connsiteX9" fmla="*/ 18842 w 63758"/>
                  <a:gd name="connsiteY9" fmla="*/ 40337 h 72405"/>
                  <a:gd name="connsiteX10" fmla="*/ 22081 w 63758"/>
                  <a:gd name="connsiteY10" fmla="*/ 53386 h 72405"/>
                  <a:gd name="connsiteX11" fmla="*/ 33892 w 63758"/>
                  <a:gd name="connsiteY11" fmla="*/ 58625 h 72405"/>
                  <a:gd name="connsiteX12" fmla="*/ 40559 w 63758"/>
                  <a:gd name="connsiteY12" fmla="*/ 58148 h 72405"/>
                  <a:gd name="connsiteX13" fmla="*/ 46465 w 63758"/>
                  <a:gd name="connsiteY13" fmla="*/ 56053 h 72405"/>
                  <a:gd name="connsiteX14" fmla="*/ 53608 w 63758"/>
                  <a:gd name="connsiteY14" fmla="*/ 51957 h 72405"/>
                  <a:gd name="connsiteX15" fmla="*/ 60466 w 63758"/>
                  <a:gd name="connsiteY15" fmla="*/ 63959 h 72405"/>
                  <a:gd name="connsiteX16" fmla="*/ 47798 w 63758"/>
                  <a:gd name="connsiteY16" fmla="*/ 70531 h 72405"/>
                  <a:gd name="connsiteX17" fmla="*/ 32368 w 63758"/>
                  <a:gd name="connsiteY17" fmla="*/ 72341 h 72405"/>
                  <a:gd name="connsiteX18" fmla="*/ 7888 w 63758"/>
                  <a:gd name="connsiteY18" fmla="*/ 62244 h 72405"/>
                  <a:gd name="connsiteX19" fmla="*/ 46465 w 63758"/>
                  <a:gd name="connsiteY19" fmla="*/ 29192 h 72405"/>
                  <a:gd name="connsiteX20" fmla="*/ 43321 w 63758"/>
                  <a:gd name="connsiteY20" fmla="*/ 17477 h 72405"/>
                  <a:gd name="connsiteX21" fmla="*/ 33701 w 63758"/>
                  <a:gd name="connsiteY21" fmla="*/ 13286 h 72405"/>
                  <a:gd name="connsiteX22" fmla="*/ 23890 w 63758"/>
                  <a:gd name="connsiteY22" fmla="*/ 16619 h 72405"/>
                  <a:gd name="connsiteX23" fmla="*/ 19509 w 63758"/>
                  <a:gd name="connsiteY23" fmla="*/ 27954 h 72405"/>
                  <a:gd name="connsiteX24" fmla="*/ 46465 w 63758"/>
                  <a:gd name="connsiteY24" fmla="*/ 29097 h 724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63758" h="72405">
                    <a:moveTo>
                      <a:pt x="7793" y="62149"/>
                    </a:moveTo>
                    <a:cubicBezTo>
                      <a:pt x="2078" y="55862"/>
                      <a:pt x="-494" y="46718"/>
                      <a:pt x="78" y="34622"/>
                    </a:cubicBezTo>
                    <a:cubicBezTo>
                      <a:pt x="459" y="26525"/>
                      <a:pt x="2173" y="19953"/>
                      <a:pt x="5317" y="14619"/>
                    </a:cubicBezTo>
                    <a:cubicBezTo>
                      <a:pt x="8460" y="9380"/>
                      <a:pt x="12556" y="5570"/>
                      <a:pt x="17604" y="3189"/>
                    </a:cubicBezTo>
                    <a:cubicBezTo>
                      <a:pt x="22652" y="808"/>
                      <a:pt x="28272" y="-240"/>
                      <a:pt x="34368" y="46"/>
                    </a:cubicBezTo>
                    <a:cubicBezTo>
                      <a:pt x="41416" y="332"/>
                      <a:pt x="47227" y="2141"/>
                      <a:pt x="51703" y="5380"/>
                    </a:cubicBezTo>
                    <a:cubicBezTo>
                      <a:pt x="56180" y="8618"/>
                      <a:pt x="59419" y="12809"/>
                      <a:pt x="61228" y="17953"/>
                    </a:cubicBezTo>
                    <a:cubicBezTo>
                      <a:pt x="63133" y="23096"/>
                      <a:pt x="63991" y="28716"/>
                      <a:pt x="63705" y="35003"/>
                    </a:cubicBezTo>
                    <a:cubicBezTo>
                      <a:pt x="63610" y="37479"/>
                      <a:pt x="63324" y="39860"/>
                      <a:pt x="63038" y="42242"/>
                    </a:cubicBezTo>
                    <a:lnTo>
                      <a:pt x="18842" y="40337"/>
                    </a:lnTo>
                    <a:cubicBezTo>
                      <a:pt x="18652" y="45766"/>
                      <a:pt x="19699" y="50052"/>
                      <a:pt x="22081" y="53386"/>
                    </a:cubicBezTo>
                    <a:cubicBezTo>
                      <a:pt x="24462" y="56624"/>
                      <a:pt x="28462" y="58434"/>
                      <a:pt x="33892" y="58625"/>
                    </a:cubicBezTo>
                    <a:cubicBezTo>
                      <a:pt x="36368" y="58720"/>
                      <a:pt x="38559" y="58625"/>
                      <a:pt x="40559" y="58148"/>
                    </a:cubicBezTo>
                    <a:cubicBezTo>
                      <a:pt x="42559" y="57672"/>
                      <a:pt x="44560" y="57005"/>
                      <a:pt x="46465" y="56053"/>
                    </a:cubicBezTo>
                    <a:cubicBezTo>
                      <a:pt x="48370" y="55100"/>
                      <a:pt x="50751" y="53767"/>
                      <a:pt x="53608" y="51957"/>
                    </a:cubicBezTo>
                    <a:lnTo>
                      <a:pt x="60466" y="63959"/>
                    </a:lnTo>
                    <a:cubicBezTo>
                      <a:pt x="56275" y="66911"/>
                      <a:pt x="52084" y="69102"/>
                      <a:pt x="47798" y="70531"/>
                    </a:cubicBezTo>
                    <a:cubicBezTo>
                      <a:pt x="43607" y="71960"/>
                      <a:pt x="38464" y="72626"/>
                      <a:pt x="32368" y="72341"/>
                    </a:cubicBezTo>
                    <a:cubicBezTo>
                      <a:pt x="21700" y="71864"/>
                      <a:pt x="13508" y="68531"/>
                      <a:pt x="7888" y="62244"/>
                    </a:cubicBezTo>
                    <a:close/>
                    <a:moveTo>
                      <a:pt x="46465" y="29192"/>
                    </a:moveTo>
                    <a:cubicBezTo>
                      <a:pt x="46465" y="23954"/>
                      <a:pt x="45417" y="20048"/>
                      <a:pt x="43321" y="17477"/>
                    </a:cubicBezTo>
                    <a:cubicBezTo>
                      <a:pt x="41131" y="14905"/>
                      <a:pt x="37987" y="13476"/>
                      <a:pt x="33701" y="13286"/>
                    </a:cubicBezTo>
                    <a:cubicBezTo>
                      <a:pt x="29701" y="13095"/>
                      <a:pt x="26367" y="14238"/>
                      <a:pt x="23890" y="16619"/>
                    </a:cubicBezTo>
                    <a:cubicBezTo>
                      <a:pt x="21319" y="19001"/>
                      <a:pt x="19890" y="22811"/>
                      <a:pt x="19509" y="27954"/>
                    </a:cubicBezTo>
                    <a:lnTo>
                      <a:pt x="46465" y="29097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1717">
                  <a:defRPr/>
                </a:pPr>
                <a:endParaRPr lang="en-US" sz="1696">
                  <a:solidFill>
                    <a:srgbClr val="000000"/>
                  </a:solidFill>
                </a:endParaRPr>
              </a:p>
            </p:txBody>
          </p:sp>
          <p:sp>
            <p:nvSpPr>
              <p:cNvPr id="75" name="Freeform: Shape 118">
                <a:extLst>
                  <a:ext uri="{FF2B5EF4-FFF2-40B4-BE49-F238E27FC236}">
                    <a16:creationId xmlns:a16="http://schemas.microsoft.com/office/drawing/2014/main" id="{CDEC2172-B728-BCD3-0E39-82D403BAC86E}"/>
                  </a:ext>
                </a:extLst>
              </p:cNvPr>
              <p:cNvSpPr/>
              <p:nvPr/>
            </p:nvSpPr>
            <p:spPr>
              <a:xfrm>
                <a:off x="6280975" y="901521"/>
                <a:ext cx="59721" cy="72334"/>
              </a:xfrm>
              <a:custGeom>
                <a:avLst/>
                <a:gdLst>
                  <a:gd name="connsiteX0" fmla="*/ 12954 w 59721"/>
                  <a:gd name="connsiteY0" fmla="*/ 68886 h 72334"/>
                  <a:gd name="connsiteX1" fmla="*/ 0 w 59721"/>
                  <a:gd name="connsiteY1" fmla="*/ 60408 h 72334"/>
                  <a:gd name="connsiteX2" fmla="*/ 8954 w 59721"/>
                  <a:gd name="connsiteY2" fmla="*/ 48502 h 72334"/>
                  <a:gd name="connsiteX3" fmla="*/ 19241 w 59721"/>
                  <a:gd name="connsiteY3" fmla="*/ 55836 h 72334"/>
                  <a:gd name="connsiteX4" fmla="*/ 29718 w 59721"/>
                  <a:gd name="connsiteY4" fmla="*/ 58694 h 72334"/>
                  <a:gd name="connsiteX5" fmla="*/ 38672 w 59721"/>
                  <a:gd name="connsiteY5" fmla="*/ 57837 h 72334"/>
                  <a:gd name="connsiteX6" fmla="*/ 42196 w 59721"/>
                  <a:gd name="connsiteY6" fmla="*/ 52884 h 72334"/>
                  <a:gd name="connsiteX7" fmla="*/ 40767 w 59721"/>
                  <a:gd name="connsiteY7" fmla="*/ 48502 h 72334"/>
                  <a:gd name="connsiteX8" fmla="*/ 36671 w 59721"/>
                  <a:gd name="connsiteY8" fmla="*/ 45740 h 72334"/>
                  <a:gd name="connsiteX9" fmla="*/ 29432 w 59721"/>
                  <a:gd name="connsiteY9" fmla="*/ 43263 h 72334"/>
                  <a:gd name="connsiteX10" fmla="*/ 26099 w 59721"/>
                  <a:gd name="connsiteY10" fmla="*/ 42216 h 72334"/>
                  <a:gd name="connsiteX11" fmla="*/ 14669 w 59721"/>
                  <a:gd name="connsiteY11" fmla="*/ 37453 h 72334"/>
                  <a:gd name="connsiteX12" fmla="*/ 7525 w 59721"/>
                  <a:gd name="connsiteY12" fmla="*/ 30595 h 72334"/>
                  <a:gd name="connsiteX13" fmla="*/ 5239 w 59721"/>
                  <a:gd name="connsiteY13" fmla="*/ 19451 h 72334"/>
                  <a:gd name="connsiteX14" fmla="*/ 9144 w 59721"/>
                  <a:gd name="connsiteY14" fmla="*/ 8402 h 72334"/>
                  <a:gd name="connsiteX15" fmla="*/ 18860 w 59721"/>
                  <a:gd name="connsiteY15" fmla="*/ 1734 h 72334"/>
                  <a:gd name="connsiteX16" fmla="*/ 33719 w 59721"/>
                  <a:gd name="connsiteY16" fmla="*/ 115 h 72334"/>
                  <a:gd name="connsiteX17" fmla="*/ 48577 w 59721"/>
                  <a:gd name="connsiteY17" fmla="*/ 3544 h 72334"/>
                  <a:gd name="connsiteX18" fmla="*/ 59722 w 59721"/>
                  <a:gd name="connsiteY18" fmla="*/ 11831 h 72334"/>
                  <a:gd name="connsiteX19" fmla="*/ 49816 w 59721"/>
                  <a:gd name="connsiteY19" fmla="*/ 21927 h 72334"/>
                  <a:gd name="connsiteX20" fmla="*/ 33052 w 59721"/>
                  <a:gd name="connsiteY20" fmla="*/ 13545 h 72334"/>
                  <a:gd name="connsiteX21" fmla="*/ 22003 w 59721"/>
                  <a:gd name="connsiteY21" fmla="*/ 19070 h 72334"/>
                  <a:gd name="connsiteX22" fmla="*/ 23146 w 59721"/>
                  <a:gd name="connsiteY22" fmla="*/ 22880 h 72334"/>
                  <a:gd name="connsiteX23" fmla="*/ 26670 w 59721"/>
                  <a:gd name="connsiteY23" fmla="*/ 25261 h 72334"/>
                  <a:gd name="connsiteX24" fmla="*/ 33052 w 59721"/>
                  <a:gd name="connsiteY24" fmla="*/ 27452 h 72334"/>
                  <a:gd name="connsiteX25" fmla="*/ 36290 w 59721"/>
                  <a:gd name="connsiteY25" fmla="*/ 28404 h 72334"/>
                  <a:gd name="connsiteX26" fmla="*/ 48673 w 59721"/>
                  <a:gd name="connsiteY26" fmla="*/ 33357 h 72334"/>
                  <a:gd name="connsiteX27" fmla="*/ 56483 w 59721"/>
                  <a:gd name="connsiteY27" fmla="*/ 40501 h 72334"/>
                  <a:gd name="connsiteX28" fmla="*/ 58960 w 59721"/>
                  <a:gd name="connsiteY28" fmla="*/ 52503 h 72334"/>
                  <a:gd name="connsiteX29" fmla="*/ 54864 w 59721"/>
                  <a:gd name="connsiteY29" fmla="*/ 63742 h 72334"/>
                  <a:gd name="connsiteX30" fmla="*/ 44577 w 59721"/>
                  <a:gd name="connsiteY30" fmla="*/ 70600 h 72334"/>
                  <a:gd name="connsiteX31" fmla="*/ 28956 w 59721"/>
                  <a:gd name="connsiteY31" fmla="*/ 72219 h 72334"/>
                  <a:gd name="connsiteX32" fmla="*/ 13049 w 59721"/>
                  <a:gd name="connsiteY32" fmla="*/ 68790 h 723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59721" h="72334">
                    <a:moveTo>
                      <a:pt x="12954" y="68886"/>
                    </a:moveTo>
                    <a:cubicBezTo>
                      <a:pt x="8382" y="66981"/>
                      <a:pt x="4000" y="64218"/>
                      <a:pt x="0" y="60408"/>
                    </a:cubicBezTo>
                    <a:lnTo>
                      <a:pt x="8954" y="48502"/>
                    </a:lnTo>
                    <a:cubicBezTo>
                      <a:pt x="12573" y="51741"/>
                      <a:pt x="16097" y="54122"/>
                      <a:pt x="19241" y="55836"/>
                    </a:cubicBezTo>
                    <a:cubicBezTo>
                      <a:pt x="22479" y="57551"/>
                      <a:pt x="25908" y="58503"/>
                      <a:pt x="29718" y="58694"/>
                    </a:cubicBezTo>
                    <a:cubicBezTo>
                      <a:pt x="33528" y="58980"/>
                      <a:pt x="36481" y="58694"/>
                      <a:pt x="38672" y="57837"/>
                    </a:cubicBezTo>
                    <a:cubicBezTo>
                      <a:pt x="40862" y="56979"/>
                      <a:pt x="42005" y="55360"/>
                      <a:pt x="42196" y="52884"/>
                    </a:cubicBezTo>
                    <a:cubicBezTo>
                      <a:pt x="42291" y="51074"/>
                      <a:pt x="41815" y="49645"/>
                      <a:pt x="40767" y="48502"/>
                    </a:cubicBezTo>
                    <a:cubicBezTo>
                      <a:pt x="39719" y="47359"/>
                      <a:pt x="38386" y="46407"/>
                      <a:pt x="36671" y="45740"/>
                    </a:cubicBezTo>
                    <a:cubicBezTo>
                      <a:pt x="34957" y="45073"/>
                      <a:pt x="32575" y="44216"/>
                      <a:pt x="29432" y="43263"/>
                    </a:cubicBezTo>
                    <a:lnTo>
                      <a:pt x="26099" y="42216"/>
                    </a:lnTo>
                    <a:cubicBezTo>
                      <a:pt x="21527" y="40692"/>
                      <a:pt x="17717" y="39168"/>
                      <a:pt x="14669" y="37453"/>
                    </a:cubicBezTo>
                    <a:cubicBezTo>
                      <a:pt x="11621" y="35739"/>
                      <a:pt x="9239" y="33453"/>
                      <a:pt x="7525" y="30595"/>
                    </a:cubicBezTo>
                    <a:cubicBezTo>
                      <a:pt x="5715" y="27642"/>
                      <a:pt x="4953" y="24023"/>
                      <a:pt x="5239" y="19451"/>
                    </a:cubicBezTo>
                    <a:cubicBezTo>
                      <a:pt x="5525" y="15069"/>
                      <a:pt x="6858" y="11355"/>
                      <a:pt x="9144" y="8402"/>
                    </a:cubicBezTo>
                    <a:cubicBezTo>
                      <a:pt x="11430" y="5449"/>
                      <a:pt x="14669" y="3163"/>
                      <a:pt x="18860" y="1734"/>
                    </a:cubicBezTo>
                    <a:cubicBezTo>
                      <a:pt x="23050" y="306"/>
                      <a:pt x="28004" y="-266"/>
                      <a:pt x="33719" y="115"/>
                    </a:cubicBezTo>
                    <a:cubicBezTo>
                      <a:pt x="39243" y="496"/>
                      <a:pt x="44101" y="1639"/>
                      <a:pt x="48577" y="3544"/>
                    </a:cubicBezTo>
                    <a:cubicBezTo>
                      <a:pt x="52959" y="5544"/>
                      <a:pt x="56674" y="8211"/>
                      <a:pt x="59722" y="11831"/>
                    </a:cubicBezTo>
                    <a:lnTo>
                      <a:pt x="49816" y="21927"/>
                    </a:lnTo>
                    <a:cubicBezTo>
                      <a:pt x="45244" y="16784"/>
                      <a:pt x="39624" y="14022"/>
                      <a:pt x="33052" y="13545"/>
                    </a:cubicBezTo>
                    <a:cubicBezTo>
                      <a:pt x="25908" y="13069"/>
                      <a:pt x="22289" y="14879"/>
                      <a:pt x="22003" y="19070"/>
                    </a:cubicBezTo>
                    <a:cubicBezTo>
                      <a:pt x="21908" y="20689"/>
                      <a:pt x="22289" y="21927"/>
                      <a:pt x="23146" y="22880"/>
                    </a:cubicBezTo>
                    <a:cubicBezTo>
                      <a:pt x="24003" y="23832"/>
                      <a:pt x="25146" y="24690"/>
                      <a:pt x="26670" y="25261"/>
                    </a:cubicBezTo>
                    <a:cubicBezTo>
                      <a:pt x="28099" y="25833"/>
                      <a:pt x="30290" y="26595"/>
                      <a:pt x="33052" y="27452"/>
                    </a:cubicBezTo>
                    <a:lnTo>
                      <a:pt x="36290" y="28404"/>
                    </a:lnTo>
                    <a:cubicBezTo>
                      <a:pt x="41339" y="30024"/>
                      <a:pt x="45434" y="31643"/>
                      <a:pt x="48673" y="33357"/>
                    </a:cubicBezTo>
                    <a:cubicBezTo>
                      <a:pt x="51911" y="35072"/>
                      <a:pt x="54483" y="37453"/>
                      <a:pt x="56483" y="40501"/>
                    </a:cubicBezTo>
                    <a:cubicBezTo>
                      <a:pt x="58483" y="43549"/>
                      <a:pt x="59246" y="47550"/>
                      <a:pt x="58960" y="52503"/>
                    </a:cubicBezTo>
                    <a:cubicBezTo>
                      <a:pt x="58674" y="56884"/>
                      <a:pt x="57341" y="60694"/>
                      <a:pt x="54864" y="63742"/>
                    </a:cubicBezTo>
                    <a:cubicBezTo>
                      <a:pt x="52388" y="66790"/>
                      <a:pt x="48958" y="69076"/>
                      <a:pt x="44577" y="70600"/>
                    </a:cubicBezTo>
                    <a:cubicBezTo>
                      <a:pt x="40196" y="72029"/>
                      <a:pt x="34957" y="72600"/>
                      <a:pt x="28956" y="72219"/>
                    </a:cubicBezTo>
                    <a:cubicBezTo>
                      <a:pt x="22955" y="71838"/>
                      <a:pt x="17717" y="70695"/>
                      <a:pt x="13049" y="68790"/>
                    </a:cubicBez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1717">
                  <a:defRPr/>
                </a:pPr>
                <a:endParaRPr lang="en-US" sz="1696">
                  <a:solidFill>
                    <a:srgbClr val="000000"/>
                  </a:solidFill>
                </a:endParaRPr>
              </a:p>
            </p:txBody>
          </p:sp>
          <p:sp>
            <p:nvSpPr>
              <p:cNvPr id="76" name="Freeform: Shape 119">
                <a:extLst>
                  <a:ext uri="{FF2B5EF4-FFF2-40B4-BE49-F238E27FC236}">
                    <a16:creationId xmlns:a16="http://schemas.microsoft.com/office/drawing/2014/main" id="{5D13E916-E1E4-B8D3-0D6B-46685E65ED4E}"/>
                  </a:ext>
                </a:extLst>
              </p:cNvPr>
              <p:cNvSpPr/>
              <p:nvPr/>
            </p:nvSpPr>
            <p:spPr>
              <a:xfrm>
                <a:off x="6346031" y="906504"/>
                <a:ext cx="60579" cy="72464"/>
              </a:xfrm>
              <a:custGeom>
                <a:avLst/>
                <a:gdLst>
                  <a:gd name="connsiteX0" fmla="*/ 12763 w 60579"/>
                  <a:gd name="connsiteY0" fmla="*/ 68379 h 72464"/>
                  <a:gd name="connsiteX1" fmla="*/ 0 w 60579"/>
                  <a:gd name="connsiteY1" fmla="*/ 59711 h 72464"/>
                  <a:gd name="connsiteX2" fmla="*/ 9144 w 60579"/>
                  <a:gd name="connsiteY2" fmla="*/ 47996 h 72464"/>
                  <a:gd name="connsiteX3" fmla="*/ 19336 w 60579"/>
                  <a:gd name="connsiteY3" fmla="*/ 55520 h 72464"/>
                  <a:gd name="connsiteX4" fmla="*/ 29718 w 60579"/>
                  <a:gd name="connsiteY4" fmla="*/ 58664 h 72464"/>
                  <a:gd name="connsiteX5" fmla="*/ 38767 w 60579"/>
                  <a:gd name="connsiteY5" fmla="*/ 57997 h 72464"/>
                  <a:gd name="connsiteX6" fmla="*/ 42386 w 60579"/>
                  <a:gd name="connsiteY6" fmla="*/ 53139 h 72464"/>
                  <a:gd name="connsiteX7" fmla="*/ 41053 w 60579"/>
                  <a:gd name="connsiteY7" fmla="*/ 48662 h 72464"/>
                  <a:gd name="connsiteX8" fmla="*/ 36957 w 60579"/>
                  <a:gd name="connsiteY8" fmla="*/ 45805 h 72464"/>
                  <a:gd name="connsiteX9" fmla="*/ 29813 w 60579"/>
                  <a:gd name="connsiteY9" fmla="*/ 43233 h 72464"/>
                  <a:gd name="connsiteX10" fmla="*/ 26479 w 60579"/>
                  <a:gd name="connsiteY10" fmla="*/ 42090 h 72464"/>
                  <a:gd name="connsiteX11" fmla="*/ 15145 w 60579"/>
                  <a:gd name="connsiteY11" fmla="*/ 37137 h 72464"/>
                  <a:gd name="connsiteX12" fmla="*/ 8096 w 60579"/>
                  <a:gd name="connsiteY12" fmla="*/ 30089 h 72464"/>
                  <a:gd name="connsiteX13" fmla="*/ 6096 w 60579"/>
                  <a:gd name="connsiteY13" fmla="*/ 18944 h 72464"/>
                  <a:gd name="connsiteX14" fmla="*/ 10192 w 60579"/>
                  <a:gd name="connsiteY14" fmla="*/ 7991 h 72464"/>
                  <a:gd name="connsiteX15" fmla="*/ 20003 w 60579"/>
                  <a:gd name="connsiteY15" fmla="*/ 1514 h 72464"/>
                  <a:gd name="connsiteX16" fmla="*/ 34862 w 60579"/>
                  <a:gd name="connsiteY16" fmla="*/ 180 h 72464"/>
                  <a:gd name="connsiteX17" fmla="*/ 49625 w 60579"/>
                  <a:gd name="connsiteY17" fmla="*/ 3990 h 72464"/>
                  <a:gd name="connsiteX18" fmla="*/ 60579 w 60579"/>
                  <a:gd name="connsiteY18" fmla="*/ 12467 h 72464"/>
                  <a:gd name="connsiteX19" fmla="*/ 50483 w 60579"/>
                  <a:gd name="connsiteY19" fmla="*/ 22373 h 72464"/>
                  <a:gd name="connsiteX20" fmla="*/ 33909 w 60579"/>
                  <a:gd name="connsiteY20" fmla="*/ 13706 h 72464"/>
                  <a:gd name="connsiteX21" fmla="*/ 22765 w 60579"/>
                  <a:gd name="connsiteY21" fmla="*/ 18944 h 72464"/>
                  <a:gd name="connsiteX22" fmla="*/ 23813 w 60579"/>
                  <a:gd name="connsiteY22" fmla="*/ 22850 h 72464"/>
                  <a:gd name="connsiteX23" fmla="*/ 27242 w 60579"/>
                  <a:gd name="connsiteY23" fmla="*/ 25326 h 72464"/>
                  <a:gd name="connsiteX24" fmla="*/ 33528 w 60579"/>
                  <a:gd name="connsiteY24" fmla="*/ 27612 h 72464"/>
                  <a:gd name="connsiteX25" fmla="*/ 36767 w 60579"/>
                  <a:gd name="connsiteY25" fmla="*/ 28660 h 72464"/>
                  <a:gd name="connsiteX26" fmla="*/ 49054 w 60579"/>
                  <a:gd name="connsiteY26" fmla="*/ 33899 h 72464"/>
                  <a:gd name="connsiteX27" fmla="*/ 56674 w 60579"/>
                  <a:gd name="connsiteY27" fmla="*/ 41233 h 72464"/>
                  <a:gd name="connsiteX28" fmla="*/ 58960 w 60579"/>
                  <a:gd name="connsiteY28" fmla="*/ 53234 h 72464"/>
                  <a:gd name="connsiteX29" fmla="*/ 54578 w 60579"/>
                  <a:gd name="connsiteY29" fmla="*/ 64379 h 72464"/>
                  <a:gd name="connsiteX30" fmla="*/ 44101 w 60579"/>
                  <a:gd name="connsiteY30" fmla="*/ 70951 h 72464"/>
                  <a:gd name="connsiteX31" fmla="*/ 28480 w 60579"/>
                  <a:gd name="connsiteY31" fmla="*/ 72284 h 72464"/>
                  <a:gd name="connsiteX32" fmla="*/ 12668 w 60579"/>
                  <a:gd name="connsiteY32" fmla="*/ 68570 h 72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60579" h="72464">
                    <a:moveTo>
                      <a:pt x="12763" y="68379"/>
                    </a:moveTo>
                    <a:cubicBezTo>
                      <a:pt x="8192" y="66379"/>
                      <a:pt x="4000" y="63521"/>
                      <a:pt x="0" y="59711"/>
                    </a:cubicBezTo>
                    <a:lnTo>
                      <a:pt x="9144" y="47996"/>
                    </a:lnTo>
                    <a:cubicBezTo>
                      <a:pt x="12763" y="51234"/>
                      <a:pt x="16097" y="53806"/>
                      <a:pt x="19336" y="55520"/>
                    </a:cubicBezTo>
                    <a:cubicBezTo>
                      <a:pt x="22479" y="57235"/>
                      <a:pt x="26003" y="58283"/>
                      <a:pt x="29718" y="58664"/>
                    </a:cubicBezTo>
                    <a:cubicBezTo>
                      <a:pt x="33528" y="58949"/>
                      <a:pt x="36481" y="58664"/>
                      <a:pt x="38767" y="57997"/>
                    </a:cubicBezTo>
                    <a:cubicBezTo>
                      <a:pt x="40958" y="57235"/>
                      <a:pt x="42196" y="55616"/>
                      <a:pt x="42386" y="53139"/>
                    </a:cubicBezTo>
                    <a:cubicBezTo>
                      <a:pt x="42577" y="51329"/>
                      <a:pt x="42100" y="49901"/>
                      <a:pt x="41053" y="48662"/>
                    </a:cubicBezTo>
                    <a:cubicBezTo>
                      <a:pt x="40005" y="47424"/>
                      <a:pt x="38671" y="46567"/>
                      <a:pt x="36957" y="45805"/>
                    </a:cubicBezTo>
                    <a:cubicBezTo>
                      <a:pt x="35242" y="45043"/>
                      <a:pt x="32861" y="44186"/>
                      <a:pt x="29813" y="43233"/>
                    </a:cubicBezTo>
                    <a:lnTo>
                      <a:pt x="26479" y="42090"/>
                    </a:lnTo>
                    <a:cubicBezTo>
                      <a:pt x="21908" y="40471"/>
                      <a:pt x="18193" y="38852"/>
                      <a:pt x="15145" y="37137"/>
                    </a:cubicBezTo>
                    <a:cubicBezTo>
                      <a:pt x="12192" y="35423"/>
                      <a:pt x="9811" y="33041"/>
                      <a:pt x="8096" y="30089"/>
                    </a:cubicBezTo>
                    <a:cubicBezTo>
                      <a:pt x="6382" y="27136"/>
                      <a:pt x="5715" y="23421"/>
                      <a:pt x="6096" y="18944"/>
                    </a:cubicBezTo>
                    <a:cubicBezTo>
                      <a:pt x="6477" y="14563"/>
                      <a:pt x="7811" y="10943"/>
                      <a:pt x="10192" y="7991"/>
                    </a:cubicBezTo>
                    <a:cubicBezTo>
                      <a:pt x="12573" y="5038"/>
                      <a:pt x="15812" y="2847"/>
                      <a:pt x="20003" y="1514"/>
                    </a:cubicBezTo>
                    <a:cubicBezTo>
                      <a:pt x="24193" y="180"/>
                      <a:pt x="29146" y="-296"/>
                      <a:pt x="34862" y="180"/>
                    </a:cubicBezTo>
                    <a:cubicBezTo>
                      <a:pt x="40291" y="656"/>
                      <a:pt x="45244" y="1895"/>
                      <a:pt x="49625" y="3990"/>
                    </a:cubicBezTo>
                    <a:cubicBezTo>
                      <a:pt x="54007" y="6086"/>
                      <a:pt x="57626" y="8848"/>
                      <a:pt x="60579" y="12467"/>
                    </a:cubicBezTo>
                    <a:lnTo>
                      <a:pt x="50483" y="22373"/>
                    </a:lnTo>
                    <a:cubicBezTo>
                      <a:pt x="46006" y="17135"/>
                      <a:pt x="40481" y="14182"/>
                      <a:pt x="33909" y="13706"/>
                    </a:cubicBezTo>
                    <a:cubicBezTo>
                      <a:pt x="26765" y="13134"/>
                      <a:pt x="23050" y="14849"/>
                      <a:pt x="22765" y="18944"/>
                    </a:cubicBezTo>
                    <a:cubicBezTo>
                      <a:pt x="22670" y="20564"/>
                      <a:pt x="22955" y="21802"/>
                      <a:pt x="23813" y="22850"/>
                    </a:cubicBezTo>
                    <a:cubicBezTo>
                      <a:pt x="24670" y="23802"/>
                      <a:pt x="25813" y="24659"/>
                      <a:pt x="27242" y="25326"/>
                    </a:cubicBezTo>
                    <a:cubicBezTo>
                      <a:pt x="28670" y="25993"/>
                      <a:pt x="30766" y="26755"/>
                      <a:pt x="33528" y="27612"/>
                    </a:cubicBezTo>
                    <a:lnTo>
                      <a:pt x="36767" y="28660"/>
                    </a:lnTo>
                    <a:cubicBezTo>
                      <a:pt x="41815" y="30374"/>
                      <a:pt x="45911" y="32089"/>
                      <a:pt x="49054" y="33899"/>
                    </a:cubicBezTo>
                    <a:cubicBezTo>
                      <a:pt x="52197" y="35613"/>
                      <a:pt x="54769" y="38090"/>
                      <a:pt x="56674" y="41233"/>
                    </a:cubicBezTo>
                    <a:cubicBezTo>
                      <a:pt x="58579" y="44376"/>
                      <a:pt x="59341" y="48377"/>
                      <a:pt x="58960" y="53234"/>
                    </a:cubicBezTo>
                    <a:cubicBezTo>
                      <a:pt x="58579" y="57616"/>
                      <a:pt x="57150" y="61331"/>
                      <a:pt x="54578" y="64379"/>
                    </a:cubicBezTo>
                    <a:cubicBezTo>
                      <a:pt x="52007" y="67427"/>
                      <a:pt x="48578" y="69617"/>
                      <a:pt x="44101" y="70951"/>
                    </a:cubicBezTo>
                    <a:cubicBezTo>
                      <a:pt x="39624" y="72284"/>
                      <a:pt x="34480" y="72761"/>
                      <a:pt x="28480" y="72284"/>
                    </a:cubicBezTo>
                    <a:cubicBezTo>
                      <a:pt x="22479" y="71808"/>
                      <a:pt x="17240" y="70570"/>
                      <a:pt x="12668" y="68570"/>
                    </a:cubicBez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1717">
                  <a:defRPr/>
                </a:pPr>
                <a:endParaRPr lang="en-US" sz="1696">
                  <a:solidFill>
                    <a:srgbClr val="000000"/>
                  </a:solidFill>
                </a:endParaRPr>
              </a:p>
            </p:txBody>
          </p:sp>
          <p:sp>
            <p:nvSpPr>
              <p:cNvPr id="77" name="Freeform: Shape 120">
                <a:extLst>
                  <a:ext uri="{FF2B5EF4-FFF2-40B4-BE49-F238E27FC236}">
                    <a16:creationId xmlns:a16="http://schemas.microsoft.com/office/drawing/2014/main" id="{2C9617A5-1256-C089-A0B8-25A15B1F2323}"/>
                  </a:ext>
                </a:extLst>
              </p:cNvPr>
              <p:cNvSpPr/>
              <p:nvPr/>
            </p:nvSpPr>
            <p:spPr>
              <a:xfrm>
                <a:off x="6449187" y="915638"/>
                <a:ext cx="73878" cy="98393"/>
              </a:xfrm>
              <a:custGeom>
                <a:avLst/>
                <a:gdLst>
                  <a:gd name="connsiteX0" fmla="*/ 9525 w 73878"/>
                  <a:gd name="connsiteY0" fmla="*/ 15811 h 98393"/>
                  <a:gd name="connsiteX1" fmla="*/ 10858 w 73878"/>
                  <a:gd name="connsiteY1" fmla="*/ 0 h 98393"/>
                  <a:gd name="connsiteX2" fmla="*/ 28289 w 73878"/>
                  <a:gd name="connsiteY2" fmla="*/ 2095 h 98393"/>
                  <a:gd name="connsiteX3" fmla="*/ 28289 w 73878"/>
                  <a:gd name="connsiteY3" fmla="*/ 6191 h 98393"/>
                  <a:gd name="connsiteX4" fmla="*/ 27813 w 73878"/>
                  <a:gd name="connsiteY4" fmla="*/ 12097 h 98393"/>
                  <a:gd name="connsiteX5" fmla="*/ 28099 w 73878"/>
                  <a:gd name="connsiteY5" fmla="*/ 12097 h 98393"/>
                  <a:gd name="connsiteX6" fmla="*/ 51435 w 73878"/>
                  <a:gd name="connsiteY6" fmla="*/ 3334 h 98393"/>
                  <a:gd name="connsiteX7" fmla="*/ 65151 w 73878"/>
                  <a:gd name="connsiteY7" fmla="*/ 9620 h 98393"/>
                  <a:gd name="connsiteX8" fmla="*/ 72580 w 73878"/>
                  <a:gd name="connsiteY8" fmla="*/ 23241 h 98393"/>
                  <a:gd name="connsiteX9" fmla="*/ 73438 w 73878"/>
                  <a:gd name="connsiteY9" fmla="*/ 42005 h 98393"/>
                  <a:gd name="connsiteX10" fmla="*/ 67913 w 73878"/>
                  <a:gd name="connsiteY10" fmla="*/ 60389 h 98393"/>
                  <a:gd name="connsiteX11" fmla="*/ 56864 w 73878"/>
                  <a:gd name="connsiteY11" fmla="*/ 72104 h 98393"/>
                  <a:gd name="connsiteX12" fmla="*/ 41338 w 73878"/>
                  <a:gd name="connsiteY12" fmla="*/ 74867 h 98393"/>
                  <a:gd name="connsiteX13" fmla="*/ 29813 w 73878"/>
                  <a:gd name="connsiteY13" fmla="*/ 70866 h 98393"/>
                  <a:gd name="connsiteX14" fmla="*/ 22288 w 73878"/>
                  <a:gd name="connsiteY14" fmla="*/ 61436 h 98393"/>
                  <a:gd name="connsiteX15" fmla="*/ 21908 w 73878"/>
                  <a:gd name="connsiteY15" fmla="*/ 61436 h 98393"/>
                  <a:gd name="connsiteX16" fmla="*/ 21622 w 73878"/>
                  <a:gd name="connsiteY16" fmla="*/ 65627 h 98393"/>
                  <a:gd name="connsiteX17" fmla="*/ 21050 w 73878"/>
                  <a:gd name="connsiteY17" fmla="*/ 71819 h 98393"/>
                  <a:gd name="connsiteX18" fmla="*/ 17907 w 73878"/>
                  <a:gd name="connsiteY18" fmla="*/ 98393 h 98393"/>
                  <a:gd name="connsiteX19" fmla="*/ 0 w 73878"/>
                  <a:gd name="connsiteY19" fmla="*/ 96202 h 98393"/>
                  <a:gd name="connsiteX20" fmla="*/ 9620 w 73878"/>
                  <a:gd name="connsiteY20" fmla="*/ 15716 h 98393"/>
                  <a:gd name="connsiteX21" fmla="*/ 48863 w 73878"/>
                  <a:gd name="connsiteY21" fmla="*/ 55912 h 98393"/>
                  <a:gd name="connsiteX22" fmla="*/ 54769 w 73878"/>
                  <a:gd name="connsiteY22" fmla="*/ 39815 h 98393"/>
                  <a:gd name="connsiteX23" fmla="*/ 52864 w 73878"/>
                  <a:gd name="connsiteY23" fmla="*/ 23527 h 98393"/>
                  <a:gd name="connsiteX24" fmla="*/ 43053 w 73878"/>
                  <a:gd name="connsiteY24" fmla="*/ 16954 h 98393"/>
                  <a:gd name="connsiteX25" fmla="*/ 35338 w 73878"/>
                  <a:gd name="connsiteY25" fmla="*/ 18098 h 98393"/>
                  <a:gd name="connsiteX26" fmla="*/ 28766 w 73878"/>
                  <a:gd name="connsiteY26" fmla="*/ 24289 h 98393"/>
                  <a:gd name="connsiteX27" fmla="*/ 24955 w 73878"/>
                  <a:gd name="connsiteY27" fmla="*/ 36766 h 98393"/>
                  <a:gd name="connsiteX28" fmla="*/ 25622 w 73878"/>
                  <a:gd name="connsiteY28" fmla="*/ 49625 h 98393"/>
                  <a:gd name="connsiteX29" fmla="*/ 30480 w 73878"/>
                  <a:gd name="connsiteY29" fmla="*/ 57150 h 98393"/>
                  <a:gd name="connsiteX30" fmla="*/ 37624 w 73878"/>
                  <a:gd name="connsiteY30" fmla="*/ 60103 h 98393"/>
                  <a:gd name="connsiteX31" fmla="*/ 48768 w 73878"/>
                  <a:gd name="connsiteY31" fmla="*/ 55912 h 983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73878" h="98393">
                    <a:moveTo>
                      <a:pt x="9525" y="15811"/>
                    </a:moveTo>
                    <a:cubicBezTo>
                      <a:pt x="10287" y="9335"/>
                      <a:pt x="10763" y="4001"/>
                      <a:pt x="10858" y="0"/>
                    </a:cubicBezTo>
                    <a:lnTo>
                      <a:pt x="28289" y="2095"/>
                    </a:lnTo>
                    <a:cubicBezTo>
                      <a:pt x="28289" y="2095"/>
                      <a:pt x="28384" y="3905"/>
                      <a:pt x="28289" y="6191"/>
                    </a:cubicBezTo>
                    <a:cubicBezTo>
                      <a:pt x="28194" y="8477"/>
                      <a:pt x="28004" y="10382"/>
                      <a:pt x="27813" y="12097"/>
                    </a:cubicBezTo>
                    <a:lnTo>
                      <a:pt x="28099" y="12097"/>
                    </a:lnTo>
                    <a:cubicBezTo>
                      <a:pt x="33528" y="5048"/>
                      <a:pt x="41338" y="2191"/>
                      <a:pt x="51435" y="3334"/>
                    </a:cubicBezTo>
                    <a:cubicBezTo>
                      <a:pt x="57055" y="4001"/>
                      <a:pt x="61531" y="6096"/>
                      <a:pt x="65151" y="9620"/>
                    </a:cubicBezTo>
                    <a:cubicBezTo>
                      <a:pt x="68675" y="13145"/>
                      <a:pt x="71152" y="17716"/>
                      <a:pt x="72580" y="23241"/>
                    </a:cubicBezTo>
                    <a:cubicBezTo>
                      <a:pt x="74009" y="28861"/>
                      <a:pt x="74200" y="35052"/>
                      <a:pt x="73438" y="42005"/>
                    </a:cubicBezTo>
                    <a:cubicBezTo>
                      <a:pt x="72580" y="49054"/>
                      <a:pt x="70771" y="55245"/>
                      <a:pt x="67913" y="60389"/>
                    </a:cubicBezTo>
                    <a:cubicBezTo>
                      <a:pt x="65056" y="65627"/>
                      <a:pt x="61341" y="69533"/>
                      <a:pt x="56864" y="72104"/>
                    </a:cubicBezTo>
                    <a:cubicBezTo>
                      <a:pt x="52292" y="74676"/>
                      <a:pt x="47149" y="75628"/>
                      <a:pt x="41338" y="74867"/>
                    </a:cubicBezTo>
                    <a:cubicBezTo>
                      <a:pt x="37052" y="74390"/>
                      <a:pt x="33242" y="73057"/>
                      <a:pt x="29813" y="70866"/>
                    </a:cubicBezTo>
                    <a:cubicBezTo>
                      <a:pt x="26384" y="68675"/>
                      <a:pt x="23908" y="65532"/>
                      <a:pt x="22288" y="61436"/>
                    </a:cubicBezTo>
                    <a:lnTo>
                      <a:pt x="21908" y="61436"/>
                    </a:lnTo>
                    <a:cubicBezTo>
                      <a:pt x="21908" y="61436"/>
                      <a:pt x="21908" y="63246"/>
                      <a:pt x="21622" y="65627"/>
                    </a:cubicBezTo>
                    <a:cubicBezTo>
                      <a:pt x="21431" y="67913"/>
                      <a:pt x="21241" y="70009"/>
                      <a:pt x="21050" y="71819"/>
                    </a:cubicBezTo>
                    <a:lnTo>
                      <a:pt x="17907" y="98393"/>
                    </a:lnTo>
                    <a:lnTo>
                      <a:pt x="0" y="96202"/>
                    </a:lnTo>
                    <a:lnTo>
                      <a:pt x="9620" y="15716"/>
                    </a:lnTo>
                    <a:close/>
                    <a:moveTo>
                      <a:pt x="48863" y="55912"/>
                    </a:moveTo>
                    <a:cubicBezTo>
                      <a:pt x="51911" y="52578"/>
                      <a:pt x="53912" y="47244"/>
                      <a:pt x="54769" y="39815"/>
                    </a:cubicBezTo>
                    <a:cubicBezTo>
                      <a:pt x="55626" y="32861"/>
                      <a:pt x="54959" y="27432"/>
                      <a:pt x="52864" y="23527"/>
                    </a:cubicBezTo>
                    <a:cubicBezTo>
                      <a:pt x="50768" y="19622"/>
                      <a:pt x="47434" y="17431"/>
                      <a:pt x="43053" y="16954"/>
                    </a:cubicBezTo>
                    <a:cubicBezTo>
                      <a:pt x="40386" y="16669"/>
                      <a:pt x="37814" y="16954"/>
                      <a:pt x="35338" y="18098"/>
                    </a:cubicBezTo>
                    <a:cubicBezTo>
                      <a:pt x="32861" y="19145"/>
                      <a:pt x="30671" y="21241"/>
                      <a:pt x="28766" y="24289"/>
                    </a:cubicBezTo>
                    <a:cubicBezTo>
                      <a:pt x="26860" y="27337"/>
                      <a:pt x="25622" y="31528"/>
                      <a:pt x="24955" y="36766"/>
                    </a:cubicBezTo>
                    <a:cubicBezTo>
                      <a:pt x="24384" y="42005"/>
                      <a:pt x="24575" y="46291"/>
                      <a:pt x="25622" y="49625"/>
                    </a:cubicBezTo>
                    <a:cubicBezTo>
                      <a:pt x="26670" y="52959"/>
                      <a:pt x="28289" y="55531"/>
                      <a:pt x="30480" y="57150"/>
                    </a:cubicBezTo>
                    <a:cubicBezTo>
                      <a:pt x="32671" y="58769"/>
                      <a:pt x="34957" y="59722"/>
                      <a:pt x="37624" y="60103"/>
                    </a:cubicBezTo>
                    <a:cubicBezTo>
                      <a:pt x="42005" y="60674"/>
                      <a:pt x="45720" y="59246"/>
                      <a:pt x="48768" y="55912"/>
                    </a:cubicBez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1717">
                  <a:defRPr/>
                </a:pPr>
                <a:endParaRPr lang="en-US" sz="1696">
                  <a:solidFill>
                    <a:srgbClr val="000000"/>
                  </a:solidFill>
                </a:endParaRPr>
              </a:p>
            </p:txBody>
          </p:sp>
          <p:sp>
            <p:nvSpPr>
              <p:cNvPr id="78" name="Freeform: Shape 121">
                <a:extLst>
                  <a:ext uri="{FF2B5EF4-FFF2-40B4-BE49-F238E27FC236}">
                    <a16:creationId xmlns:a16="http://schemas.microsoft.com/office/drawing/2014/main" id="{CBA8D570-7384-312B-2FD8-92E463A3A8EC}"/>
                  </a:ext>
                </a:extLst>
              </p:cNvPr>
              <p:cNvSpPr/>
              <p:nvPr/>
            </p:nvSpPr>
            <p:spPr>
              <a:xfrm>
                <a:off x="6532340" y="925734"/>
                <a:ext cx="49529" cy="71532"/>
              </a:xfrm>
              <a:custGeom>
                <a:avLst/>
                <a:gdLst>
                  <a:gd name="connsiteX0" fmla="*/ 7429 w 49529"/>
                  <a:gd name="connsiteY0" fmla="*/ 16192 h 71532"/>
                  <a:gd name="connsiteX1" fmla="*/ 8573 w 49529"/>
                  <a:gd name="connsiteY1" fmla="*/ 6667 h 71532"/>
                  <a:gd name="connsiteX2" fmla="*/ 9144 w 49529"/>
                  <a:gd name="connsiteY2" fmla="*/ 0 h 71532"/>
                  <a:gd name="connsiteX3" fmla="*/ 26194 w 49529"/>
                  <a:gd name="connsiteY3" fmla="*/ 2381 h 71532"/>
                  <a:gd name="connsiteX4" fmla="*/ 26003 w 49529"/>
                  <a:gd name="connsiteY4" fmla="*/ 7906 h 71532"/>
                  <a:gd name="connsiteX5" fmla="*/ 25337 w 49529"/>
                  <a:gd name="connsiteY5" fmla="*/ 14478 h 71532"/>
                  <a:gd name="connsiteX6" fmla="*/ 25622 w 49529"/>
                  <a:gd name="connsiteY6" fmla="*/ 14478 h 71532"/>
                  <a:gd name="connsiteX7" fmla="*/ 30575 w 49529"/>
                  <a:gd name="connsiteY7" fmla="*/ 7525 h 71532"/>
                  <a:gd name="connsiteX8" fmla="*/ 36004 w 49529"/>
                  <a:gd name="connsiteY8" fmla="*/ 3905 h 71532"/>
                  <a:gd name="connsiteX9" fmla="*/ 43910 w 49529"/>
                  <a:gd name="connsiteY9" fmla="*/ 3429 h 71532"/>
                  <a:gd name="connsiteX10" fmla="*/ 47244 w 49529"/>
                  <a:gd name="connsiteY10" fmla="*/ 4191 h 71532"/>
                  <a:gd name="connsiteX11" fmla="*/ 49530 w 49529"/>
                  <a:gd name="connsiteY11" fmla="*/ 5334 h 71532"/>
                  <a:gd name="connsiteX12" fmla="*/ 46863 w 49529"/>
                  <a:gd name="connsiteY12" fmla="*/ 20764 h 71532"/>
                  <a:gd name="connsiteX13" fmla="*/ 45529 w 49529"/>
                  <a:gd name="connsiteY13" fmla="*/ 20288 h 71532"/>
                  <a:gd name="connsiteX14" fmla="*/ 39719 w 49529"/>
                  <a:gd name="connsiteY14" fmla="*/ 18860 h 71532"/>
                  <a:gd name="connsiteX15" fmla="*/ 28575 w 49529"/>
                  <a:gd name="connsiteY15" fmla="*/ 22765 h 71532"/>
                  <a:gd name="connsiteX16" fmla="*/ 22670 w 49529"/>
                  <a:gd name="connsiteY16" fmla="*/ 37719 h 71532"/>
                  <a:gd name="connsiteX17" fmla="*/ 17907 w 49529"/>
                  <a:gd name="connsiteY17" fmla="*/ 71533 h 71532"/>
                  <a:gd name="connsiteX18" fmla="*/ 0 w 49529"/>
                  <a:gd name="connsiteY18" fmla="*/ 69056 h 71532"/>
                  <a:gd name="connsiteX19" fmla="*/ 7429 w 49529"/>
                  <a:gd name="connsiteY19" fmla="*/ 16383 h 715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49529" h="71532">
                    <a:moveTo>
                      <a:pt x="7429" y="16192"/>
                    </a:moveTo>
                    <a:cubicBezTo>
                      <a:pt x="7811" y="13240"/>
                      <a:pt x="8192" y="10001"/>
                      <a:pt x="8573" y="6667"/>
                    </a:cubicBezTo>
                    <a:cubicBezTo>
                      <a:pt x="8954" y="3239"/>
                      <a:pt x="9144" y="1048"/>
                      <a:pt x="9144" y="0"/>
                    </a:cubicBezTo>
                    <a:lnTo>
                      <a:pt x="26194" y="2381"/>
                    </a:lnTo>
                    <a:cubicBezTo>
                      <a:pt x="26194" y="3143"/>
                      <a:pt x="26194" y="5048"/>
                      <a:pt x="26003" y="7906"/>
                    </a:cubicBezTo>
                    <a:cubicBezTo>
                      <a:pt x="25813" y="10763"/>
                      <a:pt x="25622" y="13049"/>
                      <a:pt x="25337" y="14478"/>
                    </a:cubicBezTo>
                    <a:lnTo>
                      <a:pt x="25622" y="14478"/>
                    </a:lnTo>
                    <a:cubicBezTo>
                      <a:pt x="27432" y="11525"/>
                      <a:pt x="29051" y="9144"/>
                      <a:pt x="30575" y="7525"/>
                    </a:cubicBezTo>
                    <a:cubicBezTo>
                      <a:pt x="32099" y="5905"/>
                      <a:pt x="33814" y="4667"/>
                      <a:pt x="36004" y="3905"/>
                    </a:cubicBezTo>
                    <a:cubicBezTo>
                      <a:pt x="38100" y="3143"/>
                      <a:pt x="40767" y="2953"/>
                      <a:pt x="43910" y="3429"/>
                    </a:cubicBezTo>
                    <a:cubicBezTo>
                      <a:pt x="45053" y="3620"/>
                      <a:pt x="46196" y="3810"/>
                      <a:pt x="47244" y="4191"/>
                    </a:cubicBezTo>
                    <a:cubicBezTo>
                      <a:pt x="48292" y="4572"/>
                      <a:pt x="49054" y="4953"/>
                      <a:pt x="49530" y="5334"/>
                    </a:cubicBezTo>
                    <a:lnTo>
                      <a:pt x="46863" y="20764"/>
                    </a:lnTo>
                    <a:cubicBezTo>
                      <a:pt x="46292" y="20574"/>
                      <a:pt x="45815" y="20479"/>
                      <a:pt x="45529" y="20288"/>
                    </a:cubicBezTo>
                    <a:cubicBezTo>
                      <a:pt x="43339" y="19526"/>
                      <a:pt x="41338" y="19050"/>
                      <a:pt x="39719" y="18860"/>
                    </a:cubicBezTo>
                    <a:cubicBezTo>
                      <a:pt x="35338" y="18193"/>
                      <a:pt x="31623" y="19526"/>
                      <a:pt x="28575" y="22765"/>
                    </a:cubicBezTo>
                    <a:cubicBezTo>
                      <a:pt x="25622" y="26003"/>
                      <a:pt x="23622" y="31051"/>
                      <a:pt x="22670" y="37719"/>
                    </a:cubicBezTo>
                    <a:lnTo>
                      <a:pt x="17907" y="71533"/>
                    </a:lnTo>
                    <a:lnTo>
                      <a:pt x="0" y="69056"/>
                    </a:lnTo>
                    <a:lnTo>
                      <a:pt x="7429" y="16383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1717">
                  <a:defRPr/>
                </a:pPr>
                <a:endParaRPr lang="en-US" sz="1696">
                  <a:solidFill>
                    <a:srgbClr val="000000"/>
                  </a:solidFill>
                </a:endParaRPr>
              </a:p>
            </p:txBody>
          </p:sp>
          <p:sp>
            <p:nvSpPr>
              <p:cNvPr id="79" name="Freeform: Shape 122">
                <a:extLst>
                  <a:ext uri="{FF2B5EF4-FFF2-40B4-BE49-F238E27FC236}">
                    <a16:creationId xmlns:a16="http://schemas.microsoft.com/office/drawing/2014/main" id="{60B3C19A-BB49-0D3A-6382-4FC5C5C0A991}"/>
                  </a:ext>
                </a:extLst>
              </p:cNvPr>
              <p:cNvSpPr/>
              <p:nvPr/>
            </p:nvSpPr>
            <p:spPr>
              <a:xfrm>
                <a:off x="6582460" y="935904"/>
                <a:ext cx="70593" cy="72479"/>
              </a:xfrm>
              <a:custGeom>
                <a:avLst/>
                <a:gdLst>
                  <a:gd name="connsiteX0" fmla="*/ 11411 w 70593"/>
                  <a:gd name="connsiteY0" fmla="*/ 64125 h 72479"/>
                  <a:gd name="connsiteX1" fmla="*/ 1696 w 70593"/>
                  <a:gd name="connsiteY1" fmla="*/ 49361 h 72479"/>
                  <a:gd name="connsiteX2" fmla="*/ 648 w 70593"/>
                  <a:gd name="connsiteY2" fmla="*/ 30502 h 72479"/>
                  <a:gd name="connsiteX3" fmla="*/ 7411 w 70593"/>
                  <a:gd name="connsiteY3" fmla="*/ 13261 h 72479"/>
                  <a:gd name="connsiteX4" fmla="*/ 21222 w 70593"/>
                  <a:gd name="connsiteY4" fmla="*/ 2308 h 72479"/>
                  <a:gd name="connsiteX5" fmla="*/ 41129 w 70593"/>
                  <a:gd name="connsiteY5" fmla="*/ 593 h 72479"/>
                  <a:gd name="connsiteX6" fmla="*/ 59989 w 70593"/>
                  <a:gd name="connsiteY6" fmla="*/ 8499 h 72479"/>
                  <a:gd name="connsiteX7" fmla="*/ 69228 w 70593"/>
                  <a:gd name="connsiteY7" fmla="*/ 23072 h 72479"/>
                  <a:gd name="connsiteX8" fmla="*/ 69895 w 70593"/>
                  <a:gd name="connsiteY8" fmla="*/ 41741 h 72479"/>
                  <a:gd name="connsiteX9" fmla="*/ 63037 w 70593"/>
                  <a:gd name="connsiteY9" fmla="*/ 59267 h 72479"/>
                  <a:gd name="connsiteX10" fmla="*/ 49130 w 70593"/>
                  <a:gd name="connsiteY10" fmla="*/ 70221 h 72479"/>
                  <a:gd name="connsiteX11" fmla="*/ 29223 w 70593"/>
                  <a:gd name="connsiteY11" fmla="*/ 71840 h 72479"/>
                  <a:gd name="connsiteX12" fmla="*/ 11411 w 70593"/>
                  <a:gd name="connsiteY12" fmla="*/ 64125 h 72479"/>
                  <a:gd name="connsiteX13" fmla="*/ 44463 w 70593"/>
                  <a:gd name="connsiteY13" fmla="*/ 54028 h 72479"/>
                  <a:gd name="connsiteX14" fmla="*/ 51321 w 70593"/>
                  <a:gd name="connsiteY14" fmla="*/ 38693 h 72479"/>
                  <a:gd name="connsiteX15" fmla="*/ 49892 w 70593"/>
                  <a:gd name="connsiteY15" fmla="*/ 22215 h 72479"/>
                  <a:gd name="connsiteX16" fmla="*/ 39129 w 70593"/>
                  <a:gd name="connsiteY16" fmla="*/ 14785 h 72479"/>
                  <a:gd name="connsiteX17" fmla="*/ 26175 w 70593"/>
                  <a:gd name="connsiteY17" fmla="*/ 18405 h 72479"/>
                  <a:gd name="connsiteX18" fmla="*/ 19412 w 70593"/>
                  <a:gd name="connsiteY18" fmla="*/ 33550 h 72479"/>
                  <a:gd name="connsiteX19" fmla="*/ 19412 w 70593"/>
                  <a:gd name="connsiteY19" fmla="*/ 45551 h 72479"/>
                  <a:gd name="connsiteX20" fmla="*/ 23603 w 70593"/>
                  <a:gd name="connsiteY20" fmla="*/ 53838 h 72479"/>
                  <a:gd name="connsiteX21" fmla="*/ 31319 w 70593"/>
                  <a:gd name="connsiteY21" fmla="*/ 57648 h 72479"/>
                  <a:gd name="connsiteX22" fmla="*/ 44463 w 70593"/>
                  <a:gd name="connsiteY22" fmla="*/ 54028 h 724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70593" h="72479">
                    <a:moveTo>
                      <a:pt x="11411" y="64125"/>
                    </a:moveTo>
                    <a:cubicBezTo>
                      <a:pt x="6744" y="60124"/>
                      <a:pt x="3506" y="55267"/>
                      <a:pt x="1696" y="49361"/>
                    </a:cubicBezTo>
                    <a:cubicBezTo>
                      <a:pt x="-114" y="43551"/>
                      <a:pt x="-495" y="37264"/>
                      <a:pt x="648" y="30502"/>
                    </a:cubicBezTo>
                    <a:cubicBezTo>
                      <a:pt x="1696" y="23929"/>
                      <a:pt x="3982" y="18214"/>
                      <a:pt x="7411" y="13261"/>
                    </a:cubicBezTo>
                    <a:cubicBezTo>
                      <a:pt x="10840" y="8308"/>
                      <a:pt x="15507" y="4689"/>
                      <a:pt x="21222" y="2308"/>
                    </a:cubicBezTo>
                    <a:cubicBezTo>
                      <a:pt x="26937" y="-74"/>
                      <a:pt x="33605" y="-550"/>
                      <a:pt x="41129" y="593"/>
                    </a:cubicBezTo>
                    <a:cubicBezTo>
                      <a:pt x="49035" y="1831"/>
                      <a:pt x="55322" y="4498"/>
                      <a:pt x="59989" y="8499"/>
                    </a:cubicBezTo>
                    <a:cubicBezTo>
                      <a:pt x="64656" y="12499"/>
                      <a:pt x="67704" y="17357"/>
                      <a:pt x="69228" y="23072"/>
                    </a:cubicBezTo>
                    <a:cubicBezTo>
                      <a:pt x="70752" y="28787"/>
                      <a:pt x="71038" y="34978"/>
                      <a:pt x="69895" y="41741"/>
                    </a:cubicBezTo>
                    <a:cubicBezTo>
                      <a:pt x="68847" y="48504"/>
                      <a:pt x="66466" y="54314"/>
                      <a:pt x="63037" y="59267"/>
                    </a:cubicBezTo>
                    <a:cubicBezTo>
                      <a:pt x="59608" y="64220"/>
                      <a:pt x="54845" y="67840"/>
                      <a:pt x="49130" y="70221"/>
                    </a:cubicBezTo>
                    <a:cubicBezTo>
                      <a:pt x="43415" y="72507"/>
                      <a:pt x="36748" y="73078"/>
                      <a:pt x="29223" y="71840"/>
                    </a:cubicBezTo>
                    <a:cubicBezTo>
                      <a:pt x="21984" y="70697"/>
                      <a:pt x="16078" y="68125"/>
                      <a:pt x="11411" y="64125"/>
                    </a:cubicBezTo>
                    <a:close/>
                    <a:moveTo>
                      <a:pt x="44463" y="54028"/>
                    </a:moveTo>
                    <a:cubicBezTo>
                      <a:pt x="47892" y="50790"/>
                      <a:pt x="50178" y="45646"/>
                      <a:pt x="51321" y="38693"/>
                    </a:cubicBezTo>
                    <a:cubicBezTo>
                      <a:pt x="52464" y="31835"/>
                      <a:pt x="51893" y="26311"/>
                      <a:pt x="49892" y="22215"/>
                    </a:cubicBezTo>
                    <a:cubicBezTo>
                      <a:pt x="47797" y="18119"/>
                      <a:pt x="44273" y="15643"/>
                      <a:pt x="39129" y="14785"/>
                    </a:cubicBezTo>
                    <a:cubicBezTo>
                      <a:pt x="33890" y="13928"/>
                      <a:pt x="29509" y="15166"/>
                      <a:pt x="26175" y="18405"/>
                    </a:cubicBezTo>
                    <a:cubicBezTo>
                      <a:pt x="22746" y="21643"/>
                      <a:pt x="20555" y="26692"/>
                      <a:pt x="19412" y="33550"/>
                    </a:cubicBezTo>
                    <a:cubicBezTo>
                      <a:pt x="18650" y="38122"/>
                      <a:pt x="18745" y="42027"/>
                      <a:pt x="19412" y="45551"/>
                    </a:cubicBezTo>
                    <a:cubicBezTo>
                      <a:pt x="20174" y="48980"/>
                      <a:pt x="21603" y="51742"/>
                      <a:pt x="23603" y="53838"/>
                    </a:cubicBezTo>
                    <a:cubicBezTo>
                      <a:pt x="25603" y="55933"/>
                      <a:pt x="28175" y="57172"/>
                      <a:pt x="31319" y="57648"/>
                    </a:cubicBezTo>
                    <a:cubicBezTo>
                      <a:pt x="36653" y="58505"/>
                      <a:pt x="40939" y="57267"/>
                      <a:pt x="44463" y="54028"/>
                    </a:cubicBez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1717">
                  <a:defRPr/>
                </a:pPr>
                <a:endParaRPr lang="en-US" sz="1696">
                  <a:solidFill>
                    <a:srgbClr val="000000"/>
                  </a:solidFill>
                </a:endParaRPr>
              </a:p>
            </p:txBody>
          </p:sp>
          <p:sp>
            <p:nvSpPr>
              <p:cNvPr id="80" name="Freeform: Shape 123">
                <a:extLst>
                  <a:ext uri="{FF2B5EF4-FFF2-40B4-BE49-F238E27FC236}">
                    <a16:creationId xmlns:a16="http://schemas.microsoft.com/office/drawing/2014/main" id="{BB02DCF5-15B3-B50A-4EAC-81889650197F}"/>
                  </a:ext>
                </a:extLst>
              </p:cNvPr>
              <p:cNvSpPr/>
              <p:nvPr/>
            </p:nvSpPr>
            <p:spPr>
              <a:xfrm>
                <a:off x="6661663" y="949621"/>
                <a:ext cx="65653" cy="72447"/>
              </a:xfrm>
              <a:custGeom>
                <a:avLst/>
                <a:gdLst>
                  <a:gd name="connsiteX0" fmla="*/ 10599 w 65653"/>
                  <a:gd name="connsiteY0" fmla="*/ 63934 h 72447"/>
                  <a:gd name="connsiteX1" fmla="*/ 1360 w 65653"/>
                  <a:gd name="connsiteY1" fmla="*/ 49551 h 72447"/>
                  <a:gd name="connsiteX2" fmla="*/ 883 w 65653"/>
                  <a:gd name="connsiteY2" fmla="*/ 30311 h 72447"/>
                  <a:gd name="connsiteX3" fmla="*/ 8694 w 65653"/>
                  <a:gd name="connsiteY3" fmla="*/ 11737 h 72447"/>
                  <a:gd name="connsiteX4" fmla="*/ 22886 w 65653"/>
                  <a:gd name="connsiteY4" fmla="*/ 1640 h 72447"/>
                  <a:gd name="connsiteX5" fmla="*/ 41936 w 65653"/>
                  <a:gd name="connsiteY5" fmla="*/ 783 h 72447"/>
                  <a:gd name="connsiteX6" fmla="*/ 65653 w 65653"/>
                  <a:gd name="connsiteY6" fmla="*/ 20119 h 72447"/>
                  <a:gd name="connsiteX7" fmla="*/ 51652 w 65653"/>
                  <a:gd name="connsiteY7" fmla="*/ 26215 h 72447"/>
                  <a:gd name="connsiteX8" fmla="*/ 46889 w 65653"/>
                  <a:gd name="connsiteY8" fmla="*/ 18690 h 72447"/>
                  <a:gd name="connsiteX9" fmla="*/ 39269 w 65653"/>
                  <a:gd name="connsiteY9" fmla="*/ 14975 h 72447"/>
                  <a:gd name="connsiteX10" fmla="*/ 26601 w 65653"/>
                  <a:gd name="connsiteY10" fmla="*/ 18214 h 72447"/>
                  <a:gd name="connsiteX11" fmla="*/ 19743 w 65653"/>
                  <a:gd name="connsiteY11" fmla="*/ 33073 h 72447"/>
                  <a:gd name="connsiteX12" fmla="*/ 20886 w 65653"/>
                  <a:gd name="connsiteY12" fmla="*/ 49932 h 72447"/>
                  <a:gd name="connsiteX13" fmla="*/ 31554 w 65653"/>
                  <a:gd name="connsiteY13" fmla="*/ 57647 h 72447"/>
                  <a:gd name="connsiteX14" fmla="*/ 40698 w 65653"/>
                  <a:gd name="connsiteY14" fmla="*/ 56981 h 72447"/>
                  <a:gd name="connsiteX15" fmla="*/ 49747 w 65653"/>
                  <a:gd name="connsiteY15" fmla="*/ 51837 h 72447"/>
                  <a:gd name="connsiteX16" fmla="*/ 58510 w 65653"/>
                  <a:gd name="connsiteY16" fmla="*/ 64029 h 72447"/>
                  <a:gd name="connsiteX17" fmla="*/ 44793 w 65653"/>
                  <a:gd name="connsiteY17" fmla="*/ 71268 h 72447"/>
                  <a:gd name="connsiteX18" fmla="*/ 28220 w 65653"/>
                  <a:gd name="connsiteY18" fmla="*/ 71744 h 72447"/>
                  <a:gd name="connsiteX19" fmla="*/ 10599 w 65653"/>
                  <a:gd name="connsiteY19" fmla="*/ 63934 h 72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65653" h="72447">
                    <a:moveTo>
                      <a:pt x="10599" y="63934"/>
                    </a:moveTo>
                    <a:cubicBezTo>
                      <a:pt x="6122" y="60124"/>
                      <a:pt x="2979" y="55266"/>
                      <a:pt x="1360" y="49551"/>
                    </a:cubicBezTo>
                    <a:cubicBezTo>
                      <a:pt x="-260" y="43836"/>
                      <a:pt x="-450" y="37359"/>
                      <a:pt x="883" y="30311"/>
                    </a:cubicBezTo>
                    <a:cubicBezTo>
                      <a:pt x="2312" y="22786"/>
                      <a:pt x="4884" y="16595"/>
                      <a:pt x="8694" y="11737"/>
                    </a:cubicBezTo>
                    <a:cubicBezTo>
                      <a:pt x="12504" y="6879"/>
                      <a:pt x="17171" y="3545"/>
                      <a:pt x="22886" y="1640"/>
                    </a:cubicBezTo>
                    <a:cubicBezTo>
                      <a:pt x="28601" y="-265"/>
                      <a:pt x="34888" y="-455"/>
                      <a:pt x="41936" y="783"/>
                    </a:cubicBezTo>
                    <a:cubicBezTo>
                      <a:pt x="53652" y="2974"/>
                      <a:pt x="61558" y="9356"/>
                      <a:pt x="65653" y="20119"/>
                    </a:cubicBezTo>
                    <a:lnTo>
                      <a:pt x="51652" y="26215"/>
                    </a:lnTo>
                    <a:cubicBezTo>
                      <a:pt x="50318" y="23072"/>
                      <a:pt x="48699" y="20595"/>
                      <a:pt x="46889" y="18690"/>
                    </a:cubicBezTo>
                    <a:cubicBezTo>
                      <a:pt x="45079" y="16785"/>
                      <a:pt x="42508" y="15547"/>
                      <a:pt x="39269" y="14975"/>
                    </a:cubicBezTo>
                    <a:cubicBezTo>
                      <a:pt x="34126" y="14023"/>
                      <a:pt x="29935" y="15166"/>
                      <a:pt x="26601" y="18214"/>
                    </a:cubicBezTo>
                    <a:cubicBezTo>
                      <a:pt x="23267" y="21357"/>
                      <a:pt x="20981" y="26310"/>
                      <a:pt x="19743" y="33073"/>
                    </a:cubicBezTo>
                    <a:cubicBezTo>
                      <a:pt x="18409" y="40121"/>
                      <a:pt x="18790" y="45741"/>
                      <a:pt x="20886" y="49932"/>
                    </a:cubicBezTo>
                    <a:cubicBezTo>
                      <a:pt x="22981" y="54123"/>
                      <a:pt x="26506" y="56695"/>
                      <a:pt x="31554" y="57647"/>
                    </a:cubicBezTo>
                    <a:cubicBezTo>
                      <a:pt x="34888" y="58314"/>
                      <a:pt x="38031" y="58028"/>
                      <a:pt x="40698" y="56981"/>
                    </a:cubicBezTo>
                    <a:cubicBezTo>
                      <a:pt x="43460" y="55933"/>
                      <a:pt x="46508" y="54218"/>
                      <a:pt x="49747" y="51837"/>
                    </a:cubicBezTo>
                    <a:lnTo>
                      <a:pt x="58510" y="64029"/>
                    </a:lnTo>
                    <a:cubicBezTo>
                      <a:pt x="54509" y="67458"/>
                      <a:pt x="49937" y="69935"/>
                      <a:pt x="44793" y="71268"/>
                    </a:cubicBezTo>
                    <a:cubicBezTo>
                      <a:pt x="39745" y="72697"/>
                      <a:pt x="34126" y="72792"/>
                      <a:pt x="28220" y="71744"/>
                    </a:cubicBezTo>
                    <a:cubicBezTo>
                      <a:pt x="20981" y="70411"/>
                      <a:pt x="15171" y="67839"/>
                      <a:pt x="10599" y="63934"/>
                    </a:cubicBez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1717">
                  <a:defRPr/>
                </a:pPr>
                <a:endParaRPr lang="en-US" sz="1696">
                  <a:solidFill>
                    <a:srgbClr val="000000"/>
                  </a:solidFill>
                </a:endParaRPr>
              </a:p>
            </p:txBody>
          </p:sp>
          <p:sp>
            <p:nvSpPr>
              <p:cNvPr id="81" name="Freeform: Shape 124">
                <a:extLst>
                  <a:ext uri="{FF2B5EF4-FFF2-40B4-BE49-F238E27FC236}">
                    <a16:creationId xmlns:a16="http://schemas.microsoft.com/office/drawing/2014/main" id="{36B7A7FA-095F-4CF3-6D52-E3D49DE60CFE}"/>
                  </a:ext>
                </a:extLst>
              </p:cNvPr>
              <p:cNvSpPr/>
              <p:nvPr/>
            </p:nvSpPr>
            <p:spPr>
              <a:xfrm>
                <a:off x="6729917" y="962981"/>
                <a:ext cx="65167" cy="72837"/>
              </a:xfrm>
              <a:custGeom>
                <a:avLst/>
                <a:gdLst>
                  <a:gd name="connsiteX0" fmla="*/ 4449 w 65167"/>
                  <a:gd name="connsiteY0" fmla="*/ 57717 h 72837"/>
                  <a:gd name="connsiteX1" fmla="*/ 1305 w 65167"/>
                  <a:gd name="connsiteY1" fmla="*/ 29333 h 72837"/>
                  <a:gd name="connsiteX2" fmla="*/ 9782 w 65167"/>
                  <a:gd name="connsiteY2" fmla="*/ 10473 h 72837"/>
                  <a:gd name="connsiteX3" fmla="*/ 23784 w 65167"/>
                  <a:gd name="connsiteY3" fmla="*/ 1234 h 72837"/>
                  <a:gd name="connsiteX4" fmla="*/ 40834 w 65167"/>
                  <a:gd name="connsiteY4" fmla="*/ 853 h 72837"/>
                  <a:gd name="connsiteX5" fmla="*/ 57026 w 65167"/>
                  <a:gd name="connsiteY5" fmla="*/ 8949 h 72837"/>
                  <a:gd name="connsiteX6" fmla="*/ 64456 w 65167"/>
                  <a:gd name="connsiteY6" fmla="*/ 22856 h 72837"/>
                  <a:gd name="connsiteX7" fmla="*/ 64075 w 65167"/>
                  <a:gd name="connsiteY7" fmla="*/ 40001 h 72837"/>
                  <a:gd name="connsiteX8" fmla="*/ 62170 w 65167"/>
                  <a:gd name="connsiteY8" fmla="*/ 47049 h 72837"/>
                  <a:gd name="connsiteX9" fmla="*/ 18831 w 65167"/>
                  <a:gd name="connsiteY9" fmla="*/ 38001 h 72837"/>
                  <a:gd name="connsiteX10" fmla="*/ 19974 w 65167"/>
                  <a:gd name="connsiteY10" fmla="*/ 51336 h 72837"/>
                  <a:gd name="connsiteX11" fmla="*/ 30737 w 65167"/>
                  <a:gd name="connsiteY11" fmla="*/ 58479 h 72837"/>
                  <a:gd name="connsiteX12" fmla="*/ 37405 w 65167"/>
                  <a:gd name="connsiteY12" fmla="*/ 59051 h 72837"/>
                  <a:gd name="connsiteX13" fmla="*/ 43596 w 65167"/>
                  <a:gd name="connsiteY13" fmla="*/ 57908 h 72837"/>
                  <a:gd name="connsiteX14" fmla="*/ 51311 w 65167"/>
                  <a:gd name="connsiteY14" fmla="*/ 54955 h 72837"/>
                  <a:gd name="connsiteX15" fmla="*/ 56074 w 65167"/>
                  <a:gd name="connsiteY15" fmla="*/ 67909 h 72837"/>
                  <a:gd name="connsiteX16" fmla="*/ 42549 w 65167"/>
                  <a:gd name="connsiteY16" fmla="*/ 72386 h 72837"/>
                  <a:gd name="connsiteX17" fmla="*/ 27023 w 65167"/>
                  <a:gd name="connsiteY17" fmla="*/ 71719 h 72837"/>
                  <a:gd name="connsiteX18" fmla="*/ 4449 w 65167"/>
                  <a:gd name="connsiteY18" fmla="*/ 57717 h 72837"/>
                  <a:gd name="connsiteX19" fmla="*/ 47978 w 65167"/>
                  <a:gd name="connsiteY19" fmla="*/ 31428 h 72837"/>
                  <a:gd name="connsiteX20" fmla="*/ 46740 w 65167"/>
                  <a:gd name="connsiteY20" fmla="*/ 19332 h 72837"/>
                  <a:gd name="connsiteX21" fmla="*/ 37976 w 65167"/>
                  <a:gd name="connsiteY21" fmla="*/ 13712 h 72837"/>
                  <a:gd name="connsiteX22" fmla="*/ 27690 w 65167"/>
                  <a:gd name="connsiteY22" fmla="*/ 15426 h 72837"/>
                  <a:gd name="connsiteX23" fmla="*/ 21498 w 65167"/>
                  <a:gd name="connsiteY23" fmla="*/ 25904 h 72837"/>
                  <a:gd name="connsiteX24" fmla="*/ 47978 w 65167"/>
                  <a:gd name="connsiteY24" fmla="*/ 31428 h 728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65167" h="72837">
                    <a:moveTo>
                      <a:pt x="4449" y="57717"/>
                    </a:moveTo>
                    <a:cubicBezTo>
                      <a:pt x="-124" y="50574"/>
                      <a:pt x="-1171" y="41144"/>
                      <a:pt x="1305" y="29333"/>
                    </a:cubicBezTo>
                    <a:cubicBezTo>
                      <a:pt x="2924" y="21427"/>
                      <a:pt x="5782" y="15141"/>
                      <a:pt x="9782" y="10473"/>
                    </a:cubicBezTo>
                    <a:cubicBezTo>
                      <a:pt x="13783" y="5806"/>
                      <a:pt x="18450" y="2758"/>
                      <a:pt x="23784" y="1234"/>
                    </a:cubicBezTo>
                    <a:cubicBezTo>
                      <a:pt x="29118" y="-290"/>
                      <a:pt x="34833" y="-385"/>
                      <a:pt x="40834" y="853"/>
                    </a:cubicBezTo>
                    <a:cubicBezTo>
                      <a:pt x="47787" y="2282"/>
                      <a:pt x="53121" y="4949"/>
                      <a:pt x="57026" y="8949"/>
                    </a:cubicBezTo>
                    <a:cubicBezTo>
                      <a:pt x="60932" y="12855"/>
                      <a:pt x="63408" y="17522"/>
                      <a:pt x="64456" y="22856"/>
                    </a:cubicBezTo>
                    <a:cubicBezTo>
                      <a:pt x="65504" y="28190"/>
                      <a:pt x="65408" y="34000"/>
                      <a:pt x="64075" y="40001"/>
                    </a:cubicBezTo>
                    <a:cubicBezTo>
                      <a:pt x="63599" y="42382"/>
                      <a:pt x="62932" y="44763"/>
                      <a:pt x="62170" y="47049"/>
                    </a:cubicBezTo>
                    <a:lnTo>
                      <a:pt x="18831" y="38001"/>
                    </a:lnTo>
                    <a:cubicBezTo>
                      <a:pt x="17688" y="43335"/>
                      <a:pt x="18069" y="47716"/>
                      <a:pt x="19974" y="51336"/>
                    </a:cubicBezTo>
                    <a:cubicBezTo>
                      <a:pt x="21879" y="54955"/>
                      <a:pt x="25403" y="57336"/>
                      <a:pt x="30737" y="58479"/>
                    </a:cubicBezTo>
                    <a:cubicBezTo>
                      <a:pt x="33119" y="58956"/>
                      <a:pt x="35309" y="59146"/>
                      <a:pt x="37405" y="59051"/>
                    </a:cubicBezTo>
                    <a:cubicBezTo>
                      <a:pt x="39405" y="58956"/>
                      <a:pt x="41501" y="58575"/>
                      <a:pt x="43596" y="57908"/>
                    </a:cubicBezTo>
                    <a:cubicBezTo>
                      <a:pt x="45692" y="57336"/>
                      <a:pt x="48263" y="56289"/>
                      <a:pt x="51311" y="54955"/>
                    </a:cubicBezTo>
                    <a:lnTo>
                      <a:pt x="56074" y="67909"/>
                    </a:lnTo>
                    <a:cubicBezTo>
                      <a:pt x="51407" y="70100"/>
                      <a:pt x="46930" y="71624"/>
                      <a:pt x="42549" y="72386"/>
                    </a:cubicBezTo>
                    <a:cubicBezTo>
                      <a:pt x="38167" y="73148"/>
                      <a:pt x="32928" y="72957"/>
                      <a:pt x="27023" y="71719"/>
                    </a:cubicBezTo>
                    <a:cubicBezTo>
                      <a:pt x="16545" y="69528"/>
                      <a:pt x="9020" y="64861"/>
                      <a:pt x="4449" y="57717"/>
                    </a:cubicBezTo>
                    <a:close/>
                    <a:moveTo>
                      <a:pt x="47978" y="31428"/>
                    </a:moveTo>
                    <a:cubicBezTo>
                      <a:pt x="48835" y="26285"/>
                      <a:pt x="48454" y="22284"/>
                      <a:pt x="46740" y="19332"/>
                    </a:cubicBezTo>
                    <a:cubicBezTo>
                      <a:pt x="45025" y="16474"/>
                      <a:pt x="42072" y="14569"/>
                      <a:pt x="37976" y="13712"/>
                    </a:cubicBezTo>
                    <a:cubicBezTo>
                      <a:pt x="33976" y="12855"/>
                      <a:pt x="30642" y="13426"/>
                      <a:pt x="27690" y="15426"/>
                    </a:cubicBezTo>
                    <a:cubicBezTo>
                      <a:pt x="24737" y="17427"/>
                      <a:pt x="22736" y="20856"/>
                      <a:pt x="21498" y="25904"/>
                    </a:cubicBezTo>
                    <a:lnTo>
                      <a:pt x="47978" y="31428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1717">
                  <a:defRPr/>
                </a:pPr>
                <a:endParaRPr lang="en-US" sz="1696">
                  <a:solidFill>
                    <a:srgbClr val="000000"/>
                  </a:solidFill>
                </a:endParaRPr>
              </a:p>
            </p:txBody>
          </p:sp>
          <p:sp>
            <p:nvSpPr>
              <p:cNvPr id="82" name="Freeform: Shape 125">
                <a:extLst>
                  <a:ext uri="{FF2B5EF4-FFF2-40B4-BE49-F238E27FC236}">
                    <a16:creationId xmlns:a16="http://schemas.microsoft.com/office/drawing/2014/main" id="{E0745588-D3BA-960C-7E32-8DE847590DF9}"/>
                  </a:ext>
                </a:extLst>
              </p:cNvPr>
              <p:cNvSpPr/>
              <p:nvPr/>
            </p:nvSpPr>
            <p:spPr>
              <a:xfrm>
                <a:off x="6795230" y="977367"/>
                <a:ext cx="66770" cy="72866"/>
              </a:xfrm>
              <a:custGeom>
                <a:avLst/>
                <a:gdLst>
                  <a:gd name="connsiteX0" fmla="*/ 11430 w 66770"/>
                  <a:gd name="connsiteY0" fmla="*/ 65620 h 72866"/>
                  <a:gd name="connsiteX1" fmla="*/ 0 w 66770"/>
                  <a:gd name="connsiteY1" fmla="*/ 55142 h 72866"/>
                  <a:gd name="connsiteX2" fmla="*/ 10763 w 66770"/>
                  <a:gd name="connsiteY2" fmla="*/ 44855 h 72866"/>
                  <a:gd name="connsiteX3" fmla="*/ 19717 w 66770"/>
                  <a:gd name="connsiteY3" fmla="*/ 53809 h 72866"/>
                  <a:gd name="connsiteX4" fmla="*/ 29527 w 66770"/>
                  <a:gd name="connsiteY4" fmla="*/ 58381 h 72866"/>
                  <a:gd name="connsiteX5" fmla="*/ 38576 w 66770"/>
                  <a:gd name="connsiteY5" fmla="*/ 58952 h 72866"/>
                  <a:gd name="connsiteX6" fmla="*/ 42863 w 66770"/>
                  <a:gd name="connsiteY6" fmla="*/ 54666 h 72866"/>
                  <a:gd name="connsiteX7" fmla="*/ 42196 w 66770"/>
                  <a:gd name="connsiteY7" fmla="*/ 50094 h 72866"/>
                  <a:gd name="connsiteX8" fmla="*/ 38576 w 66770"/>
                  <a:gd name="connsiteY8" fmla="*/ 46760 h 72866"/>
                  <a:gd name="connsiteX9" fmla="*/ 31813 w 66770"/>
                  <a:gd name="connsiteY9" fmla="*/ 43141 h 72866"/>
                  <a:gd name="connsiteX10" fmla="*/ 28670 w 66770"/>
                  <a:gd name="connsiteY10" fmla="*/ 41522 h 72866"/>
                  <a:gd name="connsiteX11" fmla="*/ 18193 w 66770"/>
                  <a:gd name="connsiteY11" fmla="*/ 34949 h 72866"/>
                  <a:gd name="connsiteX12" fmla="*/ 12192 w 66770"/>
                  <a:gd name="connsiteY12" fmla="*/ 26948 h 72866"/>
                  <a:gd name="connsiteX13" fmla="*/ 11811 w 66770"/>
                  <a:gd name="connsiteY13" fmla="*/ 15614 h 72866"/>
                  <a:gd name="connsiteX14" fmla="*/ 17431 w 66770"/>
                  <a:gd name="connsiteY14" fmla="*/ 5327 h 72866"/>
                  <a:gd name="connsiteX15" fmla="*/ 28099 w 66770"/>
                  <a:gd name="connsiteY15" fmla="*/ 374 h 72866"/>
                  <a:gd name="connsiteX16" fmla="*/ 43053 w 66770"/>
                  <a:gd name="connsiteY16" fmla="*/ 1231 h 72866"/>
                  <a:gd name="connsiteX17" fmla="*/ 57150 w 66770"/>
                  <a:gd name="connsiteY17" fmla="*/ 7041 h 72866"/>
                  <a:gd name="connsiteX18" fmla="*/ 66770 w 66770"/>
                  <a:gd name="connsiteY18" fmla="*/ 16947 h 72866"/>
                  <a:gd name="connsiteX19" fmla="*/ 55340 w 66770"/>
                  <a:gd name="connsiteY19" fmla="*/ 25234 h 72866"/>
                  <a:gd name="connsiteX20" fmla="*/ 40196 w 66770"/>
                  <a:gd name="connsiteY20" fmla="*/ 14280 h 72866"/>
                  <a:gd name="connsiteX21" fmla="*/ 28384 w 66770"/>
                  <a:gd name="connsiteY21" fmla="*/ 17900 h 72866"/>
                  <a:gd name="connsiteX22" fmla="*/ 28861 w 66770"/>
                  <a:gd name="connsiteY22" fmla="*/ 21900 h 72866"/>
                  <a:gd name="connsiteX23" fmla="*/ 31909 w 66770"/>
                  <a:gd name="connsiteY23" fmla="*/ 24853 h 72866"/>
                  <a:gd name="connsiteX24" fmla="*/ 37814 w 66770"/>
                  <a:gd name="connsiteY24" fmla="*/ 27996 h 72866"/>
                  <a:gd name="connsiteX25" fmla="*/ 40862 w 66770"/>
                  <a:gd name="connsiteY25" fmla="*/ 29520 h 72866"/>
                  <a:gd name="connsiteX26" fmla="*/ 52292 w 66770"/>
                  <a:gd name="connsiteY26" fmla="*/ 36473 h 72866"/>
                  <a:gd name="connsiteX27" fmla="*/ 58769 w 66770"/>
                  <a:gd name="connsiteY27" fmla="*/ 44855 h 72866"/>
                  <a:gd name="connsiteX28" fmla="*/ 59246 w 66770"/>
                  <a:gd name="connsiteY28" fmla="*/ 57047 h 72866"/>
                  <a:gd name="connsiteX29" fmla="*/ 53340 w 66770"/>
                  <a:gd name="connsiteY29" fmla="*/ 67430 h 72866"/>
                  <a:gd name="connsiteX30" fmla="*/ 42100 w 66770"/>
                  <a:gd name="connsiteY30" fmla="*/ 72478 h 72866"/>
                  <a:gd name="connsiteX31" fmla="*/ 26479 w 66770"/>
                  <a:gd name="connsiteY31" fmla="*/ 71525 h 72866"/>
                  <a:gd name="connsiteX32" fmla="*/ 11430 w 66770"/>
                  <a:gd name="connsiteY32" fmla="*/ 65620 h 728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66770" h="72866">
                    <a:moveTo>
                      <a:pt x="11430" y="65620"/>
                    </a:moveTo>
                    <a:cubicBezTo>
                      <a:pt x="7239" y="63048"/>
                      <a:pt x="3429" y="59524"/>
                      <a:pt x="0" y="55142"/>
                    </a:cubicBezTo>
                    <a:lnTo>
                      <a:pt x="10763" y="44855"/>
                    </a:lnTo>
                    <a:cubicBezTo>
                      <a:pt x="13906" y="48570"/>
                      <a:pt x="16859" y="51618"/>
                      <a:pt x="19717" y="53809"/>
                    </a:cubicBezTo>
                    <a:cubicBezTo>
                      <a:pt x="22574" y="56000"/>
                      <a:pt x="25908" y="57524"/>
                      <a:pt x="29527" y="58381"/>
                    </a:cubicBezTo>
                    <a:cubicBezTo>
                      <a:pt x="33242" y="59238"/>
                      <a:pt x="36290" y="59429"/>
                      <a:pt x="38576" y="58952"/>
                    </a:cubicBezTo>
                    <a:cubicBezTo>
                      <a:pt x="40862" y="58476"/>
                      <a:pt x="42291" y="57047"/>
                      <a:pt x="42863" y="54666"/>
                    </a:cubicBezTo>
                    <a:cubicBezTo>
                      <a:pt x="43243" y="52952"/>
                      <a:pt x="43053" y="51428"/>
                      <a:pt x="42196" y="50094"/>
                    </a:cubicBezTo>
                    <a:cubicBezTo>
                      <a:pt x="41338" y="48761"/>
                      <a:pt x="40196" y="47713"/>
                      <a:pt x="38576" y="46760"/>
                    </a:cubicBezTo>
                    <a:cubicBezTo>
                      <a:pt x="37052" y="45808"/>
                      <a:pt x="34766" y="44570"/>
                      <a:pt x="31813" y="43141"/>
                    </a:cubicBezTo>
                    <a:lnTo>
                      <a:pt x="28670" y="41522"/>
                    </a:lnTo>
                    <a:cubicBezTo>
                      <a:pt x="24384" y="39331"/>
                      <a:pt x="20860" y="37140"/>
                      <a:pt x="18193" y="34949"/>
                    </a:cubicBezTo>
                    <a:cubicBezTo>
                      <a:pt x="15526" y="32759"/>
                      <a:pt x="13525" y="30187"/>
                      <a:pt x="12192" y="26948"/>
                    </a:cubicBezTo>
                    <a:cubicBezTo>
                      <a:pt x="10858" y="23710"/>
                      <a:pt x="10763" y="19995"/>
                      <a:pt x="11811" y="15614"/>
                    </a:cubicBezTo>
                    <a:cubicBezTo>
                      <a:pt x="12763" y="11327"/>
                      <a:pt x="14668" y="7898"/>
                      <a:pt x="17431" y="5327"/>
                    </a:cubicBezTo>
                    <a:cubicBezTo>
                      <a:pt x="20193" y="2755"/>
                      <a:pt x="23717" y="1040"/>
                      <a:pt x="28099" y="374"/>
                    </a:cubicBezTo>
                    <a:cubicBezTo>
                      <a:pt x="32480" y="-293"/>
                      <a:pt x="37433" y="-103"/>
                      <a:pt x="43053" y="1231"/>
                    </a:cubicBezTo>
                    <a:cubicBezTo>
                      <a:pt x="48387" y="2469"/>
                      <a:pt x="53054" y="4374"/>
                      <a:pt x="57150" y="7041"/>
                    </a:cubicBezTo>
                    <a:cubicBezTo>
                      <a:pt x="61150" y="9708"/>
                      <a:pt x="64389" y="13042"/>
                      <a:pt x="66770" y="16947"/>
                    </a:cubicBezTo>
                    <a:lnTo>
                      <a:pt x="55340" y="25234"/>
                    </a:lnTo>
                    <a:cubicBezTo>
                      <a:pt x="51625" y="19424"/>
                      <a:pt x="46577" y="15709"/>
                      <a:pt x="40196" y="14280"/>
                    </a:cubicBezTo>
                    <a:cubicBezTo>
                      <a:pt x="33242" y="12661"/>
                      <a:pt x="29337" y="13899"/>
                      <a:pt x="28384" y="17900"/>
                    </a:cubicBezTo>
                    <a:cubicBezTo>
                      <a:pt x="28004" y="19424"/>
                      <a:pt x="28194" y="20757"/>
                      <a:pt x="28861" y="21900"/>
                    </a:cubicBezTo>
                    <a:cubicBezTo>
                      <a:pt x="29527" y="23043"/>
                      <a:pt x="30575" y="23996"/>
                      <a:pt x="31909" y="24853"/>
                    </a:cubicBezTo>
                    <a:cubicBezTo>
                      <a:pt x="33242" y="25710"/>
                      <a:pt x="35242" y="26758"/>
                      <a:pt x="37814" y="27996"/>
                    </a:cubicBezTo>
                    <a:lnTo>
                      <a:pt x="40862" y="29520"/>
                    </a:lnTo>
                    <a:cubicBezTo>
                      <a:pt x="45625" y="31901"/>
                      <a:pt x="49435" y="34283"/>
                      <a:pt x="52292" y="36473"/>
                    </a:cubicBezTo>
                    <a:cubicBezTo>
                      <a:pt x="55150" y="38664"/>
                      <a:pt x="57340" y="41426"/>
                      <a:pt x="58769" y="44855"/>
                    </a:cubicBezTo>
                    <a:cubicBezTo>
                      <a:pt x="60198" y="48189"/>
                      <a:pt x="60388" y="52285"/>
                      <a:pt x="59246" y="57047"/>
                    </a:cubicBezTo>
                    <a:cubicBezTo>
                      <a:pt x="58293" y="61334"/>
                      <a:pt x="56293" y="64858"/>
                      <a:pt x="53340" y="67430"/>
                    </a:cubicBezTo>
                    <a:cubicBezTo>
                      <a:pt x="50387" y="70097"/>
                      <a:pt x="46672" y="71716"/>
                      <a:pt x="42100" y="72478"/>
                    </a:cubicBezTo>
                    <a:cubicBezTo>
                      <a:pt x="37529" y="73240"/>
                      <a:pt x="32290" y="72859"/>
                      <a:pt x="26479" y="71525"/>
                    </a:cubicBezTo>
                    <a:cubicBezTo>
                      <a:pt x="20669" y="70192"/>
                      <a:pt x="15621" y="68192"/>
                      <a:pt x="11430" y="65620"/>
                    </a:cubicBez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1717">
                  <a:defRPr/>
                </a:pPr>
                <a:endParaRPr lang="en-US" sz="1696">
                  <a:solidFill>
                    <a:srgbClr val="000000"/>
                  </a:solidFill>
                </a:endParaRPr>
              </a:p>
            </p:txBody>
          </p:sp>
          <p:sp>
            <p:nvSpPr>
              <p:cNvPr id="83" name="Freeform: Shape 126">
                <a:extLst>
                  <a:ext uri="{FF2B5EF4-FFF2-40B4-BE49-F238E27FC236}">
                    <a16:creationId xmlns:a16="http://schemas.microsoft.com/office/drawing/2014/main" id="{037A9346-CDE5-4DF2-D34B-101EBD9181E8}"/>
                  </a:ext>
                </a:extLst>
              </p:cNvPr>
              <p:cNvSpPr/>
              <p:nvPr/>
            </p:nvSpPr>
            <p:spPr>
              <a:xfrm>
                <a:off x="6858571" y="992853"/>
                <a:ext cx="67437" cy="72909"/>
              </a:xfrm>
              <a:custGeom>
                <a:avLst/>
                <a:gdLst>
                  <a:gd name="connsiteX0" fmla="*/ 11240 w 67437"/>
                  <a:gd name="connsiteY0" fmla="*/ 65088 h 72909"/>
                  <a:gd name="connsiteX1" fmla="*/ 0 w 67437"/>
                  <a:gd name="connsiteY1" fmla="*/ 54420 h 72909"/>
                  <a:gd name="connsiteX2" fmla="*/ 10954 w 67437"/>
                  <a:gd name="connsiteY2" fmla="*/ 44419 h 72909"/>
                  <a:gd name="connsiteX3" fmla="*/ 19717 w 67437"/>
                  <a:gd name="connsiteY3" fmla="*/ 53563 h 72909"/>
                  <a:gd name="connsiteX4" fmla="*/ 29432 w 67437"/>
                  <a:gd name="connsiteY4" fmla="*/ 58325 h 72909"/>
                  <a:gd name="connsiteX5" fmla="*/ 38386 w 67437"/>
                  <a:gd name="connsiteY5" fmla="*/ 59087 h 72909"/>
                  <a:gd name="connsiteX6" fmla="*/ 42767 w 67437"/>
                  <a:gd name="connsiteY6" fmla="*/ 54801 h 72909"/>
                  <a:gd name="connsiteX7" fmla="*/ 42196 w 67437"/>
                  <a:gd name="connsiteY7" fmla="*/ 50229 h 72909"/>
                  <a:gd name="connsiteX8" fmla="*/ 38671 w 67437"/>
                  <a:gd name="connsiteY8" fmla="*/ 46800 h 72909"/>
                  <a:gd name="connsiteX9" fmla="*/ 32004 w 67437"/>
                  <a:gd name="connsiteY9" fmla="*/ 43085 h 72909"/>
                  <a:gd name="connsiteX10" fmla="*/ 28861 w 67437"/>
                  <a:gd name="connsiteY10" fmla="*/ 41466 h 72909"/>
                  <a:gd name="connsiteX11" fmla="*/ 18574 w 67437"/>
                  <a:gd name="connsiteY11" fmla="*/ 34703 h 72909"/>
                  <a:gd name="connsiteX12" fmla="*/ 12763 w 67437"/>
                  <a:gd name="connsiteY12" fmla="*/ 26607 h 72909"/>
                  <a:gd name="connsiteX13" fmla="*/ 12573 w 67437"/>
                  <a:gd name="connsiteY13" fmla="*/ 15272 h 72909"/>
                  <a:gd name="connsiteX14" fmla="*/ 18383 w 67437"/>
                  <a:gd name="connsiteY14" fmla="*/ 5081 h 72909"/>
                  <a:gd name="connsiteX15" fmla="*/ 29146 w 67437"/>
                  <a:gd name="connsiteY15" fmla="*/ 318 h 72909"/>
                  <a:gd name="connsiteX16" fmla="*/ 44101 w 67437"/>
                  <a:gd name="connsiteY16" fmla="*/ 1461 h 72909"/>
                  <a:gd name="connsiteX17" fmla="*/ 58007 w 67437"/>
                  <a:gd name="connsiteY17" fmla="*/ 7557 h 72909"/>
                  <a:gd name="connsiteX18" fmla="*/ 67437 w 67437"/>
                  <a:gd name="connsiteY18" fmla="*/ 17749 h 72909"/>
                  <a:gd name="connsiteX19" fmla="*/ 55817 w 67437"/>
                  <a:gd name="connsiteY19" fmla="*/ 25845 h 72909"/>
                  <a:gd name="connsiteX20" fmla="*/ 40862 w 67437"/>
                  <a:gd name="connsiteY20" fmla="*/ 14606 h 72909"/>
                  <a:gd name="connsiteX21" fmla="*/ 28956 w 67437"/>
                  <a:gd name="connsiteY21" fmla="*/ 17939 h 72909"/>
                  <a:gd name="connsiteX22" fmla="*/ 29337 w 67437"/>
                  <a:gd name="connsiteY22" fmla="*/ 21940 h 72909"/>
                  <a:gd name="connsiteX23" fmla="*/ 32290 w 67437"/>
                  <a:gd name="connsiteY23" fmla="*/ 24893 h 72909"/>
                  <a:gd name="connsiteX24" fmla="*/ 38195 w 67437"/>
                  <a:gd name="connsiteY24" fmla="*/ 28131 h 72909"/>
                  <a:gd name="connsiteX25" fmla="*/ 41148 w 67437"/>
                  <a:gd name="connsiteY25" fmla="*/ 29655 h 72909"/>
                  <a:gd name="connsiteX26" fmla="*/ 52483 w 67437"/>
                  <a:gd name="connsiteY26" fmla="*/ 36799 h 72909"/>
                  <a:gd name="connsiteX27" fmla="*/ 58865 w 67437"/>
                  <a:gd name="connsiteY27" fmla="*/ 45276 h 72909"/>
                  <a:gd name="connsiteX28" fmla="*/ 59150 w 67437"/>
                  <a:gd name="connsiteY28" fmla="*/ 57468 h 72909"/>
                  <a:gd name="connsiteX29" fmla="*/ 53054 w 67437"/>
                  <a:gd name="connsiteY29" fmla="*/ 67755 h 72909"/>
                  <a:gd name="connsiteX30" fmla="*/ 41720 w 67437"/>
                  <a:gd name="connsiteY30" fmla="*/ 72613 h 72909"/>
                  <a:gd name="connsiteX31" fmla="*/ 26099 w 67437"/>
                  <a:gd name="connsiteY31" fmla="*/ 71375 h 72909"/>
                  <a:gd name="connsiteX32" fmla="*/ 11144 w 67437"/>
                  <a:gd name="connsiteY32" fmla="*/ 65088 h 729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67437" h="72909">
                    <a:moveTo>
                      <a:pt x="11240" y="65088"/>
                    </a:moveTo>
                    <a:cubicBezTo>
                      <a:pt x="7049" y="62421"/>
                      <a:pt x="3334" y="58802"/>
                      <a:pt x="0" y="54420"/>
                    </a:cubicBezTo>
                    <a:lnTo>
                      <a:pt x="10954" y="44419"/>
                    </a:lnTo>
                    <a:cubicBezTo>
                      <a:pt x="14002" y="48229"/>
                      <a:pt x="16859" y="51277"/>
                      <a:pt x="19717" y="53563"/>
                    </a:cubicBezTo>
                    <a:cubicBezTo>
                      <a:pt x="22574" y="55849"/>
                      <a:pt x="25813" y="57373"/>
                      <a:pt x="29432" y="58325"/>
                    </a:cubicBezTo>
                    <a:cubicBezTo>
                      <a:pt x="33147" y="59278"/>
                      <a:pt x="36100" y="59564"/>
                      <a:pt x="38386" y="59087"/>
                    </a:cubicBezTo>
                    <a:cubicBezTo>
                      <a:pt x="40672" y="58706"/>
                      <a:pt x="42100" y="57278"/>
                      <a:pt x="42767" y="54801"/>
                    </a:cubicBezTo>
                    <a:cubicBezTo>
                      <a:pt x="43244" y="53087"/>
                      <a:pt x="43053" y="51563"/>
                      <a:pt x="42196" y="50229"/>
                    </a:cubicBezTo>
                    <a:cubicBezTo>
                      <a:pt x="41338" y="48896"/>
                      <a:pt x="40196" y="47753"/>
                      <a:pt x="38671" y="46800"/>
                    </a:cubicBezTo>
                    <a:cubicBezTo>
                      <a:pt x="37148" y="45848"/>
                      <a:pt x="34957" y="44609"/>
                      <a:pt x="32004" y="43085"/>
                    </a:cubicBezTo>
                    <a:lnTo>
                      <a:pt x="28861" y="41466"/>
                    </a:lnTo>
                    <a:cubicBezTo>
                      <a:pt x="24575" y="39180"/>
                      <a:pt x="21146" y="36894"/>
                      <a:pt x="18574" y="34703"/>
                    </a:cubicBezTo>
                    <a:cubicBezTo>
                      <a:pt x="15907" y="32513"/>
                      <a:pt x="14002" y="29846"/>
                      <a:pt x="12763" y="26607"/>
                    </a:cubicBezTo>
                    <a:cubicBezTo>
                      <a:pt x="11525" y="23464"/>
                      <a:pt x="11525" y="19654"/>
                      <a:pt x="12573" y="15272"/>
                    </a:cubicBezTo>
                    <a:cubicBezTo>
                      <a:pt x="13621" y="10986"/>
                      <a:pt x="15621" y="7652"/>
                      <a:pt x="18383" y="5081"/>
                    </a:cubicBezTo>
                    <a:cubicBezTo>
                      <a:pt x="21241" y="2509"/>
                      <a:pt x="24765" y="985"/>
                      <a:pt x="29146" y="318"/>
                    </a:cubicBezTo>
                    <a:cubicBezTo>
                      <a:pt x="33528" y="-349"/>
                      <a:pt x="38481" y="32"/>
                      <a:pt x="44101" y="1461"/>
                    </a:cubicBezTo>
                    <a:cubicBezTo>
                      <a:pt x="49435" y="2795"/>
                      <a:pt x="54102" y="4890"/>
                      <a:pt x="58007" y="7557"/>
                    </a:cubicBezTo>
                    <a:cubicBezTo>
                      <a:pt x="62008" y="10319"/>
                      <a:pt x="65151" y="13653"/>
                      <a:pt x="67437" y="17749"/>
                    </a:cubicBezTo>
                    <a:lnTo>
                      <a:pt x="55817" y="25845"/>
                    </a:lnTo>
                    <a:cubicBezTo>
                      <a:pt x="52197" y="19940"/>
                      <a:pt x="47244" y="16130"/>
                      <a:pt x="40862" y="14606"/>
                    </a:cubicBezTo>
                    <a:cubicBezTo>
                      <a:pt x="34004" y="12891"/>
                      <a:pt x="30004" y="13939"/>
                      <a:pt x="28956" y="17939"/>
                    </a:cubicBezTo>
                    <a:cubicBezTo>
                      <a:pt x="28575" y="19463"/>
                      <a:pt x="28670" y="20797"/>
                      <a:pt x="29337" y="21940"/>
                    </a:cubicBezTo>
                    <a:cubicBezTo>
                      <a:pt x="30004" y="23083"/>
                      <a:pt x="30956" y="24035"/>
                      <a:pt x="32290" y="24893"/>
                    </a:cubicBezTo>
                    <a:cubicBezTo>
                      <a:pt x="33623" y="25750"/>
                      <a:pt x="35624" y="26893"/>
                      <a:pt x="38195" y="28131"/>
                    </a:cubicBezTo>
                    <a:lnTo>
                      <a:pt x="41148" y="29655"/>
                    </a:lnTo>
                    <a:cubicBezTo>
                      <a:pt x="45815" y="32132"/>
                      <a:pt x="49625" y="34513"/>
                      <a:pt x="52483" y="36799"/>
                    </a:cubicBezTo>
                    <a:cubicBezTo>
                      <a:pt x="55340" y="39085"/>
                      <a:pt x="57436" y="41847"/>
                      <a:pt x="58865" y="45276"/>
                    </a:cubicBezTo>
                    <a:cubicBezTo>
                      <a:pt x="60198" y="48705"/>
                      <a:pt x="60293" y="52706"/>
                      <a:pt x="59150" y="57468"/>
                    </a:cubicBezTo>
                    <a:cubicBezTo>
                      <a:pt x="58103" y="61754"/>
                      <a:pt x="56007" y="65183"/>
                      <a:pt x="53054" y="67755"/>
                    </a:cubicBezTo>
                    <a:cubicBezTo>
                      <a:pt x="50102" y="70327"/>
                      <a:pt x="46292" y="71946"/>
                      <a:pt x="41720" y="72613"/>
                    </a:cubicBezTo>
                    <a:cubicBezTo>
                      <a:pt x="37148" y="73280"/>
                      <a:pt x="31909" y="72803"/>
                      <a:pt x="26099" y="71375"/>
                    </a:cubicBezTo>
                    <a:cubicBezTo>
                      <a:pt x="20288" y="69946"/>
                      <a:pt x="15240" y="67850"/>
                      <a:pt x="11144" y="65088"/>
                    </a:cubicBez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1717">
                  <a:defRPr/>
                </a:pPr>
                <a:endParaRPr lang="en-US" sz="1696">
                  <a:solidFill>
                    <a:srgbClr val="000000"/>
                  </a:solidFill>
                </a:endParaRPr>
              </a:p>
            </p:txBody>
          </p:sp>
          <p:sp>
            <p:nvSpPr>
              <p:cNvPr id="84" name="Freeform: Shape 127">
                <a:extLst>
                  <a:ext uri="{FF2B5EF4-FFF2-40B4-BE49-F238E27FC236}">
                    <a16:creationId xmlns:a16="http://schemas.microsoft.com/office/drawing/2014/main" id="{9C637151-1064-BADE-40AF-1DFF7FEA8264}"/>
                  </a:ext>
                </a:extLst>
              </p:cNvPr>
              <p:cNvSpPr/>
              <p:nvPr/>
            </p:nvSpPr>
            <p:spPr>
              <a:xfrm>
                <a:off x="6928740" y="1011208"/>
                <a:ext cx="65758" cy="73101"/>
              </a:xfrm>
              <a:custGeom>
                <a:avLst/>
                <a:gdLst>
                  <a:gd name="connsiteX0" fmla="*/ 3459 w 65758"/>
                  <a:gd name="connsiteY0" fmla="*/ 55972 h 73101"/>
                  <a:gd name="connsiteX1" fmla="*/ 2125 w 65758"/>
                  <a:gd name="connsiteY1" fmla="*/ 27397 h 73101"/>
                  <a:gd name="connsiteX2" fmla="*/ 11746 w 65758"/>
                  <a:gd name="connsiteY2" fmla="*/ 9109 h 73101"/>
                  <a:gd name="connsiteX3" fmla="*/ 26319 w 65758"/>
                  <a:gd name="connsiteY3" fmla="*/ 727 h 73101"/>
                  <a:gd name="connsiteX4" fmla="*/ 43273 w 65758"/>
                  <a:gd name="connsiteY4" fmla="*/ 1394 h 73101"/>
                  <a:gd name="connsiteX5" fmla="*/ 58990 w 65758"/>
                  <a:gd name="connsiteY5" fmla="*/ 10443 h 73101"/>
                  <a:gd name="connsiteX6" fmla="*/ 65467 w 65758"/>
                  <a:gd name="connsiteY6" fmla="*/ 24826 h 73101"/>
                  <a:gd name="connsiteX7" fmla="*/ 64038 w 65758"/>
                  <a:gd name="connsiteY7" fmla="*/ 41971 h 73101"/>
                  <a:gd name="connsiteX8" fmla="*/ 61752 w 65758"/>
                  <a:gd name="connsiteY8" fmla="*/ 48924 h 73101"/>
                  <a:gd name="connsiteX9" fmla="*/ 19080 w 65758"/>
                  <a:gd name="connsiteY9" fmla="*/ 37113 h 73101"/>
                  <a:gd name="connsiteX10" fmla="*/ 19366 w 65758"/>
                  <a:gd name="connsiteY10" fmla="*/ 50543 h 73101"/>
                  <a:gd name="connsiteX11" fmla="*/ 29653 w 65758"/>
                  <a:gd name="connsiteY11" fmla="*/ 58354 h 73101"/>
                  <a:gd name="connsiteX12" fmla="*/ 36225 w 65758"/>
                  <a:gd name="connsiteY12" fmla="*/ 59306 h 73101"/>
                  <a:gd name="connsiteX13" fmla="*/ 42416 w 65758"/>
                  <a:gd name="connsiteY13" fmla="*/ 58544 h 73101"/>
                  <a:gd name="connsiteX14" fmla="*/ 50322 w 65758"/>
                  <a:gd name="connsiteY14" fmla="*/ 56163 h 73101"/>
                  <a:gd name="connsiteX15" fmla="*/ 54227 w 65758"/>
                  <a:gd name="connsiteY15" fmla="*/ 69403 h 73101"/>
                  <a:gd name="connsiteX16" fmla="*/ 40416 w 65758"/>
                  <a:gd name="connsiteY16" fmla="*/ 72927 h 73101"/>
                  <a:gd name="connsiteX17" fmla="*/ 24985 w 65758"/>
                  <a:gd name="connsiteY17" fmla="*/ 71212 h 73101"/>
                  <a:gd name="connsiteX18" fmla="*/ 3364 w 65758"/>
                  <a:gd name="connsiteY18" fmla="*/ 55782 h 73101"/>
                  <a:gd name="connsiteX19" fmla="*/ 48607 w 65758"/>
                  <a:gd name="connsiteY19" fmla="*/ 32541 h 73101"/>
                  <a:gd name="connsiteX20" fmla="*/ 48131 w 65758"/>
                  <a:gd name="connsiteY20" fmla="*/ 20444 h 73101"/>
                  <a:gd name="connsiteX21" fmla="*/ 39749 w 65758"/>
                  <a:gd name="connsiteY21" fmla="*/ 14253 h 73101"/>
                  <a:gd name="connsiteX22" fmla="*/ 29367 w 65758"/>
                  <a:gd name="connsiteY22" fmla="*/ 15301 h 73101"/>
                  <a:gd name="connsiteX23" fmla="*/ 22509 w 65758"/>
                  <a:gd name="connsiteY23" fmla="*/ 25397 h 73101"/>
                  <a:gd name="connsiteX24" fmla="*/ 48512 w 65758"/>
                  <a:gd name="connsiteY24" fmla="*/ 32636 h 731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65758" h="73101">
                    <a:moveTo>
                      <a:pt x="3459" y="55972"/>
                    </a:moveTo>
                    <a:cubicBezTo>
                      <a:pt x="-637" y="48543"/>
                      <a:pt x="-1113" y="39018"/>
                      <a:pt x="2125" y="27397"/>
                    </a:cubicBezTo>
                    <a:cubicBezTo>
                      <a:pt x="4316" y="19587"/>
                      <a:pt x="7460" y="13491"/>
                      <a:pt x="11746" y="9109"/>
                    </a:cubicBezTo>
                    <a:cubicBezTo>
                      <a:pt x="16032" y="4728"/>
                      <a:pt x="20890" y="1966"/>
                      <a:pt x="26319" y="727"/>
                    </a:cubicBezTo>
                    <a:cubicBezTo>
                      <a:pt x="31748" y="-416"/>
                      <a:pt x="37463" y="-225"/>
                      <a:pt x="43273" y="1394"/>
                    </a:cubicBezTo>
                    <a:cubicBezTo>
                      <a:pt x="50131" y="3299"/>
                      <a:pt x="55275" y="6347"/>
                      <a:pt x="58990" y="10443"/>
                    </a:cubicBezTo>
                    <a:cubicBezTo>
                      <a:pt x="62609" y="14634"/>
                      <a:pt x="64800" y="19396"/>
                      <a:pt x="65467" y="24826"/>
                    </a:cubicBezTo>
                    <a:cubicBezTo>
                      <a:pt x="66133" y="30255"/>
                      <a:pt x="65657" y="35970"/>
                      <a:pt x="64038" y="41971"/>
                    </a:cubicBezTo>
                    <a:cubicBezTo>
                      <a:pt x="63371" y="44352"/>
                      <a:pt x="62609" y="46638"/>
                      <a:pt x="61752" y="48924"/>
                    </a:cubicBezTo>
                    <a:lnTo>
                      <a:pt x="19080" y="37113"/>
                    </a:lnTo>
                    <a:cubicBezTo>
                      <a:pt x="17651" y="42352"/>
                      <a:pt x="17746" y="46828"/>
                      <a:pt x="19366" y="50543"/>
                    </a:cubicBezTo>
                    <a:cubicBezTo>
                      <a:pt x="20985" y="54258"/>
                      <a:pt x="24414" y="56925"/>
                      <a:pt x="29653" y="58354"/>
                    </a:cubicBezTo>
                    <a:cubicBezTo>
                      <a:pt x="32034" y="59020"/>
                      <a:pt x="34225" y="59306"/>
                      <a:pt x="36225" y="59306"/>
                    </a:cubicBezTo>
                    <a:cubicBezTo>
                      <a:pt x="38225" y="59306"/>
                      <a:pt x="40321" y="59116"/>
                      <a:pt x="42416" y="58544"/>
                    </a:cubicBezTo>
                    <a:cubicBezTo>
                      <a:pt x="44512" y="58068"/>
                      <a:pt x="47179" y="57211"/>
                      <a:pt x="50322" y="56163"/>
                    </a:cubicBezTo>
                    <a:lnTo>
                      <a:pt x="54227" y="69403"/>
                    </a:lnTo>
                    <a:cubicBezTo>
                      <a:pt x="49465" y="71308"/>
                      <a:pt x="44893" y="72451"/>
                      <a:pt x="40416" y="72927"/>
                    </a:cubicBezTo>
                    <a:cubicBezTo>
                      <a:pt x="35939" y="73403"/>
                      <a:pt x="30796" y="72927"/>
                      <a:pt x="24985" y="71212"/>
                    </a:cubicBezTo>
                    <a:cubicBezTo>
                      <a:pt x="14698" y="68355"/>
                      <a:pt x="7460" y="63211"/>
                      <a:pt x="3364" y="55782"/>
                    </a:cubicBezTo>
                    <a:close/>
                    <a:moveTo>
                      <a:pt x="48607" y="32541"/>
                    </a:moveTo>
                    <a:cubicBezTo>
                      <a:pt x="49846" y="27493"/>
                      <a:pt x="49655" y="23397"/>
                      <a:pt x="48131" y="20444"/>
                    </a:cubicBezTo>
                    <a:cubicBezTo>
                      <a:pt x="46607" y="17491"/>
                      <a:pt x="43750" y="15396"/>
                      <a:pt x="39749" y="14253"/>
                    </a:cubicBezTo>
                    <a:cubicBezTo>
                      <a:pt x="35844" y="13205"/>
                      <a:pt x="32415" y="13491"/>
                      <a:pt x="29367" y="15301"/>
                    </a:cubicBezTo>
                    <a:cubicBezTo>
                      <a:pt x="26319" y="17110"/>
                      <a:pt x="24128" y="20444"/>
                      <a:pt x="22509" y="25397"/>
                    </a:cubicBezTo>
                    <a:lnTo>
                      <a:pt x="48512" y="32636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1717">
                  <a:defRPr/>
                </a:pPr>
                <a:endParaRPr lang="en-US" sz="1696">
                  <a:solidFill>
                    <a:srgbClr val="000000"/>
                  </a:solidFill>
                </a:endParaRPr>
              </a:p>
            </p:txBody>
          </p:sp>
          <p:sp>
            <p:nvSpPr>
              <p:cNvPr id="85" name="Freeform: Shape 128">
                <a:extLst>
                  <a:ext uri="{FF2B5EF4-FFF2-40B4-BE49-F238E27FC236}">
                    <a16:creationId xmlns:a16="http://schemas.microsoft.com/office/drawing/2014/main" id="{AB799BBB-8934-2E98-F7AB-9715BAEFA192}"/>
                  </a:ext>
                </a:extLst>
              </p:cNvPr>
              <p:cNvSpPr/>
              <p:nvPr/>
            </p:nvSpPr>
            <p:spPr>
              <a:xfrm>
                <a:off x="6992207" y="1029882"/>
                <a:ext cx="69151" cy="73128"/>
              </a:xfrm>
              <a:custGeom>
                <a:avLst/>
                <a:gdLst>
                  <a:gd name="connsiteX0" fmla="*/ 10763 w 69151"/>
                  <a:gd name="connsiteY0" fmla="*/ 64159 h 73128"/>
                  <a:gd name="connsiteX1" fmla="*/ 0 w 69151"/>
                  <a:gd name="connsiteY1" fmla="*/ 53014 h 73128"/>
                  <a:gd name="connsiteX2" fmla="*/ 11430 w 69151"/>
                  <a:gd name="connsiteY2" fmla="*/ 43489 h 73128"/>
                  <a:gd name="connsiteX3" fmla="*/ 19812 w 69151"/>
                  <a:gd name="connsiteY3" fmla="*/ 52919 h 73128"/>
                  <a:gd name="connsiteX4" fmla="*/ 29337 w 69151"/>
                  <a:gd name="connsiteY4" fmla="*/ 58063 h 73128"/>
                  <a:gd name="connsiteX5" fmla="*/ 38291 w 69151"/>
                  <a:gd name="connsiteY5" fmla="*/ 59206 h 73128"/>
                  <a:gd name="connsiteX6" fmla="*/ 42863 w 69151"/>
                  <a:gd name="connsiteY6" fmla="*/ 55205 h 73128"/>
                  <a:gd name="connsiteX7" fmla="*/ 42482 w 69151"/>
                  <a:gd name="connsiteY7" fmla="*/ 50633 h 73128"/>
                  <a:gd name="connsiteX8" fmla="*/ 39148 w 69151"/>
                  <a:gd name="connsiteY8" fmla="*/ 47014 h 73128"/>
                  <a:gd name="connsiteX9" fmla="*/ 32671 w 69151"/>
                  <a:gd name="connsiteY9" fmla="*/ 43013 h 73128"/>
                  <a:gd name="connsiteX10" fmla="*/ 29623 w 69151"/>
                  <a:gd name="connsiteY10" fmla="*/ 41203 h 73128"/>
                  <a:gd name="connsiteX11" fmla="*/ 19621 w 69151"/>
                  <a:gd name="connsiteY11" fmla="*/ 33964 h 73128"/>
                  <a:gd name="connsiteX12" fmla="*/ 14192 w 69151"/>
                  <a:gd name="connsiteY12" fmla="*/ 25678 h 73128"/>
                  <a:gd name="connsiteX13" fmla="*/ 14478 w 69151"/>
                  <a:gd name="connsiteY13" fmla="*/ 14343 h 73128"/>
                  <a:gd name="connsiteX14" fmla="*/ 20765 w 69151"/>
                  <a:gd name="connsiteY14" fmla="*/ 4437 h 73128"/>
                  <a:gd name="connsiteX15" fmla="*/ 31718 w 69151"/>
                  <a:gd name="connsiteY15" fmla="*/ 151 h 73128"/>
                  <a:gd name="connsiteX16" fmla="*/ 46577 w 69151"/>
                  <a:gd name="connsiteY16" fmla="*/ 1960 h 73128"/>
                  <a:gd name="connsiteX17" fmla="*/ 60198 w 69151"/>
                  <a:gd name="connsiteY17" fmla="*/ 8723 h 73128"/>
                  <a:gd name="connsiteX18" fmla="*/ 69152 w 69151"/>
                  <a:gd name="connsiteY18" fmla="*/ 19296 h 73128"/>
                  <a:gd name="connsiteX19" fmla="*/ 57245 w 69151"/>
                  <a:gd name="connsiteY19" fmla="*/ 26821 h 73128"/>
                  <a:gd name="connsiteX20" fmla="*/ 42863 w 69151"/>
                  <a:gd name="connsiteY20" fmla="*/ 14914 h 73128"/>
                  <a:gd name="connsiteX21" fmla="*/ 30861 w 69151"/>
                  <a:gd name="connsiteY21" fmla="*/ 17772 h 73128"/>
                  <a:gd name="connsiteX22" fmla="*/ 31147 w 69151"/>
                  <a:gd name="connsiteY22" fmla="*/ 21772 h 73128"/>
                  <a:gd name="connsiteX23" fmla="*/ 34004 w 69151"/>
                  <a:gd name="connsiteY23" fmla="*/ 24916 h 73128"/>
                  <a:gd name="connsiteX24" fmla="*/ 39719 w 69151"/>
                  <a:gd name="connsiteY24" fmla="*/ 28440 h 73128"/>
                  <a:gd name="connsiteX25" fmla="*/ 42672 w 69151"/>
                  <a:gd name="connsiteY25" fmla="*/ 30154 h 73128"/>
                  <a:gd name="connsiteX26" fmla="*/ 53626 w 69151"/>
                  <a:gd name="connsiteY26" fmla="*/ 37774 h 73128"/>
                  <a:gd name="connsiteX27" fmla="*/ 59627 w 69151"/>
                  <a:gd name="connsiteY27" fmla="*/ 46537 h 73128"/>
                  <a:gd name="connsiteX28" fmla="*/ 59341 w 69151"/>
                  <a:gd name="connsiteY28" fmla="*/ 58729 h 73128"/>
                  <a:gd name="connsiteX29" fmla="*/ 52769 w 69151"/>
                  <a:gd name="connsiteY29" fmla="*/ 68731 h 73128"/>
                  <a:gd name="connsiteX30" fmla="*/ 41243 w 69151"/>
                  <a:gd name="connsiteY30" fmla="*/ 73017 h 73128"/>
                  <a:gd name="connsiteX31" fmla="*/ 25717 w 69151"/>
                  <a:gd name="connsiteY31" fmla="*/ 71017 h 73128"/>
                  <a:gd name="connsiteX32" fmla="*/ 11049 w 69151"/>
                  <a:gd name="connsiteY32" fmla="*/ 64159 h 731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69151" h="73128">
                    <a:moveTo>
                      <a:pt x="10763" y="64159"/>
                    </a:moveTo>
                    <a:cubicBezTo>
                      <a:pt x="6763" y="61301"/>
                      <a:pt x="3143" y="57586"/>
                      <a:pt x="0" y="53014"/>
                    </a:cubicBezTo>
                    <a:lnTo>
                      <a:pt x="11430" y="43489"/>
                    </a:lnTo>
                    <a:cubicBezTo>
                      <a:pt x="14288" y="47395"/>
                      <a:pt x="17050" y="50633"/>
                      <a:pt x="19812" y="52919"/>
                    </a:cubicBezTo>
                    <a:cubicBezTo>
                      <a:pt x="22574" y="55300"/>
                      <a:pt x="25717" y="57015"/>
                      <a:pt x="29337" y="58063"/>
                    </a:cubicBezTo>
                    <a:cubicBezTo>
                      <a:pt x="32957" y="59206"/>
                      <a:pt x="36004" y="59587"/>
                      <a:pt x="38291" y="59206"/>
                    </a:cubicBezTo>
                    <a:cubicBezTo>
                      <a:pt x="40577" y="58920"/>
                      <a:pt x="42100" y="57586"/>
                      <a:pt x="42863" y="55205"/>
                    </a:cubicBezTo>
                    <a:cubicBezTo>
                      <a:pt x="43339" y="53491"/>
                      <a:pt x="43244" y="51967"/>
                      <a:pt x="42482" y="50633"/>
                    </a:cubicBezTo>
                    <a:cubicBezTo>
                      <a:pt x="41720" y="49300"/>
                      <a:pt x="40577" y="48061"/>
                      <a:pt x="39148" y="47014"/>
                    </a:cubicBezTo>
                    <a:cubicBezTo>
                      <a:pt x="37719" y="45966"/>
                      <a:pt x="35528" y="44632"/>
                      <a:pt x="32671" y="43013"/>
                    </a:cubicBezTo>
                    <a:lnTo>
                      <a:pt x="29623" y="41203"/>
                    </a:lnTo>
                    <a:cubicBezTo>
                      <a:pt x="25527" y="38727"/>
                      <a:pt x="22193" y="36346"/>
                      <a:pt x="19621" y="33964"/>
                    </a:cubicBezTo>
                    <a:cubicBezTo>
                      <a:pt x="17050" y="31678"/>
                      <a:pt x="15240" y="28916"/>
                      <a:pt x="14192" y="25678"/>
                    </a:cubicBezTo>
                    <a:cubicBezTo>
                      <a:pt x="13145" y="22439"/>
                      <a:pt x="13240" y="18629"/>
                      <a:pt x="14478" y="14343"/>
                    </a:cubicBezTo>
                    <a:cubicBezTo>
                      <a:pt x="15716" y="10152"/>
                      <a:pt x="17812" y="6818"/>
                      <a:pt x="20765" y="4437"/>
                    </a:cubicBezTo>
                    <a:cubicBezTo>
                      <a:pt x="23717" y="2056"/>
                      <a:pt x="27337" y="627"/>
                      <a:pt x="31718" y="151"/>
                    </a:cubicBezTo>
                    <a:cubicBezTo>
                      <a:pt x="36100" y="-326"/>
                      <a:pt x="41053" y="341"/>
                      <a:pt x="46577" y="1960"/>
                    </a:cubicBezTo>
                    <a:cubicBezTo>
                      <a:pt x="51816" y="3580"/>
                      <a:pt x="56388" y="5770"/>
                      <a:pt x="60198" y="8723"/>
                    </a:cubicBezTo>
                    <a:cubicBezTo>
                      <a:pt x="64008" y="11676"/>
                      <a:pt x="67056" y="15105"/>
                      <a:pt x="69152" y="19296"/>
                    </a:cubicBezTo>
                    <a:lnTo>
                      <a:pt x="57245" y="26821"/>
                    </a:lnTo>
                    <a:cubicBezTo>
                      <a:pt x="53912" y="20725"/>
                      <a:pt x="49149" y="16819"/>
                      <a:pt x="42863" y="14914"/>
                    </a:cubicBezTo>
                    <a:cubicBezTo>
                      <a:pt x="36004" y="12914"/>
                      <a:pt x="32004" y="13771"/>
                      <a:pt x="30861" y="17772"/>
                    </a:cubicBezTo>
                    <a:cubicBezTo>
                      <a:pt x="30385" y="19296"/>
                      <a:pt x="30480" y="20629"/>
                      <a:pt x="31147" y="21772"/>
                    </a:cubicBezTo>
                    <a:cubicBezTo>
                      <a:pt x="31718" y="22915"/>
                      <a:pt x="32766" y="23963"/>
                      <a:pt x="34004" y="24916"/>
                    </a:cubicBezTo>
                    <a:cubicBezTo>
                      <a:pt x="35242" y="25868"/>
                      <a:pt x="37148" y="27011"/>
                      <a:pt x="39719" y="28440"/>
                    </a:cubicBezTo>
                    <a:lnTo>
                      <a:pt x="42672" y="30154"/>
                    </a:lnTo>
                    <a:cubicBezTo>
                      <a:pt x="47244" y="32917"/>
                      <a:pt x="50863" y="35393"/>
                      <a:pt x="53626" y="37774"/>
                    </a:cubicBezTo>
                    <a:cubicBezTo>
                      <a:pt x="56388" y="40156"/>
                      <a:pt x="58388" y="43108"/>
                      <a:pt x="59627" y="46537"/>
                    </a:cubicBezTo>
                    <a:cubicBezTo>
                      <a:pt x="60865" y="49966"/>
                      <a:pt x="60770" y="54062"/>
                      <a:pt x="59341" y="58729"/>
                    </a:cubicBezTo>
                    <a:cubicBezTo>
                      <a:pt x="58103" y="62920"/>
                      <a:pt x="55912" y="66349"/>
                      <a:pt x="52769" y="68731"/>
                    </a:cubicBezTo>
                    <a:cubicBezTo>
                      <a:pt x="49721" y="71207"/>
                      <a:pt x="45815" y="72636"/>
                      <a:pt x="41243" y="73017"/>
                    </a:cubicBezTo>
                    <a:cubicBezTo>
                      <a:pt x="36576" y="73398"/>
                      <a:pt x="31433" y="72826"/>
                      <a:pt x="25717" y="71017"/>
                    </a:cubicBezTo>
                    <a:cubicBezTo>
                      <a:pt x="20003" y="69302"/>
                      <a:pt x="15050" y="67016"/>
                      <a:pt x="11049" y="64159"/>
                    </a:cubicBez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1717">
                  <a:defRPr/>
                </a:pPr>
                <a:endParaRPr lang="en-US" sz="1696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463" name="Gruppieren 462">
            <a:extLst>
              <a:ext uri="{FF2B5EF4-FFF2-40B4-BE49-F238E27FC236}">
                <a16:creationId xmlns:a16="http://schemas.microsoft.com/office/drawing/2014/main" id="{7D998990-CE68-0D27-B0C8-7E2D068CB56D}"/>
              </a:ext>
            </a:extLst>
          </p:cNvPr>
          <p:cNvGrpSpPr/>
          <p:nvPr/>
        </p:nvGrpSpPr>
        <p:grpSpPr>
          <a:xfrm>
            <a:off x="3462289" y="5581389"/>
            <a:ext cx="8310651" cy="540349"/>
            <a:chOff x="3374798" y="5594663"/>
            <a:chExt cx="7213512" cy="540490"/>
          </a:xfrm>
        </p:grpSpPr>
        <p:grpSp>
          <p:nvGrpSpPr>
            <p:cNvPr id="464" name="Gruppieren 463">
              <a:extLst>
                <a:ext uri="{FF2B5EF4-FFF2-40B4-BE49-F238E27FC236}">
                  <a16:creationId xmlns:a16="http://schemas.microsoft.com/office/drawing/2014/main" id="{E59346EC-3F5F-3417-5D3E-2C10E2853F88}"/>
                </a:ext>
              </a:extLst>
            </p:cNvPr>
            <p:cNvGrpSpPr/>
            <p:nvPr/>
          </p:nvGrpSpPr>
          <p:grpSpPr>
            <a:xfrm>
              <a:off x="3374798" y="5594663"/>
              <a:ext cx="1410590" cy="540490"/>
              <a:chOff x="3374798" y="5594663"/>
              <a:chExt cx="1410590" cy="540490"/>
            </a:xfrm>
          </p:grpSpPr>
          <p:sp>
            <p:nvSpPr>
              <p:cNvPr id="481" name="Freeform: Shape 32">
                <a:extLst>
                  <a:ext uri="{FF2B5EF4-FFF2-40B4-BE49-F238E27FC236}">
                    <a16:creationId xmlns:a16="http://schemas.microsoft.com/office/drawing/2014/main" id="{6E0B043E-FC56-3F13-8359-46CF4DAC5187}"/>
                  </a:ext>
                </a:extLst>
              </p:cNvPr>
              <p:cNvSpPr/>
              <p:nvPr/>
            </p:nvSpPr>
            <p:spPr>
              <a:xfrm>
                <a:off x="3374798" y="5594663"/>
                <a:ext cx="1410590" cy="540490"/>
              </a:xfrm>
              <a:prstGeom prst="roundRect">
                <a:avLst>
                  <a:gd name="adj" fmla="val 7557"/>
                </a:avLst>
              </a:prstGeom>
              <a:solidFill>
                <a:srgbClr val="0070F2">
                  <a:lumMod val="20000"/>
                  <a:lumOff val="80000"/>
                </a:srgbClr>
              </a:solidFill>
              <a:ln w="126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108812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098" kern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82" name="Textfeld 7">
                <a:extLst>
                  <a:ext uri="{FF2B5EF4-FFF2-40B4-BE49-F238E27FC236}">
                    <a16:creationId xmlns:a16="http://schemas.microsoft.com/office/drawing/2014/main" id="{CC49746F-FAAA-619C-BA07-B84B1CDB74E3}"/>
                  </a:ext>
                </a:extLst>
              </p:cNvPr>
              <p:cNvSpPr txBox="1"/>
              <p:nvPr/>
            </p:nvSpPr>
            <p:spPr>
              <a:xfrm>
                <a:off x="3408277" y="5711020"/>
                <a:ext cx="1348043" cy="153888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spAutoFit/>
              </a:bodyPr>
              <a:lstStyle>
                <a:defPPr>
                  <a:defRPr lang="de-DE"/>
                </a:defPPr>
                <a:lvl1pPr marL="0" algn="l" defTabSz="1088776" rtl="0" eaLnBrk="1" latinLnBrk="0" hangingPunct="1">
                  <a:defRPr lang="de-DE" sz="210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544388" algn="l" defTabSz="1088776" rtl="0" eaLnBrk="1" latinLnBrk="0" hangingPunct="1">
                  <a:buClr>
                    <a:srgbClr val="FDB913"/>
                  </a:buClr>
                  <a:buSzPct val="100000"/>
                  <a:buFont typeface="wingdings"/>
                  <a:buChar char=""/>
                  <a:defRPr lang="de-DE" sz="210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1088776" algn="l" defTabSz="1088776" rtl="0" eaLnBrk="1" latinLnBrk="0" hangingPunct="1">
                  <a:buClr>
                    <a:srgbClr val="666666"/>
                  </a:buClr>
                  <a:buSzPct val="80000"/>
                  <a:buFont typeface="Wingdings"/>
                  <a:buChar char="n"/>
                  <a:defRPr lang="de-DE" sz="170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1633164" algn="l" defTabSz="1088776" rtl="0" eaLnBrk="1" latinLnBrk="0" hangingPunct="1">
                  <a:buClr>
                    <a:srgbClr val="666666"/>
                  </a:buClr>
                  <a:buSzPct val="80000"/>
                  <a:buFont typeface="Arial"/>
                  <a:buChar char=""/>
                  <a:defRPr lang="de-DE" sz="140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2177552" algn="l" defTabSz="1088776" rtl="0" eaLnBrk="1" latinLnBrk="0" hangingPunct="1">
                  <a:buClr>
                    <a:srgbClr val="666666"/>
                  </a:buClr>
                  <a:buSzPct val="80000"/>
                  <a:buFont typeface="Arial"/>
                  <a:buChar char=""/>
                  <a:defRPr lang="de-DE" sz="120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2721940" algn="l" defTabSz="108877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266328" algn="l" defTabSz="108877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10716" algn="l" defTabSz="108877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355104" algn="l" defTabSz="108877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108812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000" b="1">
                    <a:solidFill>
                      <a:srgbClr val="000000"/>
                    </a:solidFill>
                    <a:cs typeface="Arial"/>
                  </a:rPr>
                  <a:t>App Dev</a:t>
                </a:r>
              </a:p>
            </p:txBody>
          </p:sp>
          <p:sp>
            <p:nvSpPr>
              <p:cNvPr id="483" name="Textfeld 11">
                <a:extLst>
                  <a:ext uri="{FF2B5EF4-FFF2-40B4-BE49-F238E27FC236}">
                    <a16:creationId xmlns:a16="http://schemas.microsoft.com/office/drawing/2014/main" id="{30C641D9-3E69-E4A0-4D0B-D49948AE724D}"/>
                  </a:ext>
                </a:extLst>
              </p:cNvPr>
              <p:cNvSpPr txBox="1"/>
              <p:nvPr/>
            </p:nvSpPr>
            <p:spPr>
              <a:xfrm>
                <a:off x="3384503" y="5899799"/>
                <a:ext cx="1395591" cy="13846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spAutoFit/>
              </a:bodyPr>
              <a:lstStyle>
                <a:defPPr>
                  <a:defRPr lang="de-DE"/>
                </a:defPPr>
                <a:lvl1pPr marL="0" algn="l" defTabSz="1088776" rtl="0" eaLnBrk="1" latinLnBrk="0" hangingPunct="1">
                  <a:defRPr lang="de-DE" sz="210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544388" algn="l" defTabSz="1088776" rtl="0" eaLnBrk="1" latinLnBrk="0" hangingPunct="1">
                  <a:buClr>
                    <a:srgbClr val="FDB913"/>
                  </a:buClr>
                  <a:buSzPct val="100000"/>
                  <a:buFont typeface="wingdings"/>
                  <a:buChar char=""/>
                  <a:defRPr lang="de-DE" sz="210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1088776" algn="l" defTabSz="1088776" rtl="0" eaLnBrk="1" latinLnBrk="0" hangingPunct="1">
                  <a:buClr>
                    <a:srgbClr val="666666"/>
                  </a:buClr>
                  <a:buSzPct val="80000"/>
                  <a:buFont typeface="Wingdings"/>
                  <a:buChar char="n"/>
                  <a:defRPr lang="de-DE" sz="170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1633164" algn="l" defTabSz="1088776" rtl="0" eaLnBrk="1" latinLnBrk="0" hangingPunct="1">
                  <a:buClr>
                    <a:srgbClr val="666666"/>
                  </a:buClr>
                  <a:buSzPct val="80000"/>
                  <a:buFont typeface="Arial"/>
                  <a:buChar char=""/>
                  <a:defRPr lang="de-DE" sz="140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2177552" algn="l" defTabSz="1088776" rtl="0" eaLnBrk="1" latinLnBrk="0" hangingPunct="1">
                  <a:buClr>
                    <a:srgbClr val="666666"/>
                  </a:buClr>
                  <a:buSzPct val="80000"/>
                  <a:buFont typeface="Arial"/>
                  <a:buChar char=""/>
                  <a:defRPr lang="de-DE" sz="120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2721940" algn="l" defTabSz="108877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266328" algn="l" defTabSz="108877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10716" algn="l" defTabSz="108877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355104" algn="l" defTabSz="108877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108812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900">
                    <a:solidFill>
                      <a:srgbClr val="000000"/>
                    </a:solidFill>
                    <a:cs typeface="Arial"/>
                  </a:rPr>
                  <a:t>Build and innovate</a:t>
                </a:r>
              </a:p>
            </p:txBody>
          </p:sp>
        </p:grpSp>
        <p:grpSp>
          <p:nvGrpSpPr>
            <p:cNvPr id="465" name="Gruppieren 464">
              <a:extLst>
                <a:ext uri="{FF2B5EF4-FFF2-40B4-BE49-F238E27FC236}">
                  <a16:creationId xmlns:a16="http://schemas.microsoft.com/office/drawing/2014/main" id="{3CD2C682-38E6-A4AC-8614-4894E06F0050}"/>
                </a:ext>
              </a:extLst>
            </p:cNvPr>
            <p:cNvGrpSpPr/>
            <p:nvPr/>
          </p:nvGrpSpPr>
          <p:grpSpPr>
            <a:xfrm>
              <a:off x="6276258" y="5594663"/>
              <a:ext cx="1410590" cy="540490"/>
              <a:chOff x="6276258" y="5594663"/>
              <a:chExt cx="1410590" cy="540490"/>
            </a:xfrm>
          </p:grpSpPr>
          <p:sp>
            <p:nvSpPr>
              <p:cNvPr id="478" name="Freeform: Shape 32">
                <a:extLst>
                  <a:ext uri="{FF2B5EF4-FFF2-40B4-BE49-F238E27FC236}">
                    <a16:creationId xmlns:a16="http://schemas.microsoft.com/office/drawing/2014/main" id="{F9FAA370-71EB-23F2-8710-F28D53AFBF16}"/>
                  </a:ext>
                </a:extLst>
              </p:cNvPr>
              <p:cNvSpPr/>
              <p:nvPr/>
            </p:nvSpPr>
            <p:spPr>
              <a:xfrm>
                <a:off x="6276258" y="5594663"/>
                <a:ext cx="1410590" cy="540490"/>
              </a:xfrm>
              <a:prstGeom prst="roundRect">
                <a:avLst>
                  <a:gd name="adj" fmla="val 7557"/>
                </a:avLst>
              </a:prstGeom>
              <a:solidFill>
                <a:srgbClr val="0070F2">
                  <a:lumMod val="20000"/>
                  <a:lumOff val="80000"/>
                </a:srgbClr>
              </a:solidFill>
              <a:ln w="126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108812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098" kern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79" name="Textfeld 12">
                <a:extLst>
                  <a:ext uri="{FF2B5EF4-FFF2-40B4-BE49-F238E27FC236}">
                    <a16:creationId xmlns:a16="http://schemas.microsoft.com/office/drawing/2014/main" id="{621D67B5-E67C-77A7-4A00-FBBBCCCF2C5A}"/>
                  </a:ext>
                </a:extLst>
              </p:cNvPr>
              <p:cNvSpPr txBox="1"/>
              <p:nvPr/>
            </p:nvSpPr>
            <p:spPr>
              <a:xfrm>
                <a:off x="6316313" y="5899799"/>
                <a:ext cx="1348210" cy="13846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spAutoFit/>
              </a:bodyPr>
              <a:lstStyle>
                <a:defPPr>
                  <a:defRPr lang="de-DE"/>
                </a:defPPr>
                <a:lvl1pPr marL="0" algn="l" defTabSz="1088776" rtl="0" eaLnBrk="1" latinLnBrk="0" hangingPunct="1">
                  <a:defRPr lang="de-DE" sz="210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544388" algn="l" defTabSz="1088776" rtl="0" eaLnBrk="1" latinLnBrk="0" hangingPunct="1">
                  <a:buClr>
                    <a:srgbClr val="FDB913"/>
                  </a:buClr>
                  <a:buSzPct val="100000"/>
                  <a:buFont typeface="wingdings"/>
                  <a:buChar char=""/>
                  <a:defRPr lang="de-DE" sz="210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1088776" algn="l" defTabSz="1088776" rtl="0" eaLnBrk="1" latinLnBrk="0" hangingPunct="1">
                  <a:buClr>
                    <a:srgbClr val="666666"/>
                  </a:buClr>
                  <a:buSzPct val="80000"/>
                  <a:buFont typeface="Wingdings"/>
                  <a:buChar char="n"/>
                  <a:defRPr lang="de-DE" sz="170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1633164" algn="l" defTabSz="1088776" rtl="0" eaLnBrk="1" latinLnBrk="0" hangingPunct="1">
                  <a:buClr>
                    <a:srgbClr val="666666"/>
                  </a:buClr>
                  <a:buSzPct val="80000"/>
                  <a:buFont typeface="Arial"/>
                  <a:buChar char=""/>
                  <a:defRPr lang="de-DE" sz="140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2177552" algn="l" defTabSz="1088776" rtl="0" eaLnBrk="1" latinLnBrk="0" hangingPunct="1">
                  <a:buClr>
                    <a:srgbClr val="666666"/>
                  </a:buClr>
                  <a:buSzPct val="80000"/>
                  <a:buFont typeface="Arial"/>
                  <a:buChar char=""/>
                  <a:defRPr lang="de-DE" sz="120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2721940" algn="l" defTabSz="108877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266328" algn="l" defTabSz="108877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10716" algn="l" defTabSz="108877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355104" algn="l" defTabSz="108877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108812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900">
                    <a:solidFill>
                      <a:srgbClr val="000000"/>
                    </a:solidFill>
                    <a:cs typeface="Arial"/>
                  </a:rPr>
                  <a:t>Connect and simplify</a:t>
                </a:r>
              </a:p>
            </p:txBody>
          </p:sp>
          <p:sp>
            <p:nvSpPr>
              <p:cNvPr id="480" name="Textfeld 8">
                <a:extLst>
                  <a:ext uri="{FF2B5EF4-FFF2-40B4-BE49-F238E27FC236}">
                    <a16:creationId xmlns:a16="http://schemas.microsoft.com/office/drawing/2014/main" id="{94579122-83A4-E947-7381-91C815ECD0AD}"/>
                  </a:ext>
                </a:extLst>
              </p:cNvPr>
              <p:cNvSpPr txBox="1"/>
              <p:nvPr/>
            </p:nvSpPr>
            <p:spPr>
              <a:xfrm>
                <a:off x="6315573" y="5714297"/>
                <a:ext cx="1348043" cy="153888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spAutoFit/>
              </a:bodyPr>
              <a:lstStyle>
                <a:defPPr>
                  <a:defRPr lang="de-DE"/>
                </a:defPPr>
                <a:lvl1pPr marL="0" algn="l" defTabSz="1088776" rtl="0" eaLnBrk="1" latinLnBrk="0" hangingPunct="1">
                  <a:defRPr lang="de-DE" sz="210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544388" algn="l" defTabSz="1088776" rtl="0" eaLnBrk="1" latinLnBrk="0" hangingPunct="1">
                  <a:buClr>
                    <a:srgbClr val="FDB913"/>
                  </a:buClr>
                  <a:buSzPct val="100000"/>
                  <a:buFont typeface="wingdings"/>
                  <a:buChar char=""/>
                  <a:defRPr lang="de-DE" sz="210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1088776" algn="l" defTabSz="1088776" rtl="0" eaLnBrk="1" latinLnBrk="0" hangingPunct="1">
                  <a:buClr>
                    <a:srgbClr val="666666"/>
                  </a:buClr>
                  <a:buSzPct val="80000"/>
                  <a:buFont typeface="Wingdings"/>
                  <a:buChar char="n"/>
                  <a:defRPr lang="de-DE" sz="170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1633164" algn="l" defTabSz="1088776" rtl="0" eaLnBrk="1" latinLnBrk="0" hangingPunct="1">
                  <a:buClr>
                    <a:srgbClr val="666666"/>
                  </a:buClr>
                  <a:buSzPct val="80000"/>
                  <a:buFont typeface="Arial"/>
                  <a:buChar char=""/>
                  <a:defRPr lang="de-DE" sz="140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2177552" algn="l" defTabSz="1088776" rtl="0" eaLnBrk="1" latinLnBrk="0" hangingPunct="1">
                  <a:buClr>
                    <a:srgbClr val="666666"/>
                  </a:buClr>
                  <a:buSzPct val="80000"/>
                  <a:buFont typeface="Arial"/>
                  <a:buChar char=""/>
                  <a:defRPr lang="de-DE" sz="120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2721940" algn="l" defTabSz="108877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266328" algn="l" defTabSz="108877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10716" algn="l" defTabSz="108877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355104" algn="l" defTabSz="108877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108812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000" b="1">
                    <a:solidFill>
                      <a:srgbClr val="000000"/>
                    </a:solidFill>
                    <a:cs typeface="Arial"/>
                  </a:rPr>
                  <a:t>Integration</a:t>
                </a:r>
              </a:p>
            </p:txBody>
          </p:sp>
        </p:grpSp>
        <p:grpSp>
          <p:nvGrpSpPr>
            <p:cNvPr id="466" name="Gruppieren 465">
              <a:extLst>
                <a:ext uri="{FF2B5EF4-FFF2-40B4-BE49-F238E27FC236}">
                  <a16:creationId xmlns:a16="http://schemas.microsoft.com/office/drawing/2014/main" id="{53D207D3-A181-1013-4108-30F0153308CE}"/>
                </a:ext>
              </a:extLst>
            </p:cNvPr>
            <p:cNvGrpSpPr/>
            <p:nvPr/>
          </p:nvGrpSpPr>
          <p:grpSpPr>
            <a:xfrm>
              <a:off x="7726988" y="5594663"/>
              <a:ext cx="1410590" cy="540490"/>
              <a:chOff x="7726988" y="5594663"/>
              <a:chExt cx="1410590" cy="540490"/>
            </a:xfrm>
          </p:grpSpPr>
          <p:sp>
            <p:nvSpPr>
              <p:cNvPr id="475" name="Freeform: Shape 32">
                <a:extLst>
                  <a:ext uri="{FF2B5EF4-FFF2-40B4-BE49-F238E27FC236}">
                    <a16:creationId xmlns:a16="http://schemas.microsoft.com/office/drawing/2014/main" id="{26D3BC43-EDDB-0CE1-CC0F-950940C849C1}"/>
                  </a:ext>
                </a:extLst>
              </p:cNvPr>
              <p:cNvSpPr/>
              <p:nvPr/>
            </p:nvSpPr>
            <p:spPr>
              <a:xfrm>
                <a:off x="7726988" y="5594663"/>
                <a:ext cx="1410590" cy="540490"/>
              </a:xfrm>
              <a:prstGeom prst="roundRect">
                <a:avLst>
                  <a:gd name="adj" fmla="val 7557"/>
                </a:avLst>
              </a:prstGeom>
              <a:solidFill>
                <a:srgbClr val="0070F2">
                  <a:lumMod val="20000"/>
                  <a:lumOff val="80000"/>
                </a:srgbClr>
              </a:solidFill>
              <a:ln w="126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108812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098" kern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76" name="Textfeld 13">
                <a:extLst>
                  <a:ext uri="{FF2B5EF4-FFF2-40B4-BE49-F238E27FC236}">
                    <a16:creationId xmlns:a16="http://schemas.microsoft.com/office/drawing/2014/main" id="{73175924-5895-7819-446E-B50FD171F762}"/>
                  </a:ext>
                </a:extLst>
              </p:cNvPr>
              <p:cNvSpPr txBox="1"/>
              <p:nvPr/>
            </p:nvSpPr>
            <p:spPr>
              <a:xfrm>
                <a:off x="7767494" y="5899799"/>
                <a:ext cx="1329579" cy="13846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spAutoFit/>
              </a:bodyPr>
              <a:lstStyle>
                <a:defPPr>
                  <a:defRPr lang="de-DE"/>
                </a:defPPr>
                <a:lvl1pPr marL="0" algn="l" defTabSz="1088776" rtl="0" eaLnBrk="1" latinLnBrk="0" hangingPunct="1">
                  <a:defRPr lang="de-DE" sz="210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544388" algn="l" defTabSz="1088776" rtl="0" eaLnBrk="1" latinLnBrk="0" hangingPunct="1">
                  <a:buClr>
                    <a:srgbClr val="FDB913"/>
                  </a:buClr>
                  <a:buSzPct val="100000"/>
                  <a:buFont typeface="wingdings"/>
                  <a:buChar char=""/>
                  <a:defRPr lang="de-DE" sz="210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1088776" algn="l" defTabSz="1088776" rtl="0" eaLnBrk="1" latinLnBrk="0" hangingPunct="1">
                  <a:buClr>
                    <a:srgbClr val="666666"/>
                  </a:buClr>
                  <a:buSzPct val="80000"/>
                  <a:buFont typeface="Wingdings"/>
                  <a:buChar char="n"/>
                  <a:defRPr lang="de-DE" sz="170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1633164" algn="l" defTabSz="1088776" rtl="0" eaLnBrk="1" latinLnBrk="0" hangingPunct="1">
                  <a:buClr>
                    <a:srgbClr val="666666"/>
                  </a:buClr>
                  <a:buSzPct val="80000"/>
                  <a:buFont typeface="Arial"/>
                  <a:buChar char=""/>
                  <a:defRPr lang="de-DE" sz="140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2177552" algn="l" defTabSz="1088776" rtl="0" eaLnBrk="1" latinLnBrk="0" hangingPunct="1">
                  <a:buClr>
                    <a:srgbClr val="666666"/>
                  </a:buClr>
                  <a:buSzPct val="80000"/>
                  <a:buFont typeface="Arial"/>
                  <a:buChar char=""/>
                  <a:defRPr lang="de-DE" sz="120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2721940" algn="l" defTabSz="108877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266328" algn="l" defTabSz="108877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10716" algn="l" defTabSz="108877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355104" algn="l" defTabSz="108877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108812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900">
                    <a:solidFill>
                      <a:srgbClr val="000000"/>
                    </a:solidFill>
                    <a:cs typeface="Arial"/>
                  </a:rPr>
                  <a:t>Give</a:t>
                </a:r>
                <a:r>
                  <a:rPr lang="en-US" sz="900" b="1">
                    <a:solidFill>
                      <a:srgbClr val="000000"/>
                    </a:solidFill>
                    <a:cs typeface="Arial"/>
                  </a:rPr>
                  <a:t> </a:t>
                </a:r>
                <a:r>
                  <a:rPr lang="en-US" sz="900">
                    <a:solidFill>
                      <a:srgbClr val="000000"/>
                    </a:solidFill>
                    <a:cs typeface="Arial"/>
                  </a:rPr>
                  <a:t>data</a:t>
                </a:r>
                <a:r>
                  <a:rPr lang="en-US" sz="900" b="1">
                    <a:solidFill>
                      <a:srgbClr val="000000"/>
                    </a:solidFill>
                    <a:cs typeface="Arial"/>
                  </a:rPr>
                  <a:t> </a:t>
                </a:r>
                <a:r>
                  <a:rPr lang="en-US" sz="900">
                    <a:solidFill>
                      <a:srgbClr val="000000"/>
                    </a:solidFill>
                    <a:cs typeface="Arial"/>
                  </a:rPr>
                  <a:t>purpose</a:t>
                </a:r>
              </a:p>
            </p:txBody>
          </p:sp>
          <p:sp>
            <p:nvSpPr>
              <p:cNvPr id="477" name="Textfeld 9">
                <a:extLst>
                  <a:ext uri="{FF2B5EF4-FFF2-40B4-BE49-F238E27FC236}">
                    <a16:creationId xmlns:a16="http://schemas.microsoft.com/office/drawing/2014/main" id="{483B17D5-D722-3972-ACB8-6DCC9799E89C}"/>
                  </a:ext>
                </a:extLst>
              </p:cNvPr>
              <p:cNvSpPr txBox="1"/>
              <p:nvPr/>
            </p:nvSpPr>
            <p:spPr>
              <a:xfrm>
                <a:off x="7753966" y="5714297"/>
                <a:ext cx="1356634" cy="153888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spAutoFit/>
              </a:bodyPr>
              <a:lstStyle>
                <a:defPPr>
                  <a:defRPr lang="de-DE"/>
                </a:defPPr>
                <a:lvl1pPr marL="0" algn="l" defTabSz="1088776" rtl="0" eaLnBrk="1" latinLnBrk="0" hangingPunct="1">
                  <a:defRPr lang="de-DE" sz="210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544388" algn="l" defTabSz="1088776" rtl="0" eaLnBrk="1" latinLnBrk="0" hangingPunct="1">
                  <a:buClr>
                    <a:srgbClr val="FDB913"/>
                  </a:buClr>
                  <a:buSzPct val="100000"/>
                  <a:buFont typeface="wingdings"/>
                  <a:buChar char=""/>
                  <a:defRPr lang="de-DE" sz="210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1088776" algn="l" defTabSz="1088776" rtl="0" eaLnBrk="1" latinLnBrk="0" hangingPunct="1">
                  <a:buClr>
                    <a:srgbClr val="666666"/>
                  </a:buClr>
                  <a:buSzPct val="80000"/>
                  <a:buFont typeface="Wingdings"/>
                  <a:buChar char="n"/>
                  <a:defRPr lang="de-DE" sz="170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1633164" algn="l" defTabSz="1088776" rtl="0" eaLnBrk="1" latinLnBrk="0" hangingPunct="1">
                  <a:buClr>
                    <a:srgbClr val="666666"/>
                  </a:buClr>
                  <a:buSzPct val="80000"/>
                  <a:buFont typeface="Arial"/>
                  <a:buChar char=""/>
                  <a:defRPr lang="de-DE" sz="140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2177552" algn="l" defTabSz="1088776" rtl="0" eaLnBrk="1" latinLnBrk="0" hangingPunct="1">
                  <a:buClr>
                    <a:srgbClr val="666666"/>
                  </a:buClr>
                  <a:buSzPct val="80000"/>
                  <a:buFont typeface="Arial"/>
                  <a:buChar char=""/>
                  <a:defRPr lang="de-DE" sz="120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2721940" algn="l" defTabSz="108877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266328" algn="l" defTabSz="108877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10716" algn="l" defTabSz="108877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355104" algn="l" defTabSz="108877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108812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000" b="1">
                    <a:solidFill>
                      <a:srgbClr val="000000"/>
                    </a:solidFill>
                    <a:cs typeface="Arial"/>
                  </a:rPr>
                  <a:t>Data and Analytics</a:t>
                </a:r>
              </a:p>
            </p:txBody>
          </p:sp>
        </p:grpSp>
        <p:grpSp>
          <p:nvGrpSpPr>
            <p:cNvPr id="467" name="Gruppieren 466">
              <a:extLst>
                <a:ext uri="{FF2B5EF4-FFF2-40B4-BE49-F238E27FC236}">
                  <a16:creationId xmlns:a16="http://schemas.microsoft.com/office/drawing/2014/main" id="{AA30B4CF-8E2C-0CED-1E47-D0082B0CE04A}"/>
                </a:ext>
              </a:extLst>
            </p:cNvPr>
            <p:cNvGrpSpPr/>
            <p:nvPr/>
          </p:nvGrpSpPr>
          <p:grpSpPr>
            <a:xfrm>
              <a:off x="9177720" y="5594663"/>
              <a:ext cx="1410590" cy="540490"/>
              <a:chOff x="9177720" y="5594663"/>
              <a:chExt cx="1410590" cy="540490"/>
            </a:xfrm>
          </p:grpSpPr>
          <p:sp>
            <p:nvSpPr>
              <p:cNvPr id="472" name="Freeform: Shape 32">
                <a:extLst>
                  <a:ext uri="{FF2B5EF4-FFF2-40B4-BE49-F238E27FC236}">
                    <a16:creationId xmlns:a16="http://schemas.microsoft.com/office/drawing/2014/main" id="{F8F4ADA5-A71E-C048-C104-91961A2A2B5B}"/>
                  </a:ext>
                </a:extLst>
              </p:cNvPr>
              <p:cNvSpPr/>
              <p:nvPr/>
            </p:nvSpPr>
            <p:spPr>
              <a:xfrm>
                <a:off x="9177720" y="5594663"/>
                <a:ext cx="1410590" cy="540490"/>
              </a:xfrm>
              <a:prstGeom prst="roundRect">
                <a:avLst>
                  <a:gd name="adj" fmla="val 7557"/>
                </a:avLst>
              </a:prstGeom>
              <a:solidFill>
                <a:srgbClr val="0070F2">
                  <a:lumMod val="20000"/>
                  <a:lumOff val="80000"/>
                </a:srgbClr>
              </a:solidFill>
              <a:ln w="126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108812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098" kern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73" name="Textfeld 14">
                <a:extLst>
                  <a:ext uri="{FF2B5EF4-FFF2-40B4-BE49-F238E27FC236}">
                    <a16:creationId xmlns:a16="http://schemas.microsoft.com/office/drawing/2014/main" id="{3C7CEF1B-2542-F479-8ADD-CB23277E16D7}"/>
                  </a:ext>
                </a:extLst>
              </p:cNvPr>
              <p:cNvSpPr txBox="1"/>
              <p:nvPr/>
            </p:nvSpPr>
            <p:spPr>
              <a:xfrm>
                <a:off x="9199191" y="5899799"/>
                <a:ext cx="1367649" cy="13846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spAutoFit/>
              </a:bodyPr>
              <a:lstStyle>
                <a:defPPr>
                  <a:defRPr lang="de-DE"/>
                </a:defPPr>
                <a:lvl1pPr marL="0" algn="l" defTabSz="1088776" rtl="0" eaLnBrk="1" latinLnBrk="0" hangingPunct="1">
                  <a:defRPr lang="de-DE" sz="210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544388" algn="l" defTabSz="1088776" rtl="0" eaLnBrk="1" latinLnBrk="0" hangingPunct="1">
                  <a:buClr>
                    <a:srgbClr val="FDB913"/>
                  </a:buClr>
                  <a:buSzPct val="100000"/>
                  <a:buFont typeface="wingdings"/>
                  <a:buChar char=""/>
                  <a:defRPr lang="de-DE" sz="210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1088776" algn="l" defTabSz="1088776" rtl="0" eaLnBrk="1" latinLnBrk="0" hangingPunct="1">
                  <a:buClr>
                    <a:srgbClr val="666666"/>
                  </a:buClr>
                  <a:buSzPct val="80000"/>
                  <a:buFont typeface="Wingdings"/>
                  <a:buChar char="n"/>
                  <a:defRPr lang="de-DE" sz="170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1633164" algn="l" defTabSz="1088776" rtl="0" eaLnBrk="1" latinLnBrk="0" hangingPunct="1">
                  <a:buClr>
                    <a:srgbClr val="666666"/>
                  </a:buClr>
                  <a:buSzPct val="80000"/>
                  <a:buFont typeface="Arial"/>
                  <a:buChar char=""/>
                  <a:defRPr lang="de-DE" sz="140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2177552" algn="l" defTabSz="1088776" rtl="0" eaLnBrk="1" latinLnBrk="0" hangingPunct="1">
                  <a:buClr>
                    <a:srgbClr val="666666"/>
                  </a:buClr>
                  <a:buSzPct val="80000"/>
                  <a:buFont typeface="Arial"/>
                  <a:buChar char=""/>
                  <a:defRPr lang="de-DE" sz="120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2721940" algn="l" defTabSz="108877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266328" algn="l" defTabSz="108877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10716" algn="l" defTabSz="108877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355104" algn="l" defTabSz="108877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108812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900">
                    <a:solidFill>
                      <a:srgbClr val="000000"/>
                    </a:solidFill>
                    <a:cs typeface="Arial"/>
                  </a:rPr>
                  <a:t>Infuse</a:t>
                </a:r>
                <a:r>
                  <a:rPr lang="en-US" sz="900" b="1">
                    <a:solidFill>
                      <a:srgbClr val="000000"/>
                    </a:solidFill>
                    <a:cs typeface="Arial"/>
                  </a:rPr>
                  <a:t> </a:t>
                </a:r>
                <a:r>
                  <a:rPr lang="en-US" sz="900">
                    <a:solidFill>
                      <a:srgbClr val="000000"/>
                    </a:solidFill>
                    <a:cs typeface="Arial"/>
                  </a:rPr>
                  <a:t>intelligence</a:t>
                </a:r>
              </a:p>
            </p:txBody>
          </p:sp>
          <p:sp>
            <p:nvSpPr>
              <p:cNvPr id="474" name="Textfeld 10">
                <a:extLst>
                  <a:ext uri="{FF2B5EF4-FFF2-40B4-BE49-F238E27FC236}">
                    <a16:creationId xmlns:a16="http://schemas.microsoft.com/office/drawing/2014/main" id="{34DAEC32-0965-187D-3C49-3D58FC1CBF57}"/>
                  </a:ext>
                </a:extLst>
              </p:cNvPr>
              <p:cNvSpPr txBox="1"/>
              <p:nvPr/>
            </p:nvSpPr>
            <p:spPr>
              <a:xfrm>
                <a:off x="9208994" y="5711020"/>
                <a:ext cx="1348043" cy="153888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spAutoFit/>
              </a:bodyPr>
              <a:lstStyle>
                <a:defPPr>
                  <a:defRPr lang="de-DE"/>
                </a:defPPr>
                <a:lvl1pPr marL="0" algn="l" defTabSz="1088776" rtl="0" eaLnBrk="1" latinLnBrk="0" hangingPunct="1">
                  <a:defRPr lang="de-DE" sz="210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544388" algn="l" defTabSz="1088776" rtl="0" eaLnBrk="1" latinLnBrk="0" hangingPunct="1">
                  <a:buClr>
                    <a:srgbClr val="FDB913"/>
                  </a:buClr>
                  <a:buSzPct val="100000"/>
                  <a:buFont typeface="wingdings"/>
                  <a:buChar char=""/>
                  <a:defRPr lang="de-DE" sz="210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1088776" algn="l" defTabSz="1088776" rtl="0" eaLnBrk="1" latinLnBrk="0" hangingPunct="1">
                  <a:buClr>
                    <a:srgbClr val="666666"/>
                  </a:buClr>
                  <a:buSzPct val="80000"/>
                  <a:buFont typeface="Wingdings"/>
                  <a:buChar char="n"/>
                  <a:defRPr lang="de-DE" sz="170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1633164" algn="l" defTabSz="1088776" rtl="0" eaLnBrk="1" latinLnBrk="0" hangingPunct="1">
                  <a:buClr>
                    <a:srgbClr val="666666"/>
                  </a:buClr>
                  <a:buSzPct val="80000"/>
                  <a:buFont typeface="Arial"/>
                  <a:buChar char=""/>
                  <a:defRPr lang="de-DE" sz="140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2177552" algn="l" defTabSz="1088776" rtl="0" eaLnBrk="1" latinLnBrk="0" hangingPunct="1">
                  <a:buClr>
                    <a:srgbClr val="666666"/>
                  </a:buClr>
                  <a:buSzPct val="80000"/>
                  <a:buFont typeface="Arial"/>
                  <a:buChar char=""/>
                  <a:defRPr lang="de-DE" sz="120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2721940" algn="l" defTabSz="108877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266328" algn="l" defTabSz="108877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10716" algn="l" defTabSz="108877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355104" algn="l" defTabSz="108877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108812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000" b="1">
                    <a:solidFill>
                      <a:srgbClr val="000000"/>
                    </a:solidFill>
                    <a:cs typeface="Arial"/>
                  </a:rPr>
                  <a:t>AI</a:t>
                </a:r>
              </a:p>
            </p:txBody>
          </p:sp>
        </p:grpSp>
        <p:grpSp>
          <p:nvGrpSpPr>
            <p:cNvPr id="468" name="Gruppieren 467">
              <a:extLst>
                <a:ext uri="{FF2B5EF4-FFF2-40B4-BE49-F238E27FC236}">
                  <a16:creationId xmlns:a16="http://schemas.microsoft.com/office/drawing/2014/main" id="{3AD54C9D-D370-9FD3-1790-BBD79FEB0380}"/>
                </a:ext>
              </a:extLst>
            </p:cNvPr>
            <p:cNvGrpSpPr/>
            <p:nvPr/>
          </p:nvGrpSpPr>
          <p:grpSpPr>
            <a:xfrm>
              <a:off x="4825528" y="5594663"/>
              <a:ext cx="1410590" cy="540490"/>
              <a:chOff x="4825528" y="5594663"/>
              <a:chExt cx="1410590" cy="540490"/>
            </a:xfrm>
          </p:grpSpPr>
          <p:sp>
            <p:nvSpPr>
              <p:cNvPr id="469" name="Freeform: Shape 32">
                <a:extLst>
                  <a:ext uri="{FF2B5EF4-FFF2-40B4-BE49-F238E27FC236}">
                    <a16:creationId xmlns:a16="http://schemas.microsoft.com/office/drawing/2014/main" id="{0B5DF75E-E8C6-00F8-D70F-A22765C5D70D}"/>
                  </a:ext>
                </a:extLst>
              </p:cNvPr>
              <p:cNvSpPr/>
              <p:nvPr/>
            </p:nvSpPr>
            <p:spPr>
              <a:xfrm>
                <a:off x="4825528" y="5594663"/>
                <a:ext cx="1410590" cy="540490"/>
              </a:xfrm>
              <a:prstGeom prst="roundRect">
                <a:avLst>
                  <a:gd name="adj" fmla="val 7557"/>
                </a:avLst>
              </a:prstGeom>
              <a:solidFill>
                <a:srgbClr val="0070F2">
                  <a:lumMod val="20000"/>
                  <a:lumOff val="80000"/>
                </a:srgbClr>
              </a:solidFill>
              <a:ln w="126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108812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098" kern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70" name="Textfeld 11">
                <a:extLst>
                  <a:ext uri="{FF2B5EF4-FFF2-40B4-BE49-F238E27FC236}">
                    <a16:creationId xmlns:a16="http://schemas.microsoft.com/office/drawing/2014/main" id="{F70C0D33-D879-B685-38C3-D184649F0E67}"/>
                  </a:ext>
                </a:extLst>
              </p:cNvPr>
              <p:cNvSpPr txBox="1"/>
              <p:nvPr/>
            </p:nvSpPr>
            <p:spPr>
              <a:xfrm>
                <a:off x="4867496" y="5899799"/>
                <a:ext cx="1342483" cy="13846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spAutoFit/>
              </a:bodyPr>
              <a:lstStyle>
                <a:defPPr>
                  <a:defRPr lang="de-DE"/>
                </a:defPPr>
                <a:lvl1pPr marL="0" algn="l" defTabSz="1088776" rtl="0" eaLnBrk="1" latinLnBrk="0" hangingPunct="1">
                  <a:defRPr lang="de-DE" sz="210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544388" algn="l" defTabSz="1088776" rtl="0" eaLnBrk="1" latinLnBrk="0" hangingPunct="1">
                  <a:buClr>
                    <a:srgbClr val="FDB913"/>
                  </a:buClr>
                  <a:buSzPct val="100000"/>
                  <a:buFont typeface="wingdings"/>
                  <a:buChar char=""/>
                  <a:defRPr lang="de-DE" sz="210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1088776" algn="l" defTabSz="1088776" rtl="0" eaLnBrk="1" latinLnBrk="0" hangingPunct="1">
                  <a:buClr>
                    <a:srgbClr val="666666"/>
                  </a:buClr>
                  <a:buSzPct val="80000"/>
                  <a:buFont typeface="Wingdings"/>
                  <a:buChar char="n"/>
                  <a:defRPr lang="de-DE" sz="170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1633164" algn="l" defTabSz="1088776" rtl="0" eaLnBrk="1" latinLnBrk="0" hangingPunct="1">
                  <a:buClr>
                    <a:srgbClr val="666666"/>
                  </a:buClr>
                  <a:buSzPct val="80000"/>
                  <a:buFont typeface="Arial"/>
                  <a:buChar char=""/>
                  <a:defRPr lang="de-DE" sz="140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2177552" algn="l" defTabSz="1088776" rtl="0" eaLnBrk="1" latinLnBrk="0" hangingPunct="1">
                  <a:buClr>
                    <a:srgbClr val="666666"/>
                  </a:buClr>
                  <a:buSzPct val="80000"/>
                  <a:buFont typeface="Arial"/>
                  <a:buChar char=""/>
                  <a:defRPr lang="de-DE" sz="120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2721940" algn="l" defTabSz="108877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266328" algn="l" defTabSz="108877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10716" algn="l" defTabSz="108877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355104" algn="l" defTabSz="108877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108812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900">
                    <a:solidFill>
                      <a:srgbClr val="000000"/>
                    </a:solidFill>
                    <a:cs typeface="Arial"/>
                  </a:rPr>
                  <a:t>Optimize and automate</a:t>
                </a:r>
              </a:p>
            </p:txBody>
          </p:sp>
          <p:sp>
            <p:nvSpPr>
              <p:cNvPr id="471" name="Textfeld 9">
                <a:extLst>
                  <a:ext uri="{FF2B5EF4-FFF2-40B4-BE49-F238E27FC236}">
                    <a16:creationId xmlns:a16="http://schemas.microsoft.com/office/drawing/2014/main" id="{14731AC4-9309-D24A-4EB1-2BB14F4B184B}"/>
                  </a:ext>
                </a:extLst>
              </p:cNvPr>
              <p:cNvSpPr txBox="1"/>
              <p:nvPr/>
            </p:nvSpPr>
            <p:spPr>
              <a:xfrm>
                <a:off x="4864716" y="5711020"/>
                <a:ext cx="1348042" cy="153888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spAutoFit/>
              </a:bodyPr>
              <a:lstStyle>
                <a:defPPr>
                  <a:defRPr lang="de-DE"/>
                </a:defPPr>
                <a:lvl1pPr marL="0" algn="l" defTabSz="1088776" rtl="0" eaLnBrk="1" latinLnBrk="0" hangingPunct="1">
                  <a:defRPr lang="de-DE" sz="210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544388" algn="l" defTabSz="1088776" rtl="0" eaLnBrk="1" latinLnBrk="0" hangingPunct="1">
                  <a:buClr>
                    <a:srgbClr val="FDB913"/>
                  </a:buClr>
                  <a:buSzPct val="100000"/>
                  <a:buFont typeface="wingdings"/>
                  <a:buChar char=""/>
                  <a:defRPr lang="de-DE" sz="210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1088776" algn="l" defTabSz="1088776" rtl="0" eaLnBrk="1" latinLnBrk="0" hangingPunct="1">
                  <a:buClr>
                    <a:srgbClr val="666666"/>
                  </a:buClr>
                  <a:buSzPct val="80000"/>
                  <a:buFont typeface="Wingdings"/>
                  <a:buChar char="n"/>
                  <a:defRPr lang="de-DE" sz="170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1633164" algn="l" defTabSz="1088776" rtl="0" eaLnBrk="1" latinLnBrk="0" hangingPunct="1">
                  <a:buClr>
                    <a:srgbClr val="666666"/>
                  </a:buClr>
                  <a:buSzPct val="80000"/>
                  <a:buFont typeface="Arial"/>
                  <a:buChar char=""/>
                  <a:defRPr lang="de-DE" sz="140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2177552" algn="l" defTabSz="1088776" rtl="0" eaLnBrk="1" latinLnBrk="0" hangingPunct="1">
                  <a:buClr>
                    <a:srgbClr val="666666"/>
                  </a:buClr>
                  <a:buSzPct val="80000"/>
                  <a:buFont typeface="Arial"/>
                  <a:buChar char=""/>
                  <a:defRPr lang="de-DE" sz="120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2721940" algn="l" defTabSz="108877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266328" algn="l" defTabSz="108877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10716" algn="l" defTabSz="108877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355104" algn="l" defTabSz="108877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108812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000" b="1">
                    <a:solidFill>
                      <a:srgbClr val="000000"/>
                    </a:solidFill>
                    <a:cs typeface="Arial"/>
                  </a:rPr>
                  <a:t>Automation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43804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1E580484-924A-1774-B210-2DF36B44DAD6}"/>
              </a:ext>
            </a:extLst>
          </p:cNvPr>
          <p:cNvGrpSpPr/>
          <p:nvPr/>
        </p:nvGrpSpPr>
        <p:grpSpPr>
          <a:xfrm>
            <a:off x="503870" y="1569644"/>
            <a:ext cx="11185023" cy="4589149"/>
            <a:chOff x="504001" y="1162756"/>
            <a:chExt cx="11187936" cy="4590344"/>
          </a:xfrm>
        </p:grpSpPr>
        <p:sp>
          <p:nvSpPr>
            <p:cNvPr id="17" name="Rounded Rectangle 27">
              <a:extLst>
                <a:ext uri="{FF2B5EF4-FFF2-40B4-BE49-F238E27FC236}">
                  <a16:creationId xmlns:a16="http://schemas.microsoft.com/office/drawing/2014/main" id="{D4169D69-89CB-9A97-7EAE-478EEB85CBBF}"/>
                </a:ext>
              </a:extLst>
            </p:cNvPr>
            <p:cNvSpPr/>
            <p:nvPr/>
          </p:nvSpPr>
          <p:spPr bwMode="gray">
            <a:xfrm>
              <a:off x="505458" y="1162756"/>
              <a:ext cx="11186479" cy="4590344"/>
            </a:xfrm>
            <a:prstGeom prst="roundRect">
              <a:avLst>
                <a:gd name="adj" fmla="val 3098"/>
              </a:avLst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/>
                </a:gs>
              </a:gsLst>
              <a:lin ang="16200000" scaled="0"/>
            </a:gradFill>
            <a:ln w="25400" algn="ctr">
              <a:noFill/>
              <a:miter lim="800000"/>
              <a:headEnd/>
              <a:tailEnd/>
            </a:ln>
            <a:effectLst>
              <a:outerShdw blurRad="63500" algn="ctr" rotWithShape="0">
                <a:prstClr val="black">
                  <a:alpha val="40000"/>
                </a:prstClr>
              </a:outerShdw>
            </a:effectLst>
          </p:spPr>
          <p:txBody>
            <a:bodyPr lIns="89931" tIns="71943" rIns="89931" bIns="71943" rtlCol="0" anchor="ctr"/>
            <a:lstStyle/>
            <a:p>
              <a:pPr algn="ctr" defTabSz="913578" eaLnBrk="1" hangingPunct="1">
                <a:spcBef>
                  <a:spcPct val="50000"/>
                </a:spcBef>
                <a:buClr>
                  <a:srgbClr val="F0AB00"/>
                </a:buClr>
                <a:buSzPct val="80000"/>
                <a:defRPr/>
              </a:pPr>
              <a:endParaRPr lang="en-US" sz="1797" ker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5" name="Image 1" descr="preencoded.png">
              <a:extLst>
                <a:ext uri="{FF2B5EF4-FFF2-40B4-BE49-F238E27FC236}">
                  <a16:creationId xmlns:a16="http://schemas.microsoft.com/office/drawing/2014/main" id="{631EE71F-D542-6C58-58A6-CE8C8D7C3143}"/>
                </a:ext>
              </a:extLst>
            </p:cNvPr>
            <p:cNvSpPr/>
            <p:nvPr/>
          </p:nvSpPr>
          <p:spPr>
            <a:xfrm>
              <a:off x="970845" y="1688769"/>
              <a:ext cx="6751758" cy="1512394"/>
            </a:xfrm>
            <a:custGeom>
              <a:avLst/>
              <a:gdLst>
                <a:gd name="connsiteX0" fmla="*/ 0 w 3230536"/>
                <a:gd name="connsiteY0" fmla="*/ 0 h 1586144"/>
                <a:gd name="connsiteX1" fmla="*/ 0 w 3230536"/>
                <a:gd name="connsiteY1" fmla="*/ 1586144 h 1586144"/>
                <a:gd name="connsiteX2" fmla="*/ 1641748 w 3230536"/>
                <a:gd name="connsiteY2" fmla="*/ 1586144 h 1586144"/>
                <a:gd name="connsiteX3" fmla="*/ 3230536 w 3230536"/>
                <a:gd name="connsiteY3" fmla="*/ 0 h 1586144"/>
                <a:gd name="connsiteX4" fmla="*/ 0 w 3230536"/>
                <a:gd name="connsiteY4" fmla="*/ 0 h 1586144"/>
                <a:gd name="connsiteX0" fmla="*/ 0 w 3230536"/>
                <a:gd name="connsiteY0" fmla="*/ 0 h 1586144"/>
                <a:gd name="connsiteX1" fmla="*/ 0 w 3230536"/>
                <a:gd name="connsiteY1" fmla="*/ 1586144 h 1586144"/>
                <a:gd name="connsiteX2" fmla="*/ 2567833 w 3230536"/>
                <a:gd name="connsiteY2" fmla="*/ 1561597 h 1586144"/>
                <a:gd name="connsiteX3" fmla="*/ 3230536 w 3230536"/>
                <a:gd name="connsiteY3" fmla="*/ 0 h 1586144"/>
                <a:gd name="connsiteX4" fmla="*/ 0 w 3230536"/>
                <a:gd name="connsiteY4" fmla="*/ 0 h 1586144"/>
                <a:gd name="connsiteX0" fmla="*/ 0 w 3230536"/>
                <a:gd name="connsiteY0" fmla="*/ 0 h 1586144"/>
                <a:gd name="connsiteX1" fmla="*/ 0 w 3230536"/>
                <a:gd name="connsiteY1" fmla="*/ 1586144 h 1586144"/>
                <a:gd name="connsiteX2" fmla="*/ 2491376 w 3230536"/>
                <a:gd name="connsiteY2" fmla="*/ 1561597 h 1586144"/>
                <a:gd name="connsiteX3" fmla="*/ 3230536 w 3230536"/>
                <a:gd name="connsiteY3" fmla="*/ 0 h 1586144"/>
                <a:gd name="connsiteX4" fmla="*/ 0 w 3230536"/>
                <a:gd name="connsiteY4" fmla="*/ 0 h 1586144"/>
                <a:gd name="connsiteX0" fmla="*/ 0 w 3230536"/>
                <a:gd name="connsiteY0" fmla="*/ 0 h 1586144"/>
                <a:gd name="connsiteX1" fmla="*/ 0 w 3230536"/>
                <a:gd name="connsiteY1" fmla="*/ 1586144 h 1586144"/>
                <a:gd name="connsiteX2" fmla="*/ 2485005 w 3230536"/>
                <a:gd name="connsiteY2" fmla="*/ 1561597 h 1586144"/>
                <a:gd name="connsiteX3" fmla="*/ 3230536 w 3230536"/>
                <a:gd name="connsiteY3" fmla="*/ 0 h 1586144"/>
                <a:gd name="connsiteX4" fmla="*/ 0 w 3230536"/>
                <a:gd name="connsiteY4" fmla="*/ 0 h 1586144"/>
                <a:gd name="connsiteX0" fmla="*/ 0 w 3230536"/>
                <a:gd name="connsiteY0" fmla="*/ 0 h 1586144"/>
                <a:gd name="connsiteX1" fmla="*/ 0 w 3230536"/>
                <a:gd name="connsiteY1" fmla="*/ 1586144 h 1586144"/>
                <a:gd name="connsiteX2" fmla="*/ 2478634 w 3230536"/>
                <a:gd name="connsiteY2" fmla="*/ 1568817 h 1586144"/>
                <a:gd name="connsiteX3" fmla="*/ 3230536 w 3230536"/>
                <a:gd name="connsiteY3" fmla="*/ 0 h 1586144"/>
                <a:gd name="connsiteX4" fmla="*/ 0 w 3230536"/>
                <a:gd name="connsiteY4" fmla="*/ 0 h 1586144"/>
                <a:gd name="connsiteX0" fmla="*/ 0 w 3230536"/>
                <a:gd name="connsiteY0" fmla="*/ 0 h 1586144"/>
                <a:gd name="connsiteX1" fmla="*/ 0 w 3230536"/>
                <a:gd name="connsiteY1" fmla="*/ 1586144 h 1586144"/>
                <a:gd name="connsiteX2" fmla="*/ 2478634 w 3230536"/>
                <a:gd name="connsiteY2" fmla="*/ 1583257 h 1586144"/>
                <a:gd name="connsiteX3" fmla="*/ 3230536 w 3230536"/>
                <a:gd name="connsiteY3" fmla="*/ 0 h 1586144"/>
                <a:gd name="connsiteX4" fmla="*/ 0 w 3230536"/>
                <a:gd name="connsiteY4" fmla="*/ 0 h 1586144"/>
                <a:gd name="connsiteX0" fmla="*/ 0 w 3144522"/>
                <a:gd name="connsiteY0" fmla="*/ 0 h 1586144"/>
                <a:gd name="connsiteX1" fmla="*/ 0 w 3144522"/>
                <a:gd name="connsiteY1" fmla="*/ 1586144 h 1586144"/>
                <a:gd name="connsiteX2" fmla="*/ 2478634 w 3144522"/>
                <a:gd name="connsiteY2" fmla="*/ 1583257 h 1586144"/>
                <a:gd name="connsiteX3" fmla="*/ 3144522 w 3144522"/>
                <a:gd name="connsiteY3" fmla="*/ 0 h 1586144"/>
                <a:gd name="connsiteX4" fmla="*/ 0 w 3144522"/>
                <a:gd name="connsiteY4" fmla="*/ 0 h 1586144"/>
                <a:gd name="connsiteX0" fmla="*/ 0 w 3144522"/>
                <a:gd name="connsiteY0" fmla="*/ 0 h 1586144"/>
                <a:gd name="connsiteX1" fmla="*/ 0 w 3144522"/>
                <a:gd name="connsiteY1" fmla="*/ 1586144 h 1586144"/>
                <a:gd name="connsiteX2" fmla="*/ 2449094 w 3144522"/>
                <a:gd name="connsiteY2" fmla="*/ 1583257 h 1586144"/>
                <a:gd name="connsiteX3" fmla="*/ 3144522 w 3144522"/>
                <a:gd name="connsiteY3" fmla="*/ 0 h 1586144"/>
                <a:gd name="connsiteX4" fmla="*/ 0 w 3144522"/>
                <a:gd name="connsiteY4" fmla="*/ 0 h 1586144"/>
                <a:gd name="connsiteX0" fmla="*/ 0 w 3144522"/>
                <a:gd name="connsiteY0" fmla="*/ 0 h 1594414"/>
                <a:gd name="connsiteX1" fmla="*/ 0 w 3144522"/>
                <a:gd name="connsiteY1" fmla="*/ 1586144 h 1594414"/>
                <a:gd name="connsiteX2" fmla="*/ 2446633 w 3144522"/>
                <a:gd name="connsiteY2" fmla="*/ 1594414 h 1594414"/>
                <a:gd name="connsiteX3" fmla="*/ 3144522 w 3144522"/>
                <a:gd name="connsiteY3" fmla="*/ 0 h 1594414"/>
                <a:gd name="connsiteX4" fmla="*/ 0 w 3144522"/>
                <a:gd name="connsiteY4" fmla="*/ 0 h 1594414"/>
                <a:gd name="connsiteX0" fmla="*/ 0 w 3144522"/>
                <a:gd name="connsiteY0" fmla="*/ 0 h 1588835"/>
                <a:gd name="connsiteX1" fmla="*/ 0 w 3144522"/>
                <a:gd name="connsiteY1" fmla="*/ 1586144 h 1588835"/>
                <a:gd name="connsiteX2" fmla="*/ 2439248 w 3144522"/>
                <a:gd name="connsiteY2" fmla="*/ 1588835 h 1588835"/>
                <a:gd name="connsiteX3" fmla="*/ 3144522 w 3144522"/>
                <a:gd name="connsiteY3" fmla="*/ 0 h 1588835"/>
                <a:gd name="connsiteX4" fmla="*/ 0 w 3144522"/>
                <a:gd name="connsiteY4" fmla="*/ 0 h 1588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44522" h="1588835">
                  <a:moveTo>
                    <a:pt x="0" y="0"/>
                  </a:moveTo>
                  <a:lnTo>
                    <a:pt x="0" y="1586144"/>
                  </a:lnTo>
                  <a:lnTo>
                    <a:pt x="2439248" y="1588835"/>
                  </a:lnTo>
                  <a:lnTo>
                    <a:pt x="314452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5F3FF">
                <a:alpha val="50196"/>
              </a:srgbClr>
            </a:solidFill>
            <a:ln w="12700" cap="flat">
              <a:solidFill>
                <a:srgbClr val="87D8FF"/>
              </a:solidFill>
              <a:prstDash val="solid"/>
              <a:miter/>
            </a:ln>
            <a:effectLst/>
          </p:spPr>
          <p:txBody>
            <a:bodyPr rtlCol="0" anchor="ctr"/>
            <a:lstStyle/>
            <a:p>
              <a:pPr defTabSz="1088449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099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47131369-9EF5-6BE8-1BEC-F0A9DCD9C0A2}"/>
                </a:ext>
              </a:extLst>
            </p:cNvPr>
            <p:cNvSpPr/>
            <p:nvPr/>
          </p:nvSpPr>
          <p:spPr bwMode="gray">
            <a:xfrm>
              <a:off x="643317" y="4334933"/>
              <a:ext cx="5328505" cy="588774"/>
            </a:xfrm>
            <a:prstGeom prst="rect">
              <a:avLst/>
            </a:prstGeom>
            <a:solidFill>
              <a:schemeClr val="bg1"/>
            </a:solidFill>
            <a:ln w="25400" algn="ctr">
              <a:noFill/>
              <a:miter lim="800000"/>
              <a:headEnd/>
              <a:tailEnd/>
            </a:ln>
            <a:effectLst>
              <a:outerShdw blurRad="63500" algn="ctr" rotWithShape="0">
                <a:prstClr val="black">
                  <a:alpha val="40000"/>
                </a:prstClr>
              </a:outerShdw>
            </a:effectLst>
          </p:spPr>
          <p:txBody>
            <a:bodyPr lIns="89908" tIns="71924" rIns="89908" bIns="71924" rtlCol="0" anchor="ctr"/>
            <a:lstStyle/>
            <a:p>
              <a:pPr algn="ctr" defTabSz="1087796" eaLnBrk="1" hangingPunct="1">
                <a:spcBef>
                  <a:spcPct val="50000"/>
                </a:spcBef>
                <a:buClr>
                  <a:srgbClr val="F0AB00"/>
                </a:buClr>
                <a:buSzPct val="80000"/>
                <a:defRPr/>
              </a:pPr>
              <a:endParaRPr lang="en-US" sz="1400" b="1" kern="0" err="1">
                <a:solidFill>
                  <a:srgbClr val="000000"/>
                </a:solidFill>
                <a:latin typeface="Arial"/>
                <a:ea typeface="Arial Unicode MS" pitchFamily="34" charset="-128"/>
              </a:endParaRPr>
            </a:p>
          </p:txBody>
        </p:sp>
        <p:sp>
          <p:nvSpPr>
            <p:cNvPr id="2" name="Image 1" descr="preencoded.png">
              <a:extLst>
                <a:ext uri="{FF2B5EF4-FFF2-40B4-BE49-F238E27FC236}">
                  <a16:creationId xmlns:a16="http://schemas.microsoft.com/office/drawing/2014/main" id="{EB1BC506-1360-0724-5354-27FC483111BD}"/>
                </a:ext>
              </a:extLst>
            </p:cNvPr>
            <p:cNvSpPr/>
            <p:nvPr/>
          </p:nvSpPr>
          <p:spPr>
            <a:xfrm>
              <a:off x="1096773" y="1796402"/>
              <a:ext cx="2610820" cy="1281872"/>
            </a:xfrm>
            <a:custGeom>
              <a:avLst/>
              <a:gdLst>
                <a:gd name="connsiteX0" fmla="*/ 0 w 3230536"/>
                <a:gd name="connsiteY0" fmla="*/ 0 h 1586144"/>
                <a:gd name="connsiteX1" fmla="*/ 0 w 3230536"/>
                <a:gd name="connsiteY1" fmla="*/ 1586144 h 1586144"/>
                <a:gd name="connsiteX2" fmla="*/ 1641748 w 3230536"/>
                <a:gd name="connsiteY2" fmla="*/ 1586144 h 1586144"/>
                <a:gd name="connsiteX3" fmla="*/ 3230536 w 3230536"/>
                <a:gd name="connsiteY3" fmla="*/ 0 h 1586144"/>
                <a:gd name="connsiteX4" fmla="*/ 0 w 3230536"/>
                <a:gd name="connsiteY4" fmla="*/ 0 h 1586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30536" h="1586144">
                  <a:moveTo>
                    <a:pt x="0" y="0"/>
                  </a:moveTo>
                  <a:lnTo>
                    <a:pt x="0" y="1586144"/>
                  </a:lnTo>
                  <a:lnTo>
                    <a:pt x="1641748" y="1586144"/>
                  </a:lnTo>
                  <a:lnTo>
                    <a:pt x="323053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 w="6497" cap="flat">
              <a:noFill/>
              <a:prstDash val="solid"/>
              <a:miter/>
            </a:ln>
            <a:effectLst/>
          </p:spPr>
          <p:txBody>
            <a:bodyPr rtlCol="0" anchor="ctr"/>
            <a:lstStyle/>
            <a:p>
              <a:pPr defTabSz="1088449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099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" name="Image 1" descr="preencoded.png">
              <a:extLst>
                <a:ext uri="{FF2B5EF4-FFF2-40B4-BE49-F238E27FC236}">
                  <a16:creationId xmlns:a16="http://schemas.microsoft.com/office/drawing/2014/main" id="{531A0945-E713-4CAF-AE86-5B07DB3C34F8}"/>
                </a:ext>
              </a:extLst>
            </p:cNvPr>
            <p:cNvSpPr/>
            <p:nvPr/>
          </p:nvSpPr>
          <p:spPr>
            <a:xfrm>
              <a:off x="4792177" y="1796402"/>
              <a:ext cx="2610820" cy="1281872"/>
            </a:xfrm>
            <a:custGeom>
              <a:avLst/>
              <a:gdLst>
                <a:gd name="connsiteX0" fmla="*/ 0 w 3230536"/>
                <a:gd name="connsiteY0" fmla="*/ 0 h 1586144"/>
                <a:gd name="connsiteX1" fmla="*/ 0 w 3230536"/>
                <a:gd name="connsiteY1" fmla="*/ 1586144 h 1586144"/>
                <a:gd name="connsiteX2" fmla="*/ 1641748 w 3230536"/>
                <a:gd name="connsiteY2" fmla="*/ 1586144 h 1586144"/>
                <a:gd name="connsiteX3" fmla="*/ 3230536 w 3230536"/>
                <a:gd name="connsiteY3" fmla="*/ 0 h 1586144"/>
                <a:gd name="connsiteX4" fmla="*/ 0 w 3230536"/>
                <a:gd name="connsiteY4" fmla="*/ 0 h 1586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30536" h="1586144">
                  <a:moveTo>
                    <a:pt x="0" y="0"/>
                  </a:moveTo>
                  <a:lnTo>
                    <a:pt x="0" y="1586144"/>
                  </a:lnTo>
                  <a:lnTo>
                    <a:pt x="1641748" y="1586144"/>
                  </a:lnTo>
                  <a:lnTo>
                    <a:pt x="323053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 w="6497" cap="flat">
              <a:noFill/>
              <a:prstDash val="solid"/>
              <a:miter/>
            </a:ln>
            <a:effectLst/>
          </p:spPr>
          <p:txBody>
            <a:bodyPr rtlCol="0" anchor="ctr"/>
            <a:lstStyle/>
            <a:p>
              <a:pPr defTabSz="1088449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099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" name="Image 1" descr="preencoded.png">
              <a:extLst>
                <a:ext uri="{FF2B5EF4-FFF2-40B4-BE49-F238E27FC236}">
                  <a16:creationId xmlns:a16="http://schemas.microsoft.com/office/drawing/2014/main" id="{8725AAD5-B28D-0B04-5055-3F5A7BC50A0A}"/>
                </a:ext>
              </a:extLst>
            </p:cNvPr>
            <p:cNvSpPr/>
            <p:nvPr/>
          </p:nvSpPr>
          <p:spPr>
            <a:xfrm>
              <a:off x="8487581" y="1796402"/>
              <a:ext cx="2610820" cy="1281872"/>
            </a:xfrm>
            <a:custGeom>
              <a:avLst/>
              <a:gdLst>
                <a:gd name="connsiteX0" fmla="*/ 0 w 3230536"/>
                <a:gd name="connsiteY0" fmla="*/ 0 h 1586144"/>
                <a:gd name="connsiteX1" fmla="*/ 0 w 3230536"/>
                <a:gd name="connsiteY1" fmla="*/ 1586144 h 1586144"/>
                <a:gd name="connsiteX2" fmla="*/ 1641748 w 3230536"/>
                <a:gd name="connsiteY2" fmla="*/ 1586144 h 1586144"/>
                <a:gd name="connsiteX3" fmla="*/ 3230536 w 3230536"/>
                <a:gd name="connsiteY3" fmla="*/ 0 h 1586144"/>
                <a:gd name="connsiteX4" fmla="*/ 0 w 3230536"/>
                <a:gd name="connsiteY4" fmla="*/ 0 h 1586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30536" h="1586144">
                  <a:moveTo>
                    <a:pt x="0" y="0"/>
                  </a:moveTo>
                  <a:lnTo>
                    <a:pt x="0" y="1586144"/>
                  </a:lnTo>
                  <a:lnTo>
                    <a:pt x="1641748" y="1586144"/>
                  </a:lnTo>
                  <a:lnTo>
                    <a:pt x="323053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 w="6497" cap="flat">
              <a:noFill/>
              <a:prstDash val="solid"/>
              <a:miter/>
            </a:ln>
            <a:effectLst/>
          </p:spPr>
          <p:txBody>
            <a:bodyPr rtlCol="0" anchor="ctr"/>
            <a:lstStyle/>
            <a:p>
              <a:pPr defTabSz="1088449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099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E0AAFFDF-3B5F-42C7-5DEC-121AE7AE2F57}"/>
                </a:ext>
              </a:extLst>
            </p:cNvPr>
            <p:cNvSpPr txBox="1"/>
            <p:nvPr/>
          </p:nvSpPr>
          <p:spPr>
            <a:xfrm>
              <a:off x="1088839" y="3390889"/>
              <a:ext cx="1661144" cy="184714"/>
            </a:xfrm>
            <a:prstGeom prst="rect">
              <a:avLst/>
            </a:prstGeom>
            <a:noFill/>
          </p:spPr>
          <p:txBody>
            <a:bodyPr wrap="none" lIns="0" tIns="0" rIns="0" bIns="0" rtlCol="0" anchor="t" anchorCtr="0">
              <a:spAutoFit/>
            </a:bodyPr>
            <a:lstStyle>
              <a:defPPr>
                <a:defRPr lang="de-DE"/>
              </a:defPPr>
              <a:lvl1pPr marR="0" lvl="0" indent="0" fontAlgn="base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 kumimoji="0" sz="1200" b="1" i="0" u="none" strike="noStrike" kern="0" cap="none" spc="0" normalizeH="0" baseline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ea typeface="Arial Unicode MS" pitchFamily="34" charset="-128"/>
                  <a:cs typeface="Arial Unicode MS" pitchFamily="34" charset="-128"/>
                </a:defRPr>
              </a:lvl1pPr>
            </a:lstStyle>
            <a:p>
              <a:pPr algn="ctr" defTabSz="685774" eaLnBrk="1" hangingPunct="1">
                <a:spcBef>
                  <a:spcPts val="0"/>
                </a:spcBef>
                <a:spcAft>
                  <a:spcPts val="1200"/>
                </a:spcAft>
                <a:defRPr/>
              </a:pPr>
              <a:r>
                <a:rPr lang="en-US" b="0">
                  <a:solidFill>
                    <a:srgbClr val="000000"/>
                  </a:solidFill>
                  <a:latin typeface="Arial"/>
                  <a:ea typeface="Arial Unicode MS"/>
                  <a:cs typeface="Arial Unicode MS"/>
                </a:rPr>
                <a:t>Drag-and-drop simplicity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21C03EBD-FE56-DD2C-B275-B37D8BFA0C2E}"/>
                </a:ext>
              </a:extLst>
            </p:cNvPr>
            <p:cNvSpPr txBox="1"/>
            <p:nvPr/>
          </p:nvSpPr>
          <p:spPr>
            <a:xfrm>
              <a:off x="4706992" y="3390889"/>
              <a:ext cx="2714591" cy="184714"/>
            </a:xfrm>
            <a:prstGeom prst="rect">
              <a:avLst/>
            </a:prstGeom>
            <a:noFill/>
          </p:spPr>
          <p:txBody>
            <a:bodyPr wrap="none" lIns="0" tIns="0" rIns="0" bIns="0" rtlCol="0" anchor="t" anchorCtr="0">
              <a:spAutoFit/>
            </a:bodyPr>
            <a:lstStyle>
              <a:defPPr>
                <a:defRPr lang="de-DE"/>
              </a:defPPr>
              <a:lvl1pPr marR="0" lvl="0" indent="0" fontAlgn="base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 kumimoji="0" sz="1200" b="1" i="0" u="none" strike="noStrike" kern="0" cap="none" spc="0" normalizeH="0" baseline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ea typeface="Arial Unicode MS" pitchFamily="34" charset="-128"/>
                  <a:cs typeface="Arial Unicode MS" pitchFamily="34" charset="-128"/>
                </a:defRPr>
              </a:lvl1pPr>
            </a:lstStyle>
            <a:p>
              <a:pPr algn="ctr" defTabSz="685774" eaLnBrk="1" hangingPunct="1">
                <a:spcBef>
                  <a:spcPts val="0"/>
                </a:spcBef>
                <a:spcAft>
                  <a:spcPts val="1200"/>
                </a:spcAft>
                <a:defRPr/>
              </a:pPr>
              <a:r>
                <a:rPr lang="en-US" b="0">
                  <a:solidFill>
                    <a:srgbClr val="000000"/>
                  </a:solidFill>
                  <a:latin typeface="Arial"/>
                  <a:ea typeface="Arial Unicode MS"/>
                  <a:cs typeface="Arial Unicode MS"/>
                </a:rPr>
                <a:t>Optimized for Java and JavaScript apps</a:t>
              </a: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82A2ED82-9B0C-D9C5-0217-4156B8D27B12}"/>
                </a:ext>
              </a:extLst>
            </p:cNvPr>
            <p:cNvSpPr txBox="1"/>
            <p:nvPr/>
          </p:nvSpPr>
          <p:spPr>
            <a:xfrm>
              <a:off x="8495708" y="3390889"/>
              <a:ext cx="1742919" cy="184714"/>
            </a:xfrm>
            <a:prstGeom prst="rect">
              <a:avLst/>
            </a:prstGeom>
            <a:noFill/>
          </p:spPr>
          <p:txBody>
            <a:bodyPr wrap="none" lIns="0" tIns="0" rIns="0" bIns="0" rtlCol="0" anchor="t" anchorCtr="0">
              <a:spAutoFit/>
            </a:bodyPr>
            <a:lstStyle>
              <a:defPPr>
                <a:defRPr lang="de-DE"/>
              </a:defPPr>
              <a:lvl1pPr marR="0" lvl="0" indent="0" fontAlgn="base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 kumimoji="0" sz="1200" b="1" i="0" u="none" strike="noStrike" kern="0" cap="none" spc="0" normalizeH="0" baseline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ea typeface="Arial Unicode MS" pitchFamily="34" charset="-128"/>
                  <a:cs typeface="Arial Unicode MS" pitchFamily="34" charset="-128"/>
                </a:defRPr>
              </a:lvl1pPr>
            </a:lstStyle>
            <a:p>
              <a:pPr algn="ctr" defTabSz="685774" eaLnBrk="1" hangingPunct="1">
                <a:spcBef>
                  <a:spcPts val="0"/>
                </a:spcBef>
                <a:spcAft>
                  <a:spcPts val="1200"/>
                </a:spcAft>
                <a:defRPr/>
              </a:pPr>
              <a:r>
                <a:rPr lang="en-US" b="0">
                  <a:solidFill>
                    <a:srgbClr val="000000"/>
                  </a:solidFill>
                  <a:latin typeface="Arial"/>
                </a:rPr>
                <a:t>Optimized for ABAP apps</a:t>
              </a: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E1B6C0C2-4299-7383-B3D5-D802684B9F21}"/>
                </a:ext>
              </a:extLst>
            </p:cNvPr>
            <p:cNvSpPr txBox="1"/>
            <p:nvPr/>
          </p:nvSpPr>
          <p:spPr>
            <a:xfrm>
              <a:off x="4966099" y="2302939"/>
              <a:ext cx="1559722" cy="246221"/>
            </a:xfrm>
            <a:prstGeom prst="rect">
              <a:avLst/>
            </a:prstGeom>
            <a:noFill/>
            <a:ln w="25400">
              <a:noFill/>
            </a:ln>
            <a:effectLst/>
          </p:spPr>
          <p:txBody>
            <a:bodyPr wrap="none" lIns="0" tIns="0" rIns="0" bIns="0" rtlCol="0" anchor="ctr" anchorCtr="0">
              <a:spAutoFit/>
            </a:bodyPr>
            <a:lstStyle/>
            <a:p>
              <a:pPr defTabSz="913578" eaLnBrk="1" hangingPunct="1">
                <a:spcBef>
                  <a:spcPct val="50000"/>
                </a:spcBef>
                <a:buClr>
                  <a:srgbClr val="F0AB00"/>
                </a:buClr>
                <a:buSzPct val="80000"/>
                <a:defRPr/>
              </a:pPr>
              <a:r>
                <a:rPr lang="en-US" sz="1600" b="1" kern="0">
                  <a:solidFill>
                    <a:srgbClr val="0F46A7"/>
                  </a:solidFill>
                  <a:latin typeface="Arial"/>
                  <a:ea typeface="Arial Unicode MS"/>
                  <a:cs typeface="Arial Unicode MS"/>
                </a:rPr>
                <a:t>SAP Build Code</a:t>
              </a: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C4F3FD0A-36C9-6741-0F0E-37140E425393}"/>
                </a:ext>
              </a:extLst>
            </p:cNvPr>
            <p:cNvSpPr txBox="1"/>
            <p:nvPr/>
          </p:nvSpPr>
          <p:spPr>
            <a:xfrm>
              <a:off x="8661503" y="2179828"/>
              <a:ext cx="1253548" cy="492443"/>
            </a:xfrm>
            <a:prstGeom prst="rect">
              <a:avLst/>
            </a:prstGeom>
            <a:noFill/>
            <a:ln w="25400">
              <a:noFill/>
            </a:ln>
            <a:effectLst/>
          </p:spPr>
          <p:txBody>
            <a:bodyPr wrap="none" lIns="0" tIns="0" rIns="0" bIns="0" rtlCol="0" anchor="ctr" anchorCtr="0">
              <a:spAutoFit/>
            </a:bodyPr>
            <a:lstStyle/>
            <a:p>
              <a:pPr defTabSz="913578" eaLnBrk="1" hangingPunct="1">
                <a:spcBef>
                  <a:spcPct val="50000"/>
                </a:spcBef>
                <a:buClr>
                  <a:srgbClr val="F0AB00"/>
                </a:buClr>
                <a:buSzPct val="80000"/>
                <a:defRPr/>
              </a:pPr>
              <a:r>
                <a:rPr lang="en-US" sz="1600" b="1" kern="0">
                  <a:solidFill>
                    <a:srgbClr val="0F46A7"/>
                  </a:solidFill>
                  <a:latin typeface="Arial"/>
                  <a:ea typeface="Arial Unicode MS"/>
                  <a:cs typeface="Arial Unicode MS"/>
                </a:rPr>
                <a:t>ABAP </a:t>
              </a:r>
              <a:br>
                <a:rPr lang="en-US" sz="1600" b="1" kern="0">
                  <a:solidFill>
                    <a:srgbClr val="0F46A7"/>
                  </a:solidFill>
                  <a:latin typeface="Arial"/>
                  <a:ea typeface="Arial Unicode MS"/>
                  <a:cs typeface="Arial Unicode MS"/>
                </a:rPr>
              </a:br>
              <a:r>
                <a:rPr lang="en-US" sz="1600" b="1" kern="0">
                  <a:solidFill>
                    <a:srgbClr val="0F46A7"/>
                  </a:solidFill>
                  <a:latin typeface="Arial"/>
                  <a:ea typeface="Arial Unicode MS"/>
                  <a:cs typeface="Arial Unicode MS"/>
                </a:rPr>
                <a:t>Environment</a:t>
              </a:r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E5EBCD22-FD9A-48EC-A85A-20A241393DC0}"/>
                </a:ext>
              </a:extLst>
            </p:cNvPr>
            <p:cNvSpPr/>
            <p:nvPr/>
          </p:nvSpPr>
          <p:spPr bwMode="gray">
            <a:xfrm>
              <a:off x="504001" y="3937525"/>
              <a:ext cx="11166409" cy="87822"/>
            </a:xfrm>
            <a:custGeom>
              <a:avLst/>
              <a:gdLst>
                <a:gd name="connsiteX0" fmla="*/ 0 w 10321447"/>
                <a:gd name="connsiteY0" fmla="*/ 0 h 0"/>
                <a:gd name="connsiteX1" fmla="*/ 10321447 w 10321447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321447">
                  <a:moveTo>
                    <a:pt x="0" y="0"/>
                  </a:moveTo>
                  <a:lnTo>
                    <a:pt x="10321447" y="0"/>
                  </a:lnTo>
                </a:path>
              </a:pathLst>
            </a:custGeom>
            <a:noFill/>
            <a:ln w="31750" algn="ctr">
              <a:solidFill>
                <a:schemeClr val="accent3"/>
              </a:solidFill>
              <a:miter lim="800000"/>
              <a:headEnd type="triangle" w="lg" len="med"/>
              <a:tailEnd type="triangle" w="lg" len="med"/>
            </a:ln>
          </p:spPr>
          <p:txBody>
            <a:bodyPr rtlCol="0" anchor="ctr"/>
            <a:lstStyle/>
            <a:p>
              <a:pPr algn="ctr" defTabSz="91412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799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238ADA27-D7D1-CEF0-F4AA-3DACD6EB1EFC}"/>
                </a:ext>
              </a:extLst>
            </p:cNvPr>
            <p:cNvSpPr/>
            <p:nvPr/>
          </p:nvSpPr>
          <p:spPr bwMode="gray">
            <a:xfrm>
              <a:off x="3711603" y="3722746"/>
              <a:ext cx="4664752" cy="391628"/>
            </a:xfrm>
            <a:prstGeom prst="rect">
              <a:avLst/>
            </a:prstGeom>
            <a:solidFill>
              <a:srgbClr val="FBFBFB"/>
            </a:solidFill>
            <a:ln w="25400" algn="ctr">
              <a:noFill/>
              <a:miter lim="800000"/>
              <a:headEnd/>
              <a:tailEnd/>
            </a:ln>
          </p:spPr>
          <p:txBody>
            <a:bodyPr wrap="square" lIns="89977" tIns="71981" rIns="89977" bIns="71981" rtlCol="0" anchor="ctr">
              <a:spAutoFit/>
            </a:bodyPr>
            <a:lstStyle/>
            <a:p>
              <a:pPr algn="ctr" defTabSz="913304" eaLnBrk="1" hangingPunct="1">
                <a:spcBef>
                  <a:spcPct val="50000"/>
                </a:spcBef>
                <a:buClr>
                  <a:srgbClr val="F0AB00"/>
                </a:buClr>
                <a:buSzPct val="80000"/>
                <a:defRPr/>
              </a:pPr>
              <a:r>
                <a:rPr lang="en-US" sz="1600" b="1" kern="0">
                  <a:solidFill>
                    <a:srgbClr val="00000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Generative AI-powered developer productivity</a:t>
              </a: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9B0C0381-DD0F-D222-2535-DA0A8DA1921A}"/>
                </a:ext>
              </a:extLst>
            </p:cNvPr>
            <p:cNvSpPr/>
            <p:nvPr/>
          </p:nvSpPr>
          <p:spPr bwMode="gray">
            <a:xfrm>
              <a:off x="632178" y="4432011"/>
              <a:ext cx="5328355" cy="391628"/>
            </a:xfrm>
            <a:prstGeom prst="rect">
              <a:avLst/>
            </a:prstGeom>
            <a:noFill/>
            <a:ln w="25400" algn="ctr">
              <a:noFill/>
              <a:miter lim="800000"/>
              <a:headEnd/>
              <a:tailEnd/>
            </a:ln>
          </p:spPr>
          <p:txBody>
            <a:bodyPr wrap="square" lIns="89977" tIns="71981" rIns="89977" bIns="71981" rtlCol="0" anchor="ctr">
              <a:spAutoFit/>
            </a:bodyPr>
            <a:lstStyle/>
            <a:p>
              <a:pPr algn="ctr" defTabSz="1087796" eaLnBrk="1" hangingPunct="1">
                <a:spcBef>
                  <a:spcPct val="50000"/>
                </a:spcBef>
                <a:buClr>
                  <a:srgbClr val="F0AB00"/>
                </a:buClr>
                <a:buSzPct val="80000"/>
                <a:defRPr/>
              </a:pPr>
              <a:r>
                <a:rPr lang="en-US" sz="1600" b="1" kern="0">
                  <a:solidFill>
                    <a:srgbClr val="00000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SAP Integration Suite</a:t>
              </a: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64425A8E-6F5B-E99A-4AC2-B6DAB9E0789B}"/>
                </a:ext>
              </a:extLst>
            </p:cNvPr>
            <p:cNvSpPr/>
            <p:nvPr/>
          </p:nvSpPr>
          <p:spPr bwMode="gray">
            <a:xfrm>
              <a:off x="643317" y="5063160"/>
              <a:ext cx="2094816" cy="548640"/>
            </a:xfrm>
            <a:prstGeom prst="rect">
              <a:avLst/>
            </a:prstGeom>
            <a:solidFill>
              <a:schemeClr val="bg1"/>
            </a:solidFill>
            <a:ln w="25400" algn="ctr">
              <a:noFill/>
              <a:miter lim="800000"/>
              <a:headEnd/>
              <a:tailEnd/>
            </a:ln>
            <a:effectLst>
              <a:outerShdw blurRad="63500" algn="ctr" rotWithShape="0">
                <a:prstClr val="black">
                  <a:alpha val="40000"/>
                </a:prstClr>
              </a:outerShdw>
            </a:effectLst>
          </p:spPr>
          <p:txBody>
            <a:bodyPr lIns="89908" tIns="71924" rIns="89908" bIns="71924" rtlCol="0" anchor="ctr"/>
            <a:lstStyle/>
            <a:p>
              <a:pPr algn="ctr" defTabSz="1087796" eaLnBrk="1" hangingPunct="1">
                <a:spcBef>
                  <a:spcPct val="50000"/>
                </a:spcBef>
                <a:buClr>
                  <a:srgbClr val="F0AB00"/>
                </a:buClr>
                <a:buSzPct val="80000"/>
                <a:defRPr/>
              </a:pPr>
              <a:r>
                <a:rPr lang="en-US" sz="1300" b="1" kern="0">
                  <a:solidFill>
                    <a:srgbClr val="00000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Enterprise Resource Management</a:t>
              </a:r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B6D888FC-6D9D-50D2-B808-200E505D6A01}"/>
                </a:ext>
              </a:extLst>
            </p:cNvPr>
            <p:cNvSpPr/>
            <p:nvPr/>
          </p:nvSpPr>
          <p:spPr bwMode="gray">
            <a:xfrm>
              <a:off x="9407190" y="5063160"/>
              <a:ext cx="2056680" cy="548640"/>
            </a:xfrm>
            <a:prstGeom prst="rect">
              <a:avLst/>
            </a:prstGeom>
            <a:solidFill>
              <a:schemeClr val="bg1"/>
            </a:solidFill>
            <a:ln w="25400" algn="ctr">
              <a:noFill/>
              <a:miter lim="800000"/>
              <a:headEnd/>
              <a:tailEnd/>
            </a:ln>
            <a:effectLst>
              <a:outerShdw blurRad="63500" algn="ctr" rotWithShape="0">
                <a:prstClr val="black">
                  <a:alpha val="40000"/>
                </a:prstClr>
              </a:outerShdw>
            </a:effectLst>
          </p:spPr>
          <p:txBody>
            <a:bodyPr lIns="89908" tIns="71924" rIns="89908" bIns="71924" rtlCol="0" anchor="ctr"/>
            <a:lstStyle/>
            <a:p>
              <a:pPr algn="ctr" defTabSz="1087796" eaLnBrk="1" hangingPunct="1">
                <a:spcBef>
                  <a:spcPct val="50000"/>
                </a:spcBef>
                <a:buClr>
                  <a:srgbClr val="F0AB00"/>
                </a:buClr>
                <a:buSzPct val="80000"/>
                <a:defRPr/>
              </a:pPr>
              <a:r>
                <a:rPr lang="en-US" sz="1300" b="1" kern="0">
                  <a:solidFill>
                    <a:srgbClr val="00000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Business Network</a:t>
              </a:r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DC140C82-5490-3B99-86D8-30596756D04F}"/>
                </a:ext>
              </a:extLst>
            </p:cNvPr>
            <p:cNvSpPr/>
            <p:nvPr/>
          </p:nvSpPr>
          <p:spPr bwMode="gray">
            <a:xfrm>
              <a:off x="7216223" y="5063160"/>
              <a:ext cx="2094816" cy="548640"/>
            </a:xfrm>
            <a:prstGeom prst="rect">
              <a:avLst/>
            </a:prstGeom>
            <a:solidFill>
              <a:schemeClr val="bg1"/>
            </a:solidFill>
            <a:ln w="25400" algn="ctr">
              <a:noFill/>
              <a:miter lim="800000"/>
              <a:headEnd/>
              <a:tailEnd/>
            </a:ln>
            <a:effectLst>
              <a:outerShdw blurRad="63500" algn="ctr" rotWithShape="0">
                <a:prstClr val="black">
                  <a:alpha val="40000"/>
                </a:prstClr>
              </a:outerShdw>
            </a:effectLst>
          </p:spPr>
          <p:txBody>
            <a:bodyPr lIns="89908" tIns="71924" rIns="89908" bIns="71924" rtlCol="0" anchor="ctr"/>
            <a:lstStyle/>
            <a:p>
              <a:pPr algn="ctr" defTabSz="1087796" eaLnBrk="1" hangingPunct="1">
                <a:spcBef>
                  <a:spcPct val="50000"/>
                </a:spcBef>
                <a:buClr>
                  <a:srgbClr val="F0AB00"/>
                </a:buClr>
                <a:buSzPct val="80000"/>
                <a:defRPr/>
              </a:pPr>
              <a:r>
                <a:rPr lang="en-US" sz="1300" b="1" kern="0">
                  <a:solidFill>
                    <a:srgbClr val="00000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Spend Management</a:t>
              </a:r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E8EBDCC5-07C3-4D80-6C33-7009A293BC02}"/>
                </a:ext>
              </a:extLst>
            </p:cNvPr>
            <p:cNvSpPr/>
            <p:nvPr/>
          </p:nvSpPr>
          <p:spPr bwMode="gray">
            <a:xfrm>
              <a:off x="5025254" y="5063160"/>
              <a:ext cx="2094816" cy="548640"/>
            </a:xfrm>
            <a:prstGeom prst="rect">
              <a:avLst/>
            </a:prstGeom>
            <a:solidFill>
              <a:schemeClr val="bg1"/>
            </a:solidFill>
            <a:ln w="25400" algn="ctr">
              <a:noFill/>
              <a:miter lim="800000"/>
              <a:headEnd/>
              <a:tailEnd/>
            </a:ln>
            <a:effectLst>
              <a:outerShdw blurRad="63500" algn="ctr" rotWithShape="0">
                <a:prstClr val="black">
                  <a:alpha val="40000"/>
                </a:prstClr>
              </a:outerShdw>
            </a:effectLst>
          </p:spPr>
          <p:txBody>
            <a:bodyPr lIns="89908" tIns="71924" rIns="89908" bIns="71924" rtlCol="0" anchor="ctr"/>
            <a:lstStyle/>
            <a:p>
              <a:pPr algn="ctr" defTabSz="1087796" eaLnBrk="1" hangingPunct="1">
                <a:spcBef>
                  <a:spcPct val="50000"/>
                </a:spcBef>
                <a:buClr>
                  <a:srgbClr val="F0AB00"/>
                </a:buClr>
                <a:buSzPct val="80000"/>
                <a:defRPr/>
              </a:pPr>
              <a:r>
                <a:rPr lang="en-US" sz="1300" b="1" kern="0">
                  <a:solidFill>
                    <a:srgbClr val="00000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Human Capital Management</a:t>
              </a: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42E7CD30-7742-20D7-38FB-5C697ACFD5E8}"/>
                </a:ext>
              </a:extLst>
            </p:cNvPr>
            <p:cNvSpPr/>
            <p:nvPr/>
          </p:nvSpPr>
          <p:spPr bwMode="gray">
            <a:xfrm>
              <a:off x="2834286" y="5063160"/>
              <a:ext cx="2094816" cy="548640"/>
            </a:xfrm>
            <a:prstGeom prst="rect">
              <a:avLst/>
            </a:prstGeom>
            <a:solidFill>
              <a:schemeClr val="bg1"/>
            </a:solidFill>
            <a:ln w="25400" algn="ctr">
              <a:noFill/>
              <a:miter lim="800000"/>
              <a:headEnd/>
              <a:tailEnd/>
            </a:ln>
            <a:effectLst>
              <a:outerShdw blurRad="63500" algn="ctr" rotWithShape="0">
                <a:prstClr val="black">
                  <a:alpha val="40000"/>
                </a:prstClr>
              </a:outerShdw>
            </a:effectLst>
          </p:spPr>
          <p:txBody>
            <a:bodyPr lIns="89908" tIns="71924" rIns="89908" bIns="71924" rtlCol="0" anchor="ctr"/>
            <a:lstStyle/>
            <a:p>
              <a:pPr algn="ctr" defTabSz="1087796" eaLnBrk="1" hangingPunct="1">
                <a:spcBef>
                  <a:spcPct val="50000"/>
                </a:spcBef>
                <a:buClr>
                  <a:srgbClr val="F0AB00"/>
                </a:buClr>
                <a:buSzPct val="80000"/>
                <a:defRPr/>
              </a:pPr>
              <a:r>
                <a:rPr lang="en-US" sz="1300" b="1" kern="0">
                  <a:solidFill>
                    <a:srgbClr val="00000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Customer Relationship Management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695CAF31-3AA0-A70E-A07C-774997BD6652}"/>
                </a:ext>
              </a:extLst>
            </p:cNvPr>
            <p:cNvSpPr txBox="1"/>
            <p:nvPr/>
          </p:nvSpPr>
          <p:spPr>
            <a:xfrm>
              <a:off x="1304561" y="2302939"/>
              <a:ext cx="1574105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>
              <a:defPPr>
                <a:defRPr lang="de-DE"/>
              </a:defPPr>
              <a:lvl1pPr marR="0" lvl="0" indent="0" fontAlgn="base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 kumimoji="0" sz="1200" b="1" i="0" u="none" strike="noStrike" kern="0" cap="none" spc="0" normalizeH="0" baseline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ea typeface="Arial Unicode MS" pitchFamily="34" charset="-128"/>
                  <a:cs typeface="Arial Unicode MS" pitchFamily="34" charset="-128"/>
                </a:defRPr>
              </a:lvl1pPr>
            </a:lstStyle>
            <a:p>
              <a:pPr defTabSz="1086818" eaLnBrk="1" hangingPunct="1">
                <a:defRPr/>
              </a:pPr>
              <a:r>
                <a:rPr lang="en-US" sz="1600" kern="1200">
                  <a:solidFill>
                    <a:srgbClr val="0F46A7"/>
                  </a:solidFill>
                  <a:latin typeface="Arial"/>
                </a:rPr>
                <a:t>SAP Build</a:t>
              </a:r>
            </a:p>
          </p:txBody>
        </p:sp>
        <p:pic>
          <p:nvPicPr>
            <p:cNvPr id="64" name="Graphic 63">
              <a:extLst>
                <a:ext uri="{FF2B5EF4-FFF2-40B4-BE49-F238E27FC236}">
                  <a16:creationId xmlns:a16="http://schemas.microsoft.com/office/drawing/2014/main" id="{619006DB-0AE9-B486-9D2F-7C942251800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621980" y="2222899"/>
              <a:ext cx="919950" cy="497443"/>
            </a:xfrm>
            <a:prstGeom prst="rect">
              <a:avLst/>
            </a:prstGeom>
          </p:spPr>
        </p:pic>
        <p:pic>
          <p:nvPicPr>
            <p:cNvPr id="65" name="Graphic 64">
              <a:extLst>
                <a:ext uri="{FF2B5EF4-FFF2-40B4-BE49-F238E27FC236}">
                  <a16:creationId xmlns:a16="http://schemas.microsoft.com/office/drawing/2014/main" id="{9C46CE09-9397-C866-CEA5-2CFF17D94A2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7322922" y="2222899"/>
              <a:ext cx="919950" cy="497443"/>
            </a:xfrm>
            <a:prstGeom prst="rect">
              <a:avLst/>
            </a:prstGeom>
          </p:spPr>
        </p:pic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23A8BB34-A5D8-2376-F686-FDDAC1B97856}"/>
                </a:ext>
              </a:extLst>
            </p:cNvPr>
            <p:cNvSpPr/>
            <p:nvPr/>
          </p:nvSpPr>
          <p:spPr bwMode="gray">
            <a:xfrm>
              <a:off x="1103586" y="1497443"/>
              <a:ext cx="2606566" cy="0"/>
            </a:xfrm>
            <a:custGeom>
              <a:avLst/>
              <a:gdLst>
                <a:gd name="connsiteX0" fmla="*/ 0 w 2606566"/>
                <a:gd name="connsiteY0" fmla="*/ 0 h 0"/>
                <a:gd name="connsiteX1" fmla="*/ 2606566 w 2606566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06566">
                  <a:moveTo>
                    <a:pt x="0" y="0"/>
                  </a:moveTo>
                  <a:lnTo>
                    <a:pt x="2606566" y="0"/>
                  </a:lnTo>
                </a:path>
              </a:pathLst>
            </a:custGeom>
            <a:noFill/>
            <a:ln w="31750" algn="ctr">
              <a:solidFill>
                <a:schemeClr val="accent3"/>
              </a:solidFill>
              <a:miter lim="800000"/>
              <a:headEnd type="triangle" w="lg" len="med"/>
              <a:tailEnd type="triangle" w="lg" len="med"/>
            </a:ln>
          </p:spPr>
          <p:txBody>
            <a:bodyPr rtlCol="0" anchor="ctr"/>
            <a:lstStyle/>
            <a:p>
              <a:pPr algn="ctr" defTabSz="91412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799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EA40D778-B992-80BB-9853-BE8F4F137EBE}"/>
                </a:ext>
              </a:extLst>
            </p:cNvPr>
            <p:cNvSpPr txBox="1"/>
            <p:nvPr/>
          </p:nvSpPr>
          <p:spPr>
            <a:xfrm>
              <a:off x="1796446" y="1374333"/>
              <a:ext cx="1220847" cy="246221"/>
            </a:xfrm>
            <a:prstGeom prst="rect">
              <a:avLst/>
            </a:prstGeom>
            <a:solidFill>
              <a:schemeClr val="bg1"/>
            </a:solidFill>
            <a:ln w="25400">
              <a:noFill/>
            </a:ln>
            <a:effectLst/>
          </p:spPr>
          <p:txBody>
            <a:bodyPr wrap="none" lIns="45708" tIns="0" rIns="45708" bIns="0" rtlCol="0" anchor="ctr" anchorCtr="0">
              <a:spAutoFit/>
            </a:bodyPr>
            <a:lstStyle/>
            <a:p>
              <a:pPr defTabSz="913578" eaLnBrk="1" hangingPunct="1">
                <a:spcBef>
                  <a:spcPct val="50000"/>
                </a:spcBef>
                <a:buClr>
                  <a:srgbClr val="F0AB00"/>
                </a:buClr>
                <a:buSzPct val="80000"/>
                <a:defRPr/>
              </a:pPr>
              <a:r>
                <a:rPr lang="en-US" sz="1600" kern="0">
                  <a:solidFill>
                    <a:srgbClr val="000000"/>
                  </a:solidFill>
                  <a:latin typeface="Arial"/>
                  <a:ea typeface="Arial Unicode MS"/>
                  <a:cs typeface="Arial Unicode MS"/>
                </a:rPr>
                <a:t>LOW-CODE</a:t>
              </a: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5D163E35-BE70-9E45-F653-DB28C9914269}"/>
                </a:ext>
              </a:extLst>
            </p:cNvPr>
            <p:cNvSpPr/>
            <p:nvPr/>
          </p:nvSpPr>
          <p:spPr bwMode="gray">
            <a:xfrm>
              <a:off x="4781289" y="1497443"/>
              <a:ext cx="6317112" cy="282956"/>
            </a:xfrm>
            <a:custGeom>
              <a:avLst/>
              <a:gdLst>
                <a:gd name="connsiteX0" fmla="*/ 0 w 2606566"/>
                <a:gd name="connsiteY0" fmla="*/ 0 h 0"/>
                <a:gd name="connsiteX1" fmla="*/ 2606566 w 2606566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06566">
                  <a:moveTo>
                    <a:pt x="0" y="0"/>
                  </a:moveTo>
                  <a:lnTo>
                    <a:pt x="2606566" y="0"/>
                  </a:lnTo>
                </a:path>
              </a:pathLst>
            </a:custGeom>
            <a:noFill/>
            <a:ln w="31750" algn="ctr">
              <a:solidFill>
                <a:schemeClr val="accent3"/>
              </a:solidFill>
              <a:miter lim="800000"/>
              <a:headEnd type="triangle" w="lg" len="med"/>
              <a:tailEnd type="triangle" w="lg" len="med"/>
            </a:ln>
          </p:spPr>
          <p:txBody>
            <a:bodyPr rtlCol="0" anchor="ctr"/>
            <a:lstStyle/>
            <a:p>
              <a:pPr algn="ctr" defTabSz="91412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799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E758F1A9-364B-862A-7755-089A4D3C3EE4}"/>
                </a:ext>
              </a:extLst>
            </p:cNvPr>
            <p:cNvSpPr txBox="1"/>
            <p:nvPr/>
          </p:nvSpPr>
          <p:spPr>
            <a:xfrm>
              <a:off x="7402997" y="1374333"/>
              <a:ext cx="1196802" cy="246221"/>
            </a:xfrm>
            <a:prstGeom prst="rect">
              <a:avLst/>
            </a:prstGeom>
            <a:solidFill>
              <a:schemeClr val="bg1"/>
            </a:solidFill>
            <a:ln w="25400">
              <a:noFill/>
            </a:ln>
            <a:effectLst/>
          </p:spPr>
          <p:txBody>
            <a:bodyPr wrap="none" lIns="45708" tIns="0" rIns="45708" bIns="0" rtlCol="0" anchor="ctr" anchorCtr="0">
              <a:spAutoFit/>
            </a:bodyPr>
            <a:lstStyle/>
            <a:p>
              <a:pPr defTabSz="913578" eaLnBrk="1" hangingPunct="1">
                <a:spcBef>
                  <a:spcPct val="50000"/>
                </a:spcBef>
                <a:buClr>
                  <a:srgbClr val="F0AB00"/>
                </a:buClr>
                <a:buSzPct val="80000"/>
                <a:defRPr/>
              </a:pPr>
              <a:r>
                <a:rPr lang="en-US" sz="1600" kern="0">
                  <a:solidFill>
                    <a:srgbClr val="000000"/>
                  </a:solidFill>
                  <a:latin typeface="Arial"/>
                  <a:ea typeface="Arial Unicode MS"/>
                  <a:cs typeface="Arial Unicode MS"/>
                </a:rPr>
                <a:t>PRO-CODE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B49716B2-685D-0A03-E91D-485A08B3EE30}"/>
                </a:ext>
              </a:extLst>
            </p:cNvPr>
            <p:cNvSpPr/>
            <p:nvPr/>
          </p:nvSpPr>
          <p:spPr bwMode="gray">
            <a:xfrm>
              <a:off x="6073422" y="4340576"/>
              <a:ext cx="5390449" cy="588774"/>
            </a:xfrm>
            <a:prstGeom prst="rect">
              <a:avLst/>
            </a:prstGeom>
            <a:solidFill>
              <a:schemeClr val="bg1"/>
            </a:solidFill>
            <a:ln w="25400" algn="ctr">
              <a:noFill/>
              <a:miter lim="800000"/>
              <a:headEnd/>
              <a:tailEnd/>
            </a:ln>
            <a:effectLst>
              <a:outerShdw blurRad="63500" algn="ctr" rotWithShape="0">
                <a:prstClr val="black">
                  <a:alpha val="40000"/>
                </a:prstClr>
              </a:outerShdw>
            </a:effectLst>
          </p:spPr>
          <p:txBody>
            <a:bodyPr lIns="89908" tIns="71924" rIns="89908" bIns="71924" rtlCol="0" anchor="ctr"/>
            <a:lstStyle/>
            <a:p>
              <a:pPr algn="ctr" defTabSz="1087796" eaLnBrk="1" hangingPunct="1">
                <a:spcBef>
                  <a:spcPct val="50000"/>
                </a:spcBef>
                <a:buClr>
                  <a:srgbClr val="F0AB00"/>
                </a:buClr>
                <a:buSzPct val="80000"/>
                <a:defRPr/>
              </a:pPr>
              <a:endParaRPr lang="en-US" sz="1400" b="1" kern="0" err="1">
                <a:solidFill>
                  <a:srgbClr val="000000"/>
                </a:solidFill>
                <a:latin typeface="Arial"/>
                <a:ea typeface="Arial Unicode MS" pitchFamily="34" charset="-128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1C423533-C133-DE2E-AD77-33F9B2009340}"/>
                </a:ext>
              </a:extLst>
            </p:cNvPr>
            <p:cNvSpPr/>
            <p:nvPr/>
          </p:nvSpPr>
          <p:spPr bwMode="gray">
            <a:xfrm>
              <a:off x="6101647" y="4437654"/>
              <a:ext cx="5328355" cy="391628"/>
            </a:xfrm>
            <a:prstGeom prst="rect">
              <a:avLst/>
            </a:prstGeom>
            <a:noFill/>
            <a:ln w="25400" algn="ctr">
              <a:noFill/>
              <a:miter lim="800000"/>
              <a:headEnd/>
              <a:tailEnd/>
            </a:ln>
          </p:spPr>
          <p:txBody>
            <a:bodyPr wrap="square" lIns="89977" tIns="71981" rIns="89977" bIns="71981" rtlCol="0" anchor="ctr">
              <a:spAutoFit/>
            </a:bodyPr>
            <a:lstStyle/>
            <a:p>
              <a:pPr algn="ctr" defTabSz="1087796" eaLnBrk="1" hangingPunct="1">
                <a:spcBef>
                  <a:spcPct val="50000"/>
                </a:spcBef>
                <a:buClr>
                  <a:srgbClr val="F0AB00"/>
                </a:buClr>
                <a:buSzPct val="80000"/>
                <a:defRPr/>
              </a:pPr>
              <a:r>
                <a:rPr lang="en-US" sz="1600" b="1" kern="0">
                  <a:solidFill>
                    <a:srgbClr val="00000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SAP Datasphere</a:t>
              </a:r>
            </a:p>
          </p:txBody>
        </p:sp>
      </p:grpSp>
      <p:sp>
        <p:nvSpPr>
          <p:cNvPr id="15" name="Title 1">
            <a:extLst>
              <a:ext uri="{FF2B5EF4-FFF2-40B4-BE49-F238E27FC236}">
                <a16:creationId xmlns:a16="http://schemas.microsoft.com/office/drawing/2014/main" id="{E07423D9-E3D2-01D6-4719-36CEDF26668A}"/>
              </a:ext>
            </a:extLst>
          </p:cNvPr>
          <p:cNvSpPr txBox="1">
            <a:spLocks/>
          </p:cNvSpPr>
          <p:nvPr/>
        </p:nvSpPr>
        <p:spPr bwMode="black">
          <a:xfrm>
            <a:off x="503870" y="504761"/>
            <a:ext cx="11183564" cy="6769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1088558" rtl="0" eaLnBrk="1" latinLnBrk="0" hangingPunct="1">
              <a:spcBef>
                <a:spcPct val="0"/>
              </a:spcBef>
              <a:buNone/>
              <a:defRPr sz="2400" b="1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1088231" fontAlgn="auto">
              <a:spcAft>
                <a:spcPts val="0"/>
              </a:spcAft>
            </a:pPr>
            <a:r>
              <a:rPr lang="en-US" sz="2399" kern="0">
                <a:solidFill>
                  <a:srgbClr val="000000"/>
                </a:solidFill>
                <a:latin typeface="Arial"/>
                <a:ea typeface="Arial Unicode MS" pitchFamily="34" charset="-128"/>
              </a:rPr>
              <a:t>SAP BTP Application Development &amp; Automation</a:t>
            </a:r>
          </a:p>
          <a:p>
            <a:pPr defTabSz="1088231" fontAlgn="auto">
              <a:spcAft>
                <a:spcPts val="0"/>
              </a:spcAft>
            </a:pPr>
            <a:r>
              <a:rPr lang="en-US" sz="1999" b="0" kern="0">
                <a:solidFill>
                  <a:srgbClr val="000000"/>
                </a:solidFill>
                <a:latin typeface="Arial"/>
                <a:ea typeface="Arial Unicode MS" pitchFamily="34" charset="-128"/>
              </a:rPr>
              <a:t>Integrated solutions powered by Generative AI</a:t>
            </a:r>
            <a:endParaRPr lang="en-US" sz="1999" b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FED583-85D9-5994-813D-05C813C8E58F}"/>
              </a:ext>
            </a:extLst>
          </p:cNvPr>
          <p:cNvSpPr/>
          <p:nvPr/>
        </p:nvSpPr>
        <p:spPr bwMode="auto">
          <a:xfrm>
            <a:off x="247294" y="-696521"/>
            <a:ext cx="11420078" cy="555927"/>
          </a:xfrm>
          <a:prstGeom prst="rect">
            <a:avLst/>
          </a:prstGeom>
          <a:solidFill>
            <a:srgbClr val="FF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72"/>
            <a:r>
              <a:rPr lang="fi-FI" sz="1800" err="1">
                <a:solidFill>
                  <a:srgbClr val="FFFFFF"/>
                </a:solidFill>
                <a:latin typeface="Segoe UI"/>
                <a:cs typeface="Segoe UI"/>
              </a:rPr>
              <a:t>App.dev</a:t>
            </a:r>
            <a:r>
              <a:rPr lang="fi-FI" sz="1800">
                <a:solidFill>
                  <a:srgbClr val="FFFFFF"/>
                </a:solidFill>
                <a:latin typeface="Segoe UI"/>
                <a:cs typeface="Segoe UI"/>
              </a:rPr>
              <a:t>. </a:t>
            </a:r>
            <a:r>
              <a:rPr lang="fi-FI" sz="1800" err="1">
                <a:solidFill>
                  <a:srgbClr val="FFFFFF"/>
                </a:solidFill>
                <a:latin typeface="Segoe UI"/>
                <a:cs typeface="Segoe UI"/>
              </a:rPr>
              <a:t>session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3149589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83B3049C-5DEA-45C2-5A7E-20F5CBFD8FB7}"/>
              </a:ext>
            </a:extLst>
          </p:cNvPr>
          <p:cNvSpPr txBox="1"/>
          <p:nvPr/>
        </p:nvSpPr>
        <p:spPr>
          <a:xfrm rot="10800000">
            <a:off x="8496550" y="1569114"/>
            <a:ext cx="3209999" cy="711677"/>
          </a:xfrm>
          <a:prstGeom prst="roundRect">
            <a:avLst/>
          </a:prstGeom>
          <a:solidFill>
            <a:srgbClr val="A6E0FF"/>
          </a:solidFill>
        </p:spPr>
        <p:txBody>
          <a:bodyPr wrap="square" lIns="0" tIns="0" rIns="0" bIns="45708" rtlCol="0" anchor="b" anchorCtr="0">
            <a:noAutofit/>
          </a:bodyPr>
          <a:lstStyle>
            <a:defPPr>
              <a:defRPr lang="de-DE"/>
            </a:defPPr>
            <a:lvl1pPr marR="0" lvl="0" indent="0" fontAlgn="base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 kumimoji="0" sz="1200" b="1" i="0" u="none" strike="noStrike" kern="0" cap="none" spc="0" normalizeH="0" baseline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algn="ctr" defTabSz="1086818" eaLnBrk="1" hangingPunct="1">
              <a:defRPr/>
            </a:pPr>
            <a:endParaRPr lang="en-US" sz="1600" kern="1200">
              <a:solidFill>
                <a:srgbClr val="000000"/>
              </a:solidFill>
              <a:latin typeface="72" panose="020B0503030000000003" pitchFamily="34" charset="0"/>
              <a:cs typeface="72" panose="020B0503030000000003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D0B235C-1ACE-B468-0CB5-940123772FF6}"/>
              </a:ext>
            </a:extLst>
          </p:cNvPr>
          <p:cNvSpPr txBox="1"/>
          <p:nvPr/>
        </p:nvSpPr>
        <p:spPr>
          <a:xfrm rot="10800000">
            <a:off x="4678434" y="1569114"/>
            <a:ext cx="3209999" cy="711677"/>
          </a:xfrm>
          <a:prstGeom prst="roundRect">
            <a:avLst/>
          </a:prstGeom>
          <a:solidFill>
            <a:srgbClr val="A6E0FF"/>
          </a:solidFill>
        </p:spPr>
        <p:txBody>
          <a:bodyPr wrap="square" lIns="0" tIns="0" rIns="0" bIns="45708" rtlCol="0" anchor="b" anchorCtr="0">
            <a:noAutofit/>
          </a:bodyPr>
          <a:lstStyle>
            <a:defPPr>
              <a:defRPr lang="de-DE"/>
            </a:defPPr>
            <a:lvl1pPr marR="0" lvl="0" indent="0" fontAlgn="base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 kumimoji="0" sz="1200" b="1" i="0" u="none" strike="noStrike" kern="0" cap="none" spc="0" normalizeH="0" baseline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algn="ctr" defTabSz="1086818" eaLnBrk="1" hangingPunct="1">
              <a:defRPr/>
            </a:pPr>
            <a:endParaRPr lang="en-US" sz="1600" kern="1200">
              <a:solidFill>
                <a:srgbClr val="000000"/>
              </a:solidFill>
              <a:latin typeface="72" panose="020B0503030000000003" pitchFamily="34" charset="0"/>
              <a:cs typeface="72" panose="020B0503030000000003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0BED0F0-EFB3-4297-EF9F-9A6BC1D3F71A}"/>
              </a:ext>
            </a:extLst>
          </p:cNvPr>
          <p:cNvSpPr txBox="1"/>
          <p:nvPr/>
        </p:nvSpPr>
        <p:spPr>
          <a:xfrm rot="10800000">
            <a:off x="863037" y="1569114"/>
            <a:ext cx="3209999" cy="711677"/>
          </a:xfrm>
          <a:prstGeom prst="roundRect">
            <a:avLst/>
          </a:prstGeom>
          <a:solidFill>
            <a:srgbClr val="A6E0FF"/>
          </a:solidFill>
        </p:spPr>
        <p:txBody>
          <a:bodyPr wrap="square" lIns="0" tIns="0" rIns="0" bIns="45708" rtlCol="0" anchor="b" anchorCtr="0">
            <a:noAutofit/>
          </a:bodyPr>
          <a:lstStyle>
            <a:defPPr>
              <a:defRPr lang="de-DE"/>
            </a:defPPr>
            <a:lvl1pPr marR="0" lvl="0" indent="0" fontAlgn="base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 kumimoji="0" sz="1200" b="1" i="0" u="none" strike="noStrike" kern="0" cap="none" spc="0" normalizeH="0" baseline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algn="ctr" defTabSz="1086818" eaLnBrk="1" hangingPunct="1">
              <a:defRPr/>
            </a:pPr>
            <a:endParaRPr lang="en-US" sz="1600" kern="1200">
              <a:solidFill>
                <a:srgbClr val="000000"/>
              </a:solidFill>
              <a:latin typeface="72" panose="020B0503030000000003" pitchFamily="34" charset="0"/>
              <a:cs typeface="72" panose="020B0503030000000003" pitchFamily="34" charset="0"/>
            </a:endParaRPr>
          </a:p>
        </p:txBody>
      </p:sp>
      <p:pic>
        <p:nvPicPr>
          <p:cNvPr id="23" name="Picture 22" descr="A group of people looking at a tablet&#10;&#10;Description automatically generated">
            <a:extLst>
              <a:ext uri="{FF2B5EF4-FFF2-40B4-BE49-F238E27FC236}">
                <a16:creationId xmlns:a16="http://schemas.microsoft.com/office/drawing/2014/main" id="{9F8C0B66-EA50-2E93-1BC0-52C500419809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t="2590" b="14466"/>
          <a:stretch>
            <a:fillRect/>
          </a:stretch>
        </p:blipFill>
        <p:spPr>
          <a:xfrm>
            <a:off x="8301530" y="2156442"/>
            <a:ext cx="3600039" cy="1774548"/>
          </a:xfrm>
          <a:custGeom>
            <a:avLst/>
            <a:gdLst>
              <a:gd name="connsiteX0" fmla="*/ 0 w 3600977"/>
              <a:gd name="connsiteY0" fmla="*/ 0 h 1775010"/>
              <a:gd name="connsiteX1" fmla="*/ 3600977 w 3600977"/>
              <a:gd name="connsiteY1" fmla="*/ 0 h 1775010"/>
              <a:gd name="connsiteX2" fmla="*/ 3600977 w 3600977"/>
              <a:gd name="connsiteY2" fmla="*/ 1 h 1775010"/>
              <a:gd name="connsiteX3" fmla="*/ 1830006 w 3600977"/>
              <a:gd name="connsiteY3" fmla="*/ 1775010 h 1775010"/>
              <a:gd name="connsiteX4" fmla="*/ 0 w 3600977"/>
              <a:gd name="connsiteY4" fmla="*/ 1775010 h 177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00977" h="1775010">
                <a:moveTo>
                  <a:pt x="0" y="0"/>
                </a:moveTo>
                <a:lnTo>
                  <a:pt x="3600977" y="0"/>
                </a:lnTo>
                <a:lnTo>
                  <a:pt x="3600977" y="1"/>
                </a:lnTo>
                <a:lnTo>
                  <a:pt x="1830006" y="1775010"/>
                </a:lnTo>
                <a:lnTo>
                  <a:pt x="0" y="1775010"/>
                </a:lnTo>
                <a:close/>
              </a:path>
            </a:pathLst>
          </a:custGeom>
        </p:spPr>
      </p:pic>
      <p:pic>
        <p:nvPicPr>
          <p:cNvPr id="20" name="Picture 19" descr="A person holding a computer&#10;&#10;Description automatically generated">
            <a:extLst>
              <a:ext uri="{FF2B5EF4-FFF2-40B4-BE49-F238E27FC236}">
                <a16:creationId xmlns:a16="http://schemas.microsoft.com/office/drawing/2014/main" id="{8F7100AB-AFA6-BC0A-AB1B-26115631FF5C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885" t="11745" r="1917" b="15847"/>
          <a:stretch>
            <a:fillRect/>
          </a:stretch>
        </p:blipFill>
        <p:spPr>
          <a:xfrm flipH="1">
            <a:off x="4483412" y="2156442"/>
            <a:ext cx="3600040" cy="1774548"/>
          </a:xfrm>
          <a:custGeom>
            <a:avLst/>
            <a:gdLst>
              <a:gd name="connsiteX0" fmla="*/ 3600978 w 3600978"/>
              <a:gd name="connsiteY0" fmla="*/ 0 h 1775010"/>
              <a:gd name="connsiteX1" fmla="*/ 0 w 3600978"/>
              <a:gd name="connsiteY1" fmla="*/ 0 h 1775010"/>
              <a:gd name="connsiteX2" fmla="*/ 1770972 w 3600978"/>
              <a:gd name="connsiteY2" fmla="*/ 1775010 h 1775010"/>
              <a:gd name="connsiteX3" fmla="*/ 3600978 w 3600978"/>
              <a:gd name="connsiteY3" fmla="*/ 1775010 h 177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0978" h="1775010">
                <a:moveTo>
                  <a:pt x="3600978" y="0"/>
                </a:moveTo>
                <a:lnTo>
                  <a:pt x="0" y="0"/>
                </a:lnTo>
                <a:lnTo>
                  <a:pt x="1770972" y="1775010"/>
                </a:lnTo>
                <a:lnTo>
                  <a:pt x="3600978" y="1775010"/>
                </a:lnTo>
                <a:close/>
              </a:path>
            </a:pathLst>
          </a:custGeom>
        </p:spPr>
      </p:pic>
      <p:sp>
        <p:nvSpPr>
          <p:cNvPr id="9" name="Title">
            <a:extLst>
              <a:ext uri="{FF2B5EF4-FFF2-40B4-BE49-F238E27FC236}">
                <a16:creationId xmlns:a16="http://schemas.microsoft.com/office/drawing/2014/main" id="{7DE94902-4438-6DC4-1F57-612E01BB091F}"/>
              </a:ext>
            </a:extLst>
          </p:cNvPr>
          <p:cNvSpPr txBox="1">
            <a:spLocks/>
          </p:cNvSpPr>
          <p:nvPr/>
        </p:nvSpPr>
        <p:spPr bwMode="gray">
          <a:xfrm>
            <a:off x="503870" y="1017010"/>
            <a:ext cx="11171922" cy="27667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1088231" rtl="0" eaLnBrk="1" latinLnBrk="0" hangingPunct="1">
              <a:spcBef>
                <a:spcPct val="0"/>
              </a:spcBef>
              <a:buNone/>
              <a:defRPr sz="2399" b="1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1086147" fontAlgn="auto">
              <a:lnSpc>
                <a:spcPct val="90000"/>
              </a:lnSpc>
              <a:spcAft>
                <a:spcPts val="0"/>
              </a:spcAft>
              <a:defRPr/>
            </a:pPr>
            <a:r>
              <a:rPr lang="en-US" sz="1997" b="0">
                <a:solidFill>
                  <a:srgbClr val="000000"/>
                </a:solidFill>
                <a:latin typeface="72" panose="020B0503030000000003" pitchFamily="34" charset="0"/>
                <a:cs typeface="72" panose="020B0503030000000003" pitchFamily="34" charset="0"/>
              </a:rPr>
              <a:t>Generative AI-powered application development, optimized for Java and JavaScript developer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894DA3F-6B3E-DF55-64BE-88F95838F11A}"/>
              </a:ext>
            </a:extLst>
          </p:cNvPr>
          <p:cNvSpPr txBox="1"/>
          <p:nvPr/>
        </p:nvSpPr>
        <p:spPr>
          <a:xfrm>
            <a:off x="4834529" y="1615348"/>
            <a:ext cx="2897807" cy="49231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de-DE"/>
            </a:defPPr>
            <a:lvl1pPr marR="0" lvl="0" indent="0" fontAlgn="base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 kumimoji="0" sz="1200" b="1" i="0" u="none" strike="noStrike" kern="0" cap="none" spc="0" normalizeH="0" baseline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algn="ctr" defTabSz="1086818" eaLnBrk="1" hangingPunct="1">
              <a:defRPr/>
            </a:pPr>
            <a:r>
              <a:rPr lang="en-US" sz="1600" kern="1200">
                <a:solidFill>
                  <a:srgbClr val="000000"/>
                </a:solidFill>
                <a:latin typeface="72" panose="020B0503030000000003" pitchFamily="34" charset="0"/>
                <a:cs typeface="72" panose="020B0503030000000003" pitchFamily="34" charset="0"/>
              </a:rPr>
              <a:t>Optimized</a:t>
            </a:r>
            <a:br>
              <a:rPr lang="en-US" sz="1600" kern="1200">
                <a:solidFill>
                  <a:srgbClr val="000000"/>
                </a:solidFill>
                <a:latin typeface="72" panose="020B0503030000000003" pitchFamily="34" charset="0"/>
                <a:cs typeface="72" panose="020B0503030000000003" pitchFamily="34" charset="0"/>
              </a:rPr>
            </a:br>
            <a:r>
              <a:rPr lang="en-US" sz="1600" b="0" kern="1200">
                <a:solidFill>
                  <a:srgbClr val="000000"/>
                </a:solidFill>
                <a:latin typeface="72" panose="020B0503030000000003" pitchFamily="34" charset="0"/>
                <a:cs typeface="72" panose="020B0503030000000003" pitchFamily="34" charset="0"/>
              </a:rPr>
              <a:t>for SAP development</a:t>
            </a:r>
            <a:endParaRPr lang="en-US" sz="1600" b="0" kern="1200">
              <a:solidFill>
                <a:srgbClr val="000000"/>
              </a:solidFill>
              <a:highlight>
                <a:srgbClr val="FFFF00"/>
              </a:highlight>
              <a:latin typeface="72" panose="020B0503030000000003" pitchFamily="34" charset="0"/>
              <a:cs typeface="72" panose="020B0503030000000003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95CAF31-3AA0-A70E-A07C-774997BD6652}"/>
              </a:ext>
            </a:extLst>
          </p:cNvPr>
          <p:cNvSpPr txBox="1"/>
          <p:nvPr/>
        </p:nvSpPr>
        <p:spPr>
          <a:xfrm>
            <a:off x="853191" y="1615348"/>
            <a:ext cx="3229694" cy="49231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de-DE"/>
            </a:defPPr>
            <a:lvl1pPr marR="0" lvl="0" indent="0" fontAlgn="base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 kumimoji="0" sz="1200" b="1" i="0" u="none" strike="noStrike" kern="0" cap="none" spc="0" normalizeH="0" baseline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algn="ctr" defTabSz="1086818" eaLnBrk="1" hangingPunct="1">
              <a:defRPr/>
            </a:pPr>
            <a:r>
              <a:rPr lang="en-US" sz="1600" kern="1200">
                <a:solidFill>
                  <a:srgbClr val="000000"/>
                </a:solidFill>
                <a:latin typeface="72" panose="020B0503030000000003" pitchFamily="34" charset="0"/>
                <a:cs typeface="72" panose="020B0503030000000003" pitchFamily="34" charset="0"/>
              </a:rPr>
              <a:t>Simplified </a:t>
            </a:r>
            <a:r>
              <a:rPr lang="en-US" sz="1600" b="0" kern="1200">
                <a:solidFill>
                  <a:srgbClr val="000000"/>
                </a:solidFill>
                <a:latin typeface="72" panose="020B0503030000000003" pitchFamily="34" charset="0"/>
                <a:cs typeface="72" panose="020B0503030000000003" pitchFamily="34" charset="0"/>
              </a:rPr>
              <a:t>developer experience </a:t>
            </a:r>
            <a:br>
              <a:rPr lang="en-US" sz="1600" b="0" kern="1200">
                <a:solidFill>
                  <a:srgbClr val="000000"/>
                </a:solidFill>
                <a:latin typeface="72" panose="020B0503030000000003" pitchFamily="34" charset="0"/>
                <a:cs typeface="72" panose="020B0503030000000003" pitchFamily="34" charset="0"/>
              </a:rPr>
            </a:br>
            <a:r>
              <a:rPr lang="en-US" sz="1600" b="0" kern="1200">
                <a:solidFill>
                  <a:srgbClr val="000000"/>
                </a:solidFill>
                <a:latin typeface="72" panose="020B0503030000000003" pitchFamily="34" charset="0"/>
                <a:cs typeface="72" panose="020B0503030000000003" pitchFamily="34" charset="0"/>
              </a:rPr>
              <a:t>to drive productivit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6EF76C1-115A-C7FD-E423-71DBB054D4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870" y="463012"/>
            <a:ext cx="11183564" cy="553998"/>
          </a:xfrm>
        </p:spPr>
        <p:txBody>
          <a:bodyPr/>
          <a:lstStyle/>
          <a:p>
            <a:r>
              <a:rPr lang="en-US"/>
              <a:t>SAP Build Code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DDFC5C5A-0017-AD82-1F98-4526CBAE8913}"/>
              </a:ext>
            </a:extLst>
          </p:cNvPr>
          <p:cNvSpPr txBox="1"/>
          <p:nvPr/>
        </p:nvSpPr>
        <p:spPr>
          <a:xfrm>
            <a:off x="8496550" y="1615348"/>
            <a:ext cx="3209998" cy="49231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de-DE"/>
            </a:defPPr>
            <a:lvl1pPr marR="0" lvl="0" indent="0" fontAlgn="base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 kumimoji="0" sz="1200" b="1" i="0" u="none" strike="noStrike" kern="0" cap="none" spc="0" normalizeH="0" baseline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algn="ctr" defTabSz="1086818" eaLnBrk="1" hangingPunct="1">
              <a:defRPr/>
            </a:pPr>
            <a:r>
              <a:rPr lang="en-US" sz="1600" kern="1200">
                <a:solidFill>
                  <a:srgbClr val="000000"/>
                </a:solidFill>
                <a:latin typeface="72" panose="020B0503030000000003" pitchFamily="34" charset="0"/>
                <a:cs typeface="72" panose="020B0503030000000003" pitchFamily="34" charset="0"/>
              </a:rPr>
              <a:t>Enhanced </a:t>
            </a:r>
            <a:r>
              <a:rPr lang="en-US" sz="1600" b="0" kern="1200">
                <a:solidFill>
                  <a:srgbClr val="000000"/>
                </a:solidFill>
                <a:latin typeface="72" panose="020B0503030000000003" pitchFamily="34" charset="0"/>
                <a:cs typeface="72" panose="020B0503030000000003" pitchFamily="34" charset="0"/>
              </a:rPr>
              <a:t>fusion development between IT and business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FE2E025-6243-BF35-94AB-17888C46CFA6}"/>
              </a:ext>
            </a:extLst>
          </p:cNvPr>
          <p:cNvSpPr txBox="1"/>
          <p:nvPr/>
        </p:nvSpPr>
        <p:spPr>
          <a:xfrm>
            <a:off x="609443" y="4089130"/>
            <a:ext cx="3655894" cy="50278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 anchorCtr="0">
            <a:noAutofit/>
          </a:bodyPr>
          <a:lstStyle>
            <a:defPPr>
              <a:defRPr lang="de-DE"/>
            </a:defPPr>
            <a:lvl1pPr marR="0" lvl="0" indent="0" fontAlgn="base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 kumimoji="0" sz="1200" b="1" i="0" u="none" strike="noStrike" kern="0" cap="none" spc="0" normalizeH="0" baseline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algn="ctr" defTabSz="685774" eaLnBrk="1" hangingPunct="1">
              <a:spcBef>
                <a:spcPts val="0"/>
              </a:spcBef>
              <a:spcAft>
                <a:spcPts val="1200"/>
              </a:spcAft>
              <a:defRPr/>
            </a:pPr>
            <a:r>
              <a:rPr lang="en-US" b="0">
                <a:solidFill>
                  <a:srgbClr val="000000"/>
                </a:solidFill>
                <a:latin typeface="72" panose="020B0503030000000003" pitchFamily="34" charset="0"/>
                <a:ea typeface="Arial Unicode MS"/>
                <a:cs typeface="72" panose="020B0503030000000003" pitchFamily="34" charset="0"/>
              </a:rPr>
              <a:t>Generative AI-powered app development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7BAFF0C-3C53-973B-814F-F25E44581052}"/>
              </a:ext>
            </a:extLst>
          </p:cNvPr>
          <p:cNvSpPr txBox="1"/>
          <p:nvPr/>
        </p:nvSpPr>
        <p:spPr>
          <a:xfrm>
            <a:off x="609443" y="4750059"/>
            <a:ext cx="3655894" cy="50278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 anchorCtr="0">
            <a:noAutofit/>
          </a:bodyPr>
          <a:lstStyle>
            <a:defPPr>
              <a:defRPr lang="de-DE"/>
            </a:defPPr>
            <a:lvl1pPr marR="0" lvl="0" indent="0" fontAlgn="base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 kumimoji="0" sz="1200" b="1" i="0" u="none" strike="noStrike" kern="0" cap="none" spc="0" normalizeH="0" baseline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algn="ctr" defTabSz="685774">
              <a:spcBef>
                <a:spcPts val="0"/>
              </a:spcBef>
              <a:spcAft>
                <a:spcPts val="1200"/>
              </a:spcAft>
              <a:defRPr/>
            </a:pPr>
            <a:r>
              <a:rPr lang="en-US" b="0">
                <a:solidFill>
                  <a:srgbClr val="000000"/>
                </a:solidFill>
                <a:latin typeface="72" panose="020B0503030000000003" pitchFamily="34" charset="0"/>
                <a:ea typeface="Arial Unicode MS"/>
                <a:cs typeface="72" panose="020B0503030000000003" pitchFamily="34" charset="0"/>
              </a:rPr>
              <a:t>Turnkey development solution including </a:t>
            </a:r>
            <a:br>
              <a:rPr lang="en-US" b="0">
                <a:solidFill>
                  <a:srgbClr val="000000"/>
                </a:solidFill>
                <a:latin typeface="72" panose="020B0503030000000003" pitchFamily="34" charset="0"/>
                <a:ea typeface="Arial Unicode MS"/>
                <a:cs typeface="72" panose="020B0503030000000003" pitchFamily="34" charset="0"/>
              </a:rPr>
            </a:br>
            <a:r>
              <a:rPr lang="en-US" b="0">
                <a:solidFill>
                  <a:srgbClr val="000000"/>
                </a:solidFill>
                <a:latin typeface="72" panose="020B0503030000000003" pitchFamily="34" charset="0"/>
                <a:ea typeface="Arial Unicode MS"/>
                <a:cs typeface="72" panose="020B0503030000000003" pitchFamily="34" charset="0"/>
              </a:rPr>
              <a:t>SAP best practices 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6F445D01-CD6C-CFFA-5E1E-9D4F8181DDD7}"/>
              </a:ext>
            </a:extLst>
          </p:cNvPr>
          <p:cNvSpPr txBox="1"/>
          <p:nvPr/>
        </p:nvSpPr>
        <p:spPr>
          <a:xfrm>
            <a:off x="609443" y="5410989"/>
            <a:ext cx="3655894" cy="50278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 anchorCtr="0">
            <a:noAutofit/>
          </a:bodyPr>
          <a:lstStyle>
            <a:defPPr>
              <a:defRPr lang="de-DE"/>
            </a:defPPr>
            <a:lvl1pPr marR="0" lvl="0" indent="0" fontAlgn="base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 kumimoji="0" sz="1200" b="1" i="0" u="none" strike="noStrike" kern="0" cap="none" spc="0" normalizeH="0" baseline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algn="ctr" defTabSz="685774">
              <a:spcBef>
                <a:spcPts val="0"/>
              </a:spcBef>
              <a:spcAft>
                <a:spcPts val="1200"/>
              </a:spcAft>
              <a:defRPr/>
            </a:pPr>
            <a:r>
              <a:rPr lang="en-US" b="0">
                <a:solidFill>
                  <a:srgbClr val="000000"/>
                </a:solidFill>
                <a:latin typeface="72" panose="020B0503030000000003" pitchFamily="34" charset="0"/>
                <a:ea typeface="Arial Unicode MS"/>
                <a:cs typeface="72" panose="020B0503030000000003" pitchFamily="34" charset="0"/>
              </a:rPr>
              <a:t>Choice of programming language (Java, JavaScript) and IDE (built-in or Visual Studio Code)</a:t>
            </a:r>
            <a:endParaRPr lang="en-US">
              <a:solidFill>
                <a:srgbClr val="F0AB00"/>
              </a:solidFill>
              <a:latin typeface="72" panose="020B0503030000000003" pitchFamily="34" charset="0"/>
              <a:cs typeface="72" panose="020B0503030000000003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F154E24-7F39-6AB4-6A56-E3ACFABB4733}"/>
              </a:ext>
            </a:extLst>
          </p:cNvPr>
          <p:cNvSpPr txBox="1"/>
          <p:nvPr/>
        </p:nvSpPr>
        <p:spPr>
          <a:xfrm>
            <a:off x="4483412" y="4089130"/>
            <a:ext cx="3594599" cy="50278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 anchorCtr="0">
            <a:noAutofit/>
          </a:bodyPr>
          <a:lstStyle>
            <a:defPPr>
              <a:defRPr lang="de-DE"/>
            </a:defPPr>
            <a:lvl1pPr marR="0" lvl="0" indent="0" fontAlgn="base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 kumimoji="0" sz="1200" b="1" i="0" u="none" strike="noStrike" kern="0" cap="none" spc="0" normalizeH="0" baseline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algn="ctr" defTabSz="685774" eaLnBrk="1" hangingPunct="1">
              <a:spcBef>
                <a:spcPts val="0"/>
              </a:spcBef>
              <a:spcAft>
                <a:spcPts val="1200"/>
              </a:spcAft>
              <a:defRPr/>
            </a:pPr>
            <a:r>
              <a:rPr lang="en-US" b="0">
                <a:solidFill>
                  <a:srgbClr val="000000"/>
                </a:solidFill>
                <a:latin typeface="72" panose="020B0503030000000003" pitchFamily="34" charset="0"/>
                <a:cs typeface="72" panose="020B0503030000000003" pitchFamily="34" charset="0"/>
              </a:rPr>
              <a:t>Prebuilt integration with SAP and </a:t>
            </a:r>
            <a:br>
              <a:rPr lang="en-US" b="0">
                <a:solidFill>
                  <a:srgbClr val="000000"/>
                </a:solidFill>
                <a:latin typeface="72" panose="020B0503030000000003" pitchFamily="34" charset="0"/>
                <a:cs typeface="72" panose="020B0503030000000003" pitchFamily="34" charset="0"/>
              </a:rPr>
            </a:br>
            <a:r>
              <a:rPr lang="en-US" b="0">
                <a:solidFill>
                  <a:srgbClr val="000000"/>
                </a:solidFill>
                <a:latin typeface="72" panose="020B0503030000000003" pitchFamily="34" charset="0"/>
                <a:cs typeface="72" panose="020B0503030000000003" pitchFamily="34" charset="0"/>
              </a:rPr>
              <a:t>non-SAP systems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C8E81A76-46ED-F519-BB66-90821CA61BE9}"/>
              </a:ext>
            </a:extLst>
          </p:cNvPr>
          <p:cNvSpPr txBox="1"/>
          <p:nvPr/>
        </p:nvSpPr>
        <p:spPr>
          <a:xfrm>
            <a:off x="4483412" y="4750059"/>
            <a:ext cx="3594599" cy="50278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 anchorCtr="0">
            <a:noAutofit/>
          </a:bodyPr>
          <a:lstStyle>
            <a:defPPr>
              <a:defRPr lang="de-DE"/>
            </a:defPPr>
            <a:lvl1pPr marR="0" lvl="0" indent="0" fontAlgn="base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 kumimoji="0" sz="1200" b="1" i="0" u="none" strike="noStrike" kern="0" cap="none" spc="0" normalizeH="0" baseline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algn="ctr" defTabSz="685774">
              <a:spcBef>
                <a:spcPts val="0"/>
              </a:spcBef>
              <a:spcAft>
                <a:spcPts val="1200"/>
              </a:spcAft>
              <a:defRPr/>
            </a:pPr>
            <a:r>
              <a:rPr lang="en-US" b="0">
                <a:solidFill>
                  <a:srgbClr val="000000"/>
                </a:solidFill>
                <a:latin typeface="72" panose="020B0503030000000003" pitchFamily="34" charset="0"/>
                <a:ea typeface="Arial Unicode MS"/>
                <a:cs typeface="72" panose="020B0503030000000003" pitchFamily="34" charset="0"/>
              </a:rPr>
              <a:t>Trusted security for authentication, </a:t>
            </a:r>
            <a:br>
              <a:rPr lang="en-US" b="0">
                <a:solidFill>
                  <a:srgbClr val="000000"/>
                </a:solidFill>
                <a:latin typeface="72" panose="020B0503030000000003" pitchFamily="34" charset="0"/>
                <a:ea typeface="Arial Unicode MS"/>
                <a:cs typeface="72" panose="020B0503030000000003" pitchFamily="34" charset="0"/>
              </a:rPr>
            </a:br>
            <a:r>
              <a:rPr lang="en-US" b="0">
                <a:solidFill>
                  <a:srgbClr val="000000"/>
                </a:solidFill>
                <a:latin typeface="72" panose="020B0503030000000003" pitchFamily="34" charset="0"/>
                <a:ea typeface="Arial Unicode MS"/>
                <a:cs typeface="72" panose="020B0503030000000003" pitchFamily="34" charset="0"/>
              </a:rPr>
              <a:t>authorization, and data protection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84B88F86-5402-217E-AEB4-FCCF3B86E28E}"/>
              </a:ext>
            </a:extLst>
          </p:cNvPr>
          <p:cNvSpPr txBox="1"/>
          <p:nvPr/>
        </p:nvSpPr>
        <p:spPr>
          <a:xfrm>
            <a:off x="4483412" y="5410989"/>
            <a:ext cx="3594599" cy="50278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 anchorCtr="0">
            <a:noAutofit/>
          </a:bodyPr>
          <a:lstStyle>
            <a:defPPr>
              <a:defRPr lang="de-DE"/>
            </a:defPPr>
            <a:lvl1pPr marR="0" lvl="0" indent="0" fontAlgn="base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 kumimoji="0" sz="1200" b="1" i="0" u="none" strike="noStrike" kern="0" cap="none" spc="0" normalizeH="0" baseline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algn="ctr" defTabSz="685774" eaLnBrk="1" hangingPunct="1">
              <a:spcBef>
                <a:spcPts val="0"/>
              </a:spcBef>
              <a:spcAft>
                <a:spcPts val="1200"/>
              </a:spcAft>
              <a:defRPr/>
            </a:pPr>
            <a:r>
              <a:rPr lang="en-US" b="0">
                <a:solidFill>
                  <a:srgbClr val="000000"/>
                </a:solidFill>
                <a:latin typeface="72" panose="020B0503030000000003" pitchFamily="34" charset="0"/>
                <a:cs typeface="72" panose="020B0503030000000003" pitchFamily="34" charset="0"/>
              </a:rPr>
              <a:t>Extensibility for SAP S/4HANA and other systems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F79A18ED-9661-D4C7-9E05-0C14CEF9E833}"/>
              </a:ext>
            </a:extLst>
          </p:cNvPr>
          <p:cNvSpPr txBox="1"/>
          <p:nvPr/>
        </p:nvSpPr>
        <p:spPr>
          <a:xfrm>
            <a:off x="8306971" y="4089130"/>
            <a:ext cx="3594599" cy="50278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 anchorCtr="0">
            <a:noAutofit/>
          </a:bodyPr>
          <a:lstStyle>
            <a:defPPr>
              <a:defRPr lang="de-DE"/>
            </a:defPPr>
            <a:lvl1pPr marR="0" lvl="0" indent="0" fontAlgn="base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 kumimoji="0" sz="1200" b="1" i="0" u="none" strike="noStrike" kern="0" cap="none" spc="0" normalizeH="0" baseline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algn="ctr" defTabSz="685774" eaLnBrk="1" hangingPunct="1">
              <a:spcBef>
                <a:spcPts val="0"/>
              </a:spcBef>
              <a:spcAft>
                <a:spcPts val="1200"/>
              </a:spcAft>
              <a:defRPr/>
            </a:pPr>
            <a:r>
              <a:rPr lang="en-US" b="0">
                <a:solidFill>
                  <a:srgbClr val="000000"/>
                </a:solidFill>
                <a:latin typeface="72" panose="020B0503030000000003" pitchFamily="34" charset="0"/>
                <a:ea typeface="Arial Unicode MS"/>
                <a:cs typeface="72" panose="020B0503030000000003" pitchFamily="34" charset="0"/>
              </a:rPr>
              <a:t>Secure collaboration with </a:t>
            </a:r>
            <a:br>
              <a:rPr lang="en-US" b="0">
                <a:solidFill>
                  <a:srgbClr val="000000"/>
                </a:solidFill>
                <a:latin typeface="72" panose="020B0503030000000003" pitchFamily="34" charset="0"/>
                <a:ea typeface="Arial Unicode MS"/>
                <a:cs typeface="72" panose="020B0503030000000003" pitchFamily="34" charset="0"/>
              </a:rPr>
            </a:br>
            <a:r>
              <a:rPr lang="en-US" b="0">
                <a:solidFill>
                  <a:srgbClr val="000000"/>
                </a:solidFill>
                <a:latin typeface="72" panose="020B0503030000000003" pitchFamily="34" charset="0"/>
                <a:ea typeface="Arial Unicode MS"/>
                <a:cs typeface="72" panose="020B0503030000000003" pitchFamily="34" charset="0"/>
              </a:rPr>
              <a:t>SAP Build low-code solutions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BD8D9115-4885-49F6-374D-EC7512CE009F}"/>
              </a:ext>
            </a:extLst>
          </p:cNvPr>
          <p:cNvSpPr txBox="1"/>
          <p:nvPr/>
        </p:nvSpPr>
        <p:spPr>
          <a:xfrm>
            <a:off x="8306971" y="4750059"/>
            <a:ext cx="3594599" cy="50278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 anchorCtr="0">
            <a:noAutofit/>
          </a:bodyPr>
          <a:lstStyle>
            <a:defPPr>
              <a:defRPr lang="de-DE"/>
            </a:defPPr>
            <a:lvl1pPr marR="0" lvl="0" indent="0" fontAlgn="base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 kumimoji="0" sz="1200" b="1" i="0" u="none" strike="noStrike" kern="0" cap="none" spc="0" normalizeH="0" baseline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algn="ctr" defTabSz="685774">
              <a:spcBef>
                <a:spcPts val="0"/>
              </a:spcBef>
              <a:spcAft>
                <a:spcPts val="1200"/>
              </a:spcAft>
              <a:defRPr/>
            </a:pPr>
            <a:r>
              <a:rPr lang="en-US" b="0">
                <a:solidFill>
                  <a:srgbClr val="000000"/>
                </a:solidFill>
                <a:latin typeface="72" panose="020B0503030000000003" pitchFamily="34" charset="0"/>
                <a:ea typeface="Arial Unicode MS"/>
                <a:cs typeface="72" panose="020B0503030000000003" pitchFamily="34" charset="0"/>
              </a:rPr>
              <a:t>App composability enables developer flexibility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867A2158-064A-50D7-8B71-B52C1CA3562A}"/>
              </a:ext>
            </a:extLst>
          </p:cNvPr>
          <p:cNvSpPr txBox="1"/>
          <p:nvPr/>
        </p:nvSpPr>
        <p:spPr>
          <a:xfrm>
            <a:off x="8306971" y="5410989"/>
            <a:ext cx="3594599" cy="50278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 anchorCtr="0">
            <a:noAutofit/>
          </a:bodyPr>
          <a:lstStyle>
            <a:defPPr>
              <a:defRPr lang="de-DE"/>
            </a:defPPr>
            <a:lvl1pPr marR="0" lvl="0" indent="0" fontAlgn="base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 kumimoji="0" sz="1200" b="1" i="0" u="none" strike="noStrike" kern="0" cap="none" spc="0" normalizeH="0" baseline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algn="ctr" defTabSz="685774" eaLnBrk="1" hangingPunct="1">
              <a:spcBef>
                <a:spcPts val="0"/>
              </a:spcBef>
              <a:spcAft>
                <a:spcPts val="1200"/>
              </a:spcAft>
              <a:defRPr/>
            </a:pPr>
            <a:r>
              <a:rPr lang="en-US" b="0">
                <a:solidFill>
                  <a:srgbClr val="000000"/>
                </a:solidFill>
                <a:latin typeface="72" panose="020B0503030000000003" pitchFamily="34" charset="0"/>
                <a:ea typeface="Arial Unicode MS"/>
                <a:cs typeface="72" panose="020B0503030000000003" pitchFamily="34" charset="0"/>
              </a:rPr>
              <a:t>Interoperability with ABAP Environment</a:t>
            </a:r>
            <a:endParaRPr lang="en-US">
              <a:solidFill>
                <a:srgbClr val="F0AB00"/>
              </a:solidFill>
              <a:latin typeface="72" panose="020B0503030000000003" pitchFamily="34" charset="0"/>
              <a:ea typeface="Arial Unicode MS"/>
              <a:cs typeface="72" panose="020B0503030000000003" pitchFamily="34" charset="0"/>
            </a:endParaRPr>
          </a:p>
        </p:txBody>
      </p:sp>
      <p:pic>
        <p:nvPicPr>
          <p:cNvPr id="10" name="Picture 9" descr="A person looking at a computer&#10;&#10;Description automatically generated">
            <a:extLst>
              <a:ext uri="{FF2B5EF4-FFF2-40B4-BE49-F238E27FC236}">
                <a16:creationId xmlns:a16="http://schemas.microsoft.com/office/drawing/2014/main" id="{0EA5FEF3-C297-5858-7160-4961E7330745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15305" b="10279"/>
          <a:stretch/>
        </p:blipFill>
        <p:spPr>
          <a:xfrm>
            <a:off x="672681" y="2156443"/>
            <a:ext cx="3583716" cy="1777894"/>
          </a:xfrm>
          <a:custGeom>
            <a:avLst/>
            <a:gdLst>
              <a:gd name="connsiteX0" fmla="*/ 0 w 3584649"/>
              <a:gd name="connsiteY0" fmla="*/ 0 h 1778357"/>
              <a:gd name="connsiteX1" fmla="*/ 3584649 w 3584649"/>
              <a:gd name="connsiteY1" fmla="*/ 0 h 1778357"/>
              <a:gd name="connsiteX2" fmla="*/ 1833138 w 3584649"/>
              <a:gd name="connsiteY2" fmla="*/ 1778357 h 1778357"/>
              <a:gd name="connsiteX3" fmla="*/ 0 w 3584649"/>
              <a:gd name="connsiteY3" fmla="*/ 1775011 h 1778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84649" h="1778357">
                <a:moveTo>
                  <a:pt x="0" y="0"/>
                </a:moveTo>
                <a:lnTo>
                  <a:pt x="3584649" y="0"/>
                </a:lnTo>
                <a:lnTo>
                  <a:pt x="1833138" y="1778357"/>
                </a:lnTo>
                <a:lnTo>
                  <a:pt x="0" y="177501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751814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4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4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4" grpId="0" animBg="1"/>
      <p:bldP spid="2" grpId="0" animBg="1"/>
    </p:bldLst>
  </p:timing>
  <p:extLst>
    <p:ext uri="{6950BFC3-D8DA-4A85-94F7-54DA5524770B}">
      <p188:commentRel xmlns:p188="http://schemas.microsoft.com/office/powerpoint/2018/8/main" r:id="rId3"/>
    </p:ext>
  </p:extLs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8B040C3C-339D-63F5-A3EE-2BE8C62E3A82}"/>
              </a:ext>
            </a:extLst>
          </p:cNvPr>
          <p:cNvSpPr/>
          <p:nvPr/>
        </p:nvSpPr>
        <p:spPr bwMode="gray">
          <a:xfrm>
            <a:off x="1159609" y="1906536"/>
            <a:ext cx="1256314" cy="3770211"/>
          </a:xfrm>
          <a:prstGeom prst="roundRect">
            <a:avLst>
              <a:gd name="adj" fmla="val 7783"/>
            </a:avLst>
          </a:prstGeom>
          <a:solidFill>
            <a:schemeClr val="bg1"/>
          </a:solidFill>
          <a:ln w="12700" algn="ctr">
            <a:noFill/>
            <a:miter lim="800000"/>
            <a:headEnd/>
            <a:tailEnd/>
          </a:ln>
          <a:effectLst>
            <a:outerShdw blurRad="101600" dist="76200" sx="98000" sy="98000" algn="l" rotWithShape="0">
              <a:prstClr val="black">
                <a:alpha val="23000"/>
              </a:prstClr>
            </a:outerShdw>
          </a:effectLst>
        </p:spPr>
        <p:txBody>
          <a:bodyPr lIns="89885" tIns="71905" rIns="89885" bIns="71905" rtlCol="0" anchor="ctr"/>
          <a:lstStyle/>
          <a:p>
            <a:pPr algn="ctr" defTabSz="913030">
              <a:spcBef>
                <a:spcPct val="50000"/>
              </a:spcBef>
              <a:buClr>
                <a:srgbClr val="F0AB00"/>
              </a:buClr>
              <a:buSzPct val="80000"/>
            </a:pPr>
            <a:endParaRPr lang="en-US" sz="1050" kern="0">
              <a:solidFill>
                <a:srgbClr val="000000"/>
              </a:solidFill>
              <a:latin typeface="72" panose="020B0503030000000003" pitchFamily="34" charset="0"/>
              <a:ea typeface="Arial Unicode MS" pitchFamily="34" charset="-128"/>
              <a:cs typeface="72" panose="020B05030300000000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7D1641F-A3FF-C629-881F-65D74A322996}"/>
              </a:ext>
            </a:extLst>
          </p:cNvPr>
          <p:cNvSpPr/>
          <p:nvPr/>
        </p:nvSpPr>
        <p:spPr bwMode="gray">
          <a:xfrm>
            <a:off x="3019574" y="1297643"/>
            <a:ext cx="8809957" cy="4421581"/>
          </a:xfrm>
          <a:prstGeom prst="rect">
            <a:avLst/>
          </a:prstGeom>
          <a:solidFill>
            <a:srgbClr val="8A8CFF">
              <a:alpha val="8464"/>
            </a:srgbClr>
          </a:solidFill>
          <a:ln w="6350">
            <a:solidFill>
              <a:schemeClr val="tx2">
                <a:lumMod val="60000"/>
                <a:lumOff val="40000"/>
              </a:schemeClr>
            </a:solidFill>
            <a:headEnd/>
            <a:tailEnd/>
          </a:ln>
          <a:effec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89977" tIns="71981" rIns="89977" bIns="71981" rtlCol="0" anchor="ctr"/>
          <a:lstStyle/>
          <a:p>
            <a:pPr algn="ctr" defTabSz="914126" eaLnBrk="1" hangingPunct="1">
              <a:spcBef>
                <a:spcPct val="50000"/>
              </a:spcBef>
              <a:buClr>
                <a:srgbClr val="F0AB00"/>
              </a:buClr>
              <a:buSzPct val="80000"/>
              <a:defRPr/>
            </a:pPr>
            <a:endParaRPr lang="en-US" sz="1799" kern="0">
              <a:solidFill>
                <a:srgbClr val="000000"/>
              </a:solidFill>
              <a:latin typeface="72" panose="020B0503030000000003" pitchFamily="34" charset="0"/>
              <a:ea typeface="Arial Unicode MS" pitchFamily="34" charset="-128"/>
              <a:cs typeface="72" panose="020B0503030000000003" pitchFamily="34" charset="0"/>
            </a:endParaRPr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195773A5-D752-D9FE-BFFF-5FD1A759A117}"/>
              </a:ext>
            </a:extLst>
          </p:cNvPr>
          <p:cNvSpPr/>
          <p:nvPr/>
        </p:nvSpPr>
        <p:spPr bwMode="gray">
          <a:xfrm>
            <a:off x="4339245" y="1842948"/>
            <a:ext cx="1638598" cy="685621"/>
          </a:xfrm>
          <a:prstGeom prst="roundRect">
            <a:avLst>
              <a:gd name="adj" fmla="val 8396"/>
            </a:avLst>
          </a:prstGeom>
          <a:solidFill>
            <a:schemeClr val="bg1"/>
          </a:solidFill>
          <a:ln w="12700" algn="ctr">
            <a:noFill/>
            <a:miter lim="800000"/>
            <a:headEnd/>
            <a:tailEnd/>
          </a:ln>
          <a:effectLst>
            <a:outerShdw blurRad="101600" dist="76200" sx="98000" sy="98000" algn="l" rotWithShape="0">
              <a:prstClr val="black">
                <a:alpha val="23000"/>
              </a:prstClr>
            </a:outerShdw>
          </a:effectLst>
        </p:spPr>
        <p:txBody>
          <a:bodyPr lIns="89885" tIns="71905" rIns="89885" bIns="71905" rtlCol="0" anchor="ctr"/>
          <a:lstStyle/>
          <a:p>
            <a:pPr algn="ctr" defTabSz="913030">
              <a:spcBef>
                <a:spcPct val="50000"/>
              </a:spcBef>
              <a:buClr>
                <a:srgbClr val="F0AB00"/>
              </a:buClr>
              <a:buSzPct val="80000"/>
            </a:pPr>
            <a:r>
              <a:rPr lang="en-US" sz="1050" kern="0">
                <a:solidFill>
                  <a:srgbClr val="000000"/>
                </a:solidFill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  <a:t>SAP Fiori elements</a:t>
            </a:r>
          </a:p>
        </p:txBody>
      </p:sp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4BBB1AF0-E720-CB48-80BE-D2C947988E73}"/>
              </a:ext>
            </a:extLst>
          </p:cNvPr>
          <p:cNvSpPr/>
          <p:nvPr/>
        </p:nvSpPr>
        <p:spPr bwMode="gray">
          <a:xfrm>
            <a:off x="6041811" y="1846734"/>
            <a:ext cx="1638598" cy="685621"/>
          </a:xfrm>
          <a:prstGeom prst="roundRect">
            <a:avLst>
              <a:gd name="adj" fmla="val 8396"/>
            </a:avLst>
          </a:prstGeom>
          <a:solidFill>
            <a:schemeClr val="bg1"/>
          </a:solidFill>
          <a:ln w="12700" algn="ctr">
            <a:noFill/>
            <a:miter lim="800000"/>
            <a:headEnd/>
            <a:tailEnd/>
          </a:ln>
          <a:effectLst>
            <a:outerShdw blurRad="101600" dist="76200" sx="98000" sy="98000" algn="l" rotWithShape="0">
              <a:prstClr val="black">
                <a:alpha val="23000"/>
              </a:prstClr>
            </a:outerShdw>
          </a:effectLst>
        </p:spPr>
        <p:txBody>
          <a:bodyPr lIns="89885" tIns="71905" rIns="89885" bIns="71905" rtlCol="0" anchor="ctr"/>
          <a:lstStyle/>
          <a:p>
            <a:pPr algn="ctr" defTabSz="913030">
              <a:spcBef>
                <a:spcPct val="50000"/>
              </a:spcBef>
              <a:buClr>
                <a:srgbClr val="F0AB00"/>
              </a:buClr>
              <a:buSzPct val="80000"/>
            </a:pPr>
            <a:r>
              <a:rPr lang="en-US" sz="1050" kern="0">
                <a:solidFill>
                  <a:srgbClr val="000000"/>
                </a:solidFill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  <a:t>SAPUI5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3070CF66-D1C7-62D3-F0B8-EB091C29F809}"/>
              </a:ext>
            </a:extLst>
          </p:cNvPr>
          <p:cNvSpPr/>
          <p:nvPr/>
        </p:nvSpPr>
        <p:spPr bwMode="gray">
          <a:xfrm>
            <a:off x="10100221" y="1857271"/>
            <a:ext cx="1638598" cy="685621"/>
          </a:xfrm>
          <a:prstGeom prst="roundRect">
            <a:avLst>
              <a:gd name="adj" fmla="val 8396"/>
            </a:avLst>
          </a:prstGeom>
          <a:solidFill>
            <a:schemeClr val="bg1"/>
          </a:solidFill>
          <a:ln w="12700" algn="ctr">
            <a:noFill/>
            <a:miter lim="800000"/>
            <a:headEnd/>
            <a:tailEnd/>
          </a:ln>
          <a:effectLst>
            <a:outerShdw blurRad="101600" dist="76200" sx="98000" sy="98000" algn="l" rotWithShape="0">
              <a:prstClr val="black">
                <a:alpha val="23000"/>
              </a:prstClr>
            </a:outerShdw>
          </a:effectLst>
        </p:spPr>
        <p:txBody>
          <a:bodyPr lIns="89885" tIns="71905" rIns="89885" bIns="71905" rtlCol="0" anchor="ctr"/>
          <a:lstStyle/>
          <a:p>
            <a:pPr algn="ctr" defTabSz="913030">
              <a:spcBef>
                <a:spcPct val="50000"/>
              </a:spcBef>
              <a:buClr>
                <a:srgbClr val="F0AB00"/>
              </a:buClr>
              <a:buSzPct val="80000"/>
            </a:pPr>
            <a:r>
              <a:rPr lang="en-US" sz="1050" kern="0">
                <a:solidFill>
                  <a:srgbClr val="000000"/>
                </a:solidFill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  <a:t>UI5 Web Components</a:t>
            </a:r>
          </a:p>
        </p:txBody>
      </p:sp>
      <p:sp>
        <p:nvSpPr>
          <p:cNvPr id="15" name="Magnetic Disk 14">
            <a:extLst>
              <a:ext uri="{FF2B5EF4-FFF2-40B4-BE49-F238E27FC236}">
                <a16:creationId xmlns:a16="http://schemas.microsoft.com/office/drawing/2014/main" id="{69148BC5-3AF9-C2FB-186B-7810E2B58C48}"/>
              </a:ext>
            </a:extLst>
          </p:cNvPr>
          <p:cNvSpPr/>
          <p:nvPr/>
        </p:nvSpPr>
        <p:spPr bwMode="gray">
          <a:xfrm>
            <a:off x="4593439" y="4994884"/>
            <a:ext cx="2183946" cy="540804"/>
          </a:xfrm>
          <a:prstGeom prst="flowChartMagneticDisk">
            <a:avLst/>
          </a:prstGeom>
          <a:noFill/>
          <a:ln w="9525" algn="ctr">
            <a:solidFill>
              <a:srgbClr val="470BED"/>
            </a:solidFill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algn="ctr" defTabSz="914126" eaLnBrk="1" hangingPunct="1">
              <a:spcBef>
                <a:spcPct val="50000"/>
              </a:spcBef>
              <a:buClr>
                <a:srgbClr val="F0AB00"/>
              </a:buClr>
              <a:buSzPct val="80000"/>
              <a:defRPr/>
            </a:pPr>
            <a:r>
              <a:rPr lang="en-US" sz="1050" b="1" kern="0">
                <a:solidFill>
                  <a:srgbClr val="460BED"/>
                </a:solidFill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  <a:t>SAP HANA Database</a:t>
            </a:r>
          </a:p>
        </p:txBody>
      </p:sp>
      <p:sp>
        <p:nvSpPr>
          <p:cNvPr id="16" name="Rounded Rectangle 15">
            <a:extLst>
              <a:ext uri="{FF2B5EF4-FFF2-40B4-BE49-F238E27FC236}">
                <a16:creationId xmlns:a16="http://schemas.microsoft.com/office/drawing/2014/main" id="{B2FF5710-CB1E-F454-C0CE-70CCC3DBD4B3}"/>
              </a:ext>
            </a:extLst>
          </p:cNvPr>
          <p:cNvSpPr/>
          <p:nvPr/>
        </p:nvSpPr>
        <p:spPr bwMode="gray">
          <a:xfrm>
            <a:off x="7088677" y="4994883"/>
            <a:ext cx="4259691" cy="540805"/>
          </a:xfrm>
          <a:prstGeom prst="roundRect">
            <a:avLst>
              <a:gd name="adj" fmla="val 8396"/>
            </a:avLst>
          </a:prstGeom>
          <a:noFill/>
          <a:ln w="9525" algn="ctr">
            <a:solidFill>
              <a:srgbClr val="470BED"/>
            </a:solidFill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algn="ctr" defTabSz="914126" eaLnBrk="1" hangingPunct="1">
              <a:spcBef>
                <a:spcPct val="50000"/>
              </a:spcBef>
              <a:buClr>
                <a:srgbClr val="F0AB00"/>
              </a:buClr>
              <a:buSzPct val="80000"/>
              <a:defRPr/>
            </a:pPr>
            <a:r>
              <a:rPr lang="en-US" sz="1050" b="1" kern="0">
                <a:solidFill>
                  <a:srgbClr val="460BED"/>
                </a:solidFill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  <a:t>SAP BTP</a:t>
            </a:r>
            <a:br>
              <a:rPr lang="en-US" sz="1050" b="1" kern="0">
                <a:solidFill>
                  <a:srgbClr val="460BED"/>
                </a:solidFill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</a:br>
            <a:r>
              <a:rPr lang="en-US" sz="1050" b="1" kern="0">
                <a:solidFill>
                  <a:srgbClr val="460BED"/>
                </a:solidFill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  <a:t>Cloud Foundry Runtime</a:t>
            </a:r>
          </a:p>
        </p:txBody>
      </p:sp>
      <p:sp>
        <p:nvSpPr>
          <p:cNvPr id="42" name="Rounded Rectangle 41">
            <a:extLst>
              <a:ext uri="{FF2B5EF4-FFF2-40B4-BE49-F238E27FC236}">
                <a16:creationId xmlns:a16="http://schemas.microsoft.com/office/drawing/2014/main" id="{D977ADEF-F022-618B-60D5-6789A4DBDBBE}"/>
              </a:ext>
            </a:extLst>
          </p:cNvPr>
          <p:cNvSpPr/>
          <p:nvPr/>
        </p:nvSpPr>
        <p:spPr bwMode="gray">
          <a:xfrm>
            <a:off x="4417465" y="3313233"/>
            <a:ext cx="1497603" cy="337494"/>
          </a:xfrm>
          <a:prstGeom prst="roundRect">
            <a:avLst>
              <a:gd name="adj" fmla="val 8396"/>
            </a:avLst>
          </a:prstGeom>
          <a:solidFill>
            <a:schemeClr val="bg1"/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89862" tIns="71886" rIns="89862" bIns="71886" rtlCol="0" anchor="ctr"/>
          <a:lstStyle/>
          <a:p>
            <a:pPr algn="ctr" defTabSz="912756">
              <a:spcBef>
                <a:spcPct val="50000"/>
              </a:spcBef>
              <a:buClr>
                <a:srgbClr val="F0AB00"/>
              </a:buClr>
              <a:buSzPct val="80000"/>
            </a:pPr>
            <a:r>
              <a:rPr lang="en-US" sz="1050" kern="0"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  <a:t>Continuous Integration &amp; Delivery</a:t>
            </a:r>
          </a:p>
        </p:txBody>
      </p:sp>
      <p:sp>
        <p:nvSpPr>
          <p:cNvPr id="43" name="Rounded Rectangle 42">
            <a:extLst>
              <a:ext uri="{FF2B5EF4-FFF2-40B4-BE49-F238E27FC236}">
                <a16:creationId xmlns:a16="http://schemas.microsoft.com/office/drawing/2014/main" id="{6A6F5829-C0BD-7CE7-B480-85E3E7F63BA9}"/>
              </a:ext>
            </a:extLst>
          </p:cNvPr>
          <p:cNvSpPr/>
          <p:nvPr/>
        </p:nvSpPr>
        <p:spPr bwMode="gray">
          <a:xfrm>
            <a:off x="5971100" y="3303899"/>
            <a:ext cx="1340093" cy="337494"/>
          </a:xfrm>
          <a:prstGeom prst="roundRect">
            <a:avLst>
              <a:gd name="adj" fmla="val 8396"/>
            </a:avLst>
          </a:prstGeom>
          <a:solidFill>
            <a:schemeClr val="bg1"/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89862" tIns="71886" rIns="89862" bIns="71886" rtlCol="0" anchor="ctr"/>
          <a:lstStyle/>
          <a:p>
            <a:pPr algn="ctr" defTabSz="912756">
              <a:spcBef>
                <a:spcPct val="50000"/>
              </a:spcBef>
              <a:buClr>
                <a:srgbClr val="F0AB00"/>
              </a:buClr>
              <a:buSzPct val="80000"/>
            </a:pPr>
            <a:r>
              <a:rPr lang="en-US" sz="1050" kern="0"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  <a:t>Transport Management</a:t>
            </a:r>
          </a:p>
        </p:txBody>
      </p:sp>
      <p:sp>
        <p:nvSpPr>
          <p:cNvPr id="44" name="Rounded Rectangle 43">
            <a:extLst>
              <a:ext uri="{FF2B5EF4-FFF2-40B4-BE49-F238E27FC236}">
                <a16:creationId xmlns:a16="http://schemas.microsoft.com/office/drawing/2014/main" id="{10F74255-45AF-D05D-1473-FFB67F6E58DD}"/>
              </a:ext>
            </a:extLst>
          </p:cNvPr>
          <p:cNvSpPr/>
          <p:nvPr/>
        </p:nvSpPr>
        <p:spPr bwMode="gray">
          <a:xfrm>
            <a:off x="7391782" y="3303899"/>
            <a:ext cx="1340093" cy="337494"/>
          </a:xfrm>
          <a:prstGeom prst="roundRect">
            <a:avLst>
              <a:gd name="adj" fmla="val 8396"/>
            </a:avLst>
          </a:prstGeom>
          <a:solidFill>
            <a:schemeClr val="bg1"/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89862" tIns="71886" rIns="89862" bIns="71886" rtlCol="0" anchor="ctr"/>
          <a:lstStyle/>
          <a:p>
            <a:pPr algn="ctr" defTabSz="912756">
              <a:spcBef>
                <a:spcPct val="50000"/>
              </a:spcBef>
              <a:buClr>
                <a:srgbClr val="F0AB00"/>
              </a:buClr>
              <a:buSzPct val="80000"/>
            </a:pPr>
            <a:r>
              <a:rPr lang="en-US" sz="1050" kern="0"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  <a:t>Document Management</a:t>
            </a:r>
          </a:p>
        </p:txBody>
      </p:sp>
      <p:sp>
        <p:nvSpPr>
          <p:cNvPr id="45" name="Rounded Rectangle 44">
            <a:extLst>
              <a:ext uri="{FF2B5EF4-FFF2-40B4-BE49-F238E27FC236}">
                <a16:creationId xmlns:a16="http://schemas.microsoft.com/office/drawing/2014/main" id="{91590819-8EF1-2D3E-B37E-9449BE5AD617}"/>
              </a:ext>
            </a:extLst>
          </p:cNvPr>
          <p:cNvSpPr/>
          <p:nvPr/>
        </p:nvSpPr>
        <p:spPr bwMode="gray">
          <a:xfrm>
            <a:off x="8811778" y="3303899"/>
            <a:ext cx="1340093" cy="337494"/>
          </a:xfrm>
          <a:prstGeom prst="roundRect">
            <a:avLst>
              <a:gd name="adj" fmla="val 8396"/>
            </a:avLst>
          </a:prstGeom>
          <a:solidFill>
            <a:schemeClr val="bg1"/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89862" tIns="71886" rIns="89862" bIns="71886" rtlCol="0" anchor="ctr"/>
          <a:lstStyle/>
          <a:p>
            <a:pPr algn="ctr" defTabSz="912756">
              <a:spcBef>
                <a:spcPct val="50000"/>
              </a:spcBef>
              <a:buClr>
                <a:srgbClr val="F0AB00"/>
              </a:buClr>
              <a:buSzPct val="80000"/>
            </a:pPr>
            <a:r>
              <a:rPr lang="en-US" sz="1050" kern="0"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  <a:t>Mobile Services</a:t>
            </a:r>
          </a:p>
        </p:txBody>
      </p:sp>
      <p:sp>
        <p:nvSpPr>
          <p:cNvPr id="50" name="Rounded Rectangle 49">
            <a:extLst>
              <a:ext uri="{FF2B5EF4-FFF2-40B4-BE49-F238E27FC236}">
                <a16:creationId xmlns:a16="http://schemas.microsoft.com/office/drawing/2014/main" id="{BD16EF39-F095-3E42-4845-13820565E1DF}"/>
              </a:ext>
            </a:extLst>
          </p:cNvPr>
          <p:cNvSpPr/>
          <p:nvPr/>
        </p:nvSpPr>
        <p:spPr bwMode="gray">
          <a:xfrm>
            <a:off x="10249473" y="3303899"/>
            <a:ext cx="1340093" cy="337494"/>
          </a:xfrm>
          <a:prstGeom prst="roundRect">
            <a:avLst>
              <a:gd name="adj" fmla="val 8396"/>
            </a:avLst>
          </a:prstGeom>
          <a:solidFill>
            <a:schemeClr val="bg1"/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89862" tIns="71886" rIns="89862" bIns="71886" rtlCol="0" anchor="ctr"/>
          <a:lstStyle/>
          <a:p>
            <a:pPr algn="ctr" defTabSz="912756">
              <a:spcBef>
                <a:spcPct val="50000"/>
              </a:spcBef>
              <a:buClr>
                <a:srgbClr val="F0AB00"/>
              </a:buClr>
              <a:buSzPct val="80000"/>
            </a:pPr>
            <a:r>
              <a:rPr lang="en-US" sz="1050" kern="0"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  <a:t>Alert Notification</a:t>
            </a:r>
          </a:p>
        </p:txBody>
      </p:sp>
      <p:sp>
        <p:nvSpPr>
          <p:cNvPr id="46" name="Rounded Rectangle 45">
            <a:extLst>
              <a:ext uri="{FF2B5EF4-FFF2-40B4-BE49-F238E27FC236}">
                <a16:creationId xmlns:a16="http://schemas.microsoft.com/office/drawing/2014/main" id="{FB3C8E04-DA4D-34C0-7FC4-AAA68E5B8C88}"/>
              </a:ext>
            </a:extLst>
          </p:cNvPr>
          <p:cNvSpPr/>
          <p:nvPr/>
        </p:nvSpPr>
        <p:spPr bwMode="gray">
          <a:xfrm>
            <a:off x="4568118" y="3721306"/>
            <a:ext cx="1340093" cy="337494"/>
          </a:xfrm>
          <a:prstGeom prst="roundRect">
            <a:avLst>
              <a:gd name="adj" fmla="val 8396"/>
            </a:avLst>
          </a:prstGeom>
          <a:solidFill>
            <a:schemeClr val="bg1"/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89862" tIns="71886" rIns="89862" bIns="71886" rtlCol="0" anchor="ctr"/>
          <a:lstStyle/>
          <a:p>
            <a:pPr algn="ctr" defTabSz="912756">
              <a:spcBef>
                <a:spcPct val="50000"/>
              </a:spcBef>
              <a:buClr>
                <a:srgbClr val="F0AB00"/>
              </a:buClr>
              <a:buSzPct val="80000"/>
            </a:pPr>
            <a:r>
              <a:rPr lang="en-US" sz="1050" kern="0"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  <a:t>Audit Logging</a:t>
            </a:r>
          </a:p>
        </p:txBody>
      </p:sp>
      <p:sp>
        <p:nvSpPr>
          <p:cNvPr id="47" name="Rounded Rectangle 46">
            <a:extLst>
              <a:ext uri="{FF2B5EF4-FFF2-40B4-BE49-F238E27FC236}">
                <a16:creationId xmlns:a16="http://schemas.microsoft.com/office/drawing/2014/main" id="{641EDBD7-1910-DA26-BEBD-771B18A04BFA}"/>
              </a:ext>
            </a:extLst>
          </p:cNvPr>
          <p:cNvSpPr/>
          <p:nvPr/>
        </p:nvSpPr>
        <p:spPr bwMode="gray">
          <a:xfrm>
            <a:off x="5988799" y="3721306"/>
            <a:ext cx="1340093" cy="337494"/>
          </a:xfrm>
          <a:prstGeom prst="roundRect">
            <a:avLst>
              <a:gd name="adj" fmla="val 8396"/>
            </a:avLst>
          </a:prstGeom>
          <a:solidFill>
            <a:schemeClr val="bg1"/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89862" tIns="71886" rIns="89862" bIns="71886" rtlCol="0" anchor="ctr"/>
          <a:lstStyle/>
          <a:p>
            <a:pPr algn="ctr" defTabSz="912756">
              <a:spcBef>
                <a:spcPct val="50000"/>
              </a:spcBef>
              <a:buClr>
                <a:srgbClr val="F0AB00"/>
              </a:buClr>
              <a:buSzPct val="80000"/>
            </a:pPr>
            <a:r>
              <a:rPr lang="en-US" sz="1050" kern="0"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  <a:t>Cloud Logging Service</a:t>
            </a:r>
          </a:p>
        </p:txBody>
      </p:sp>
      <p:sp>
        <p:nvSpPr>
          <p:cNvPr id="48" name="Rounded Rectangle 47">
            <a:extLst>
              <a:ext uri="{FF2B5EF4-FFF2-40B4-BE49-F238E27FC236}">
                <a16:creationId xmlns:a16="http://schemas.microsoft.com/office/drawing/2014/main" id="{4FA10241-E070-1F7A-E1BF-22CA94EC5F98}"/>
              </a:ext>
            </a:extLst>
          </p:cNvPr>
          <p:cNvSpPr/>
          <p:nvPr/>
        </p:nvSpPr>
        <p:spPr bwMode="gray">
          <a:xfrm>
            <a:off x="7409481" y="3721306"/>
            <a:ext cx="1340093" cy="337494"/>
          </a:xfrm>
          <a:prstGeom prst="roundRect">
            <a:avLst>
              <a:gd name="adj" fmla="val 8396"/>
            </a:avLst>
          </a:prstGeom>
          <a:solidFill>
            <a:schemeClr val="bg1"/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89862" tIns="71886" rIns="89862" bIns="71886" rtlCol="0" anchor="ctr"/>
          <a:lstStyle/>
          <a:p>
            <a:pPr algn="ctr" defTabSz="912756">
              <a:spcBef>
                <a:spcPct val="50000"/>
              </a:spcBef>
              <a:buClr>
                <a:srgbClr val="F0AB00"/>
              </a:buClr>
              <a:buSzPct val="80000"/>
            </a:pPr>
            <a:r>
              <a:rPr lang="en-US" sz="1050" kern="0"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  <a:t>Event Broker</a:t>
            </a:r>
          </a:p>
        </p:txBody>
      </p:sp>
      <p:sp>
        <p:nvSpPr>
          <p:cNvPr id="49" name="Rounded Rectangle 48">
            <a:extLst>
              <a:ext uri="{FF2B5EF4-FFF2-40B4-BE49-F238E27FC236}">
                <a16:creationId xmlns:a16="http://schemas.microsoft.com/office/drawing/2014/main" id="{53E21D86-D764-C6C8-BD41-563B36FC70A8}"/>
              </a:ext>
            </a:extLst>
          </p:cNvPr>
          <p:cNvSpPr/>
          <p:nvPr/>
        </p:nvSpPr>
        <p:spPr bwMode="gray">
          <a:xfrm>
            <a:off x="8829477" y="3721306"/>
            <a:ext cx="1340093" cy="337494"/>
          </a:xfrm>
          <a:prstGeom prst="roundRect">
            <a:avLst>
              <a:gd name="adj" fmla="val 8396"/>
            </a:avLst>
          </a:prstGeom>
          <a:solidFill>
            <a:schemeClr val="bg1"/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89862" tIns="71886" rIns="89862" bIns="71886" rtlCol="0" anchor="ctr"/>
          <a:lstStyle/>
          <a:p>
            <a:pPr algn="ctr" defTabSz="912756">
              <a:spcBef>
                <a:spcPct val="50000"/>
              </a:spcBef>
              <a:buClr>
                <a:srgbClr val="F0AB00"/>
              </a:buClr>
              <a:buSzPct val="80000"/>
            </a:pPr>
            <a:r>
              <a:rPr lang="en-US" sz="1050" kern="0"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  <a:t>Custom Domain</a:t>
            </a:r>
          </a:p>
        </p:txBody>
      </p:sp>
      <p:sp>
        <p:nvSpPr>
          <p:cNvPr id="51" name="Rounded Rectangle 50">
            <a:extLst>
              <a:ext uri="{FF2B5EF4-FFF2-40B4-BE49-F238E27FC236}">
                <a16:creationId xmlns:a16="http://schemas.microsoft.com/office/drawing/2014/main" id="{8C5B8AA0-BBF3-441D-4E9A-7B4DBBFD1916}"/>
              </a:ext>
            </a:extLst>
          </p:cNvPr>
          <p:cNvSpPr/>
          <p:nvPr/>
        </p:nvSpPr>
        <p:spPr bwMode="gray">
          <a:xfrm>
            <a:off x="10267173" y="3721306"/>
            <a:ext cx="1340093" cy="337494"/>
          </a:xfrm>
          <a:prstGeom prst="roundRect">
            <a:avLst>
              <a:gd name="adj" fmla="val 8396"/>
            </a:avLst>
          </a:prstGeom>
          <a:solidFill>
            <a:schemeClr val="bg1"/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89862" tIns="71886" rIns="89862" bIns="71886" rtlCol="0" anchor="ctr"/>
          <a:lstStyle/>
          <a:p>
            <a:pPr algn="ctr" defTabSz="912756">
              <a:spcBef>
                <a:spcPct val="50000"/>
              </a:spcBef>
              <a:buClr>
                <a:srgbClr val="F0AB00"/>
              </a:buClr>
              <a:buSzPct val="80000"/>
            </a:pPr>
            <a:r>
              <a:rPr lang="en-US" sz="1050" kern="0"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  <a:t>Application </a:t>
            </a:r>
            <a:r>
              <a:rPr lang="en-US" sz="1050" kern="0" err="1"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  <a:t>Autoscaler</a:t>
            </a:r>
            <a:endParaRPr lang="en-US" sz="1050" kern="0">
              <a:latin typeface="72" panose="020B0503030000000003" pitchFamily="34" charset="0"/>
              <a:ea typeface="Arial Unicode MS" pitchFamily="34" charset="-128"/>
              <a:cs typeface="72" panose="020B0503030000000003" pitchFamily="34" charset="0"/>
            </a:endParaRPr>
          </a:p>
        </p:txBody>
      </p:sp>
      <p:sp>
        <p:nvSpPr>
          <p:cNvPr id="55" name="Rounded Rectangle 54">
            <a:extLst>
              <a:ext uri="{FF2B5EF4-FFF2-40B4-BE49-F238E27FC236}">
                <a16:creationId xmlns:a16="http://schemas.microsoft.com/office/drawing/2014/main" id="{16122F32-23D1-F4E9-427E-FF3EE05FBE9A}"/>
              </a:ext>
            </a:extLst>
          </p:cNvPr>
          <p:cNvSpPr/>
          <p:nvPr/>
        </p:nvSpPr>
        <p:spPr bwMode="gray">
          <a:xfrm>
            <a:off x="5220465" y="4138713"/>
            <a:ext cx="1340093" cy="337494"/>
          </a:xfrm>
          <a:prstGeom prst="roundRect">
            <a:avLst>
              <a:gd name="adj" fmla="val 8396"/>
            </a:avLst>
          </a:prstGeom>
          <a:solidFill>
            <a:schemeClr val="bg1"/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89862" tIns="71886" rIns="89862" bIns="71886" rtlCol="0" anchor="ctr"/>
          <a:lstStyle/>
          <a:p>
            <a:pPr algn="ctr" defTabSz="912756">
              <a:spcBef>
                <a:spcPct val="50000"/>
              </a:spcBef>
              <a:buClr>
                <a:srgbClr val="F0AB00"/>
              </a:buClr>
              <a:buSzPct val="80000"/>
            </a:pPr>
            <a:r>
              <a:rPr lang="en-US" sz="1050" kern="0"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  <a:t>Authorization &amp; Trust Management</a:t>
            </a:r>
          </a:p>
        </p:txBody>
      </p:sp>
      <p:sp>
        <p:nvSpPr>
          <p:cNvPr id="56" name="Rounded Rectangle 55">
            <a:extLst>
              <a:ext uri="{FF2B5EF4-FFF2-40B4-BE49-F238E27FC236}">
                <a16:creationId xmlns:a16="http://schemas.microsoft.com/office/drawing/2014/main" id="{FDE8CBA5-CB6F-B216-A64E-2CF66DEF6AED}"/>
              </a:ext>
            </a:extLst>
          </p:cNvPr>
          <p:cNvSpPr/>
          <p:nvPr/>
        </p:nvSpPr>
        <p:spPr bwMode="gray">
          <a:xfrm>
            <a:off x="6641146" y="4138713"/>
            <a:ext cx="1340093" cy="337494"/>
          </a:xfrm>
          <a:prstGeom prst="roundRect">
            <a:avLst>
              <a:gd name="adj" fmla="val 8396"/>
            </a:avLst>
          </a:prstGeom>
          <a:solidFill>
            <a:schemeClr val="bg1"/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89862" tIns="71886" rIns="89862" bIns="71886" rtlCol="0" anchor="ctr"/>
          <a:lstStyle/>
          <a:p>
            <a:pPr algn="ctr" defTabSz="912756">
              <a:spcBef>
                <a:spcPct val="50000"/>
              </a:spcBef>
              <a:buClr>
                <a:srgbClr val="F0AB00"/>
              </a:buClr>
              <a:buSzPct val="80000"/>
            </a:pPr>
            <a:r>
              <a:rPr lang="en-US" sz="1050" kern="0"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  <a:t>Connectivity Service</a:t>
            </a:r>
          </a:p>
        </p:txBody>
      </p:sp>
      <p:sp>
        <p:nvSpPr>
          <p:cNvPr id="57" name="Rounded Rectangle 56">
            <a:extLst>
              <a:ext uri="{FF2B5EF4-FFF2-40B4-BE49-F238E27FC236}">
                <a16:creationId xmlns:a16="http://schemas.microsoft.com/office/drawing/2014/main" id="{4EFF8AE7-69EF-F619-7DB5-7C6AA3609AAF}"/>
              </a:ext>
            </a:extLst>
          </p:cNvPr>
          <p:cNvSpPr/>
          <p:nvPr/>
        </p:nvSpPr>
        <p:spPr bwMode="gray">
          <a:xfrm>
            <a:off x="8061828" y="4138713"/>
            <a:ext cx="1340093" cy="337494"/>
          </a:xfrm>
          <a:prstGeom prst="roundRect">
            <a:avLst>
              <a:gd name="adj" fmla="val 8396"/>
            </a:avLst>
          </a:prstGeom>
          <a:solidFill>
            <a:schemeClr val="bg1"/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89862" tIns="71886" rIns="89862" bIns="71886" rtlCol="0" anchor="ctr"/>
          <a:lstStyle/>
          <a:p>
            <a:pPr algn="ctr" defTabSz="912756">
              <a:spcBef>
                <a:spcPct val="50000"/>
              </a:spcBef>
              <a:buClr>
                <a:srgbClr val="F0AB00"/>
              </a:buClr>
              <a:buSzPct val="80000"/>
            </a:pPr>
            <a:r>
              <a:rPr lang="en-US" sz="1050" kern="0"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  <a:t>Destination Service</a:t>
            </a:r>
          </a:p>
        </p:txBody>
      </p:sp>
      <p:sp>
        <p:nvSpPr>
          <p:cNvPr id="58" name="Rounded Rectangle 57">
            <a:extLst>
              <a:ext uri="{FF2B5EF4-FFF2-40B4-BE49-F238E27FC236}">
                <a16:creationId xmlns:a16="http://schemas.microsoft.com/office/drawing/2014/main" id="{B83901EE-8432-39B3-8D97-F1F0AC2793FF}"/>
              </a:ext>
            </a:extLst>
          </p:cNvPr>
          <p:cNvSpPr/>
          <p:nvPr/>
        </p:nvSpPr>
        <p:spPr bwMode="gray">
          <a:xfrm>
            <a:off x="9481824" y="4138713"/>
            <a:ext cx="1340093" cy="337494"/>
          </a:xfrm>
          <a:prstGeom prst="roundRect">
            <a:avLst>
              <a:gd name="adj" fmla="val 8396"/>
            </a:avLst>
          </a:prstGeom>
          <a:solidFill>
            <a:schemeClr val="bg1"/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89862" tIns="71886" rIns="89862" bIns="71886" rtlCol="0" anchor="ctr"/>
          <a:lstStyle/>
          <a:p>
            <a:pPr algn="ctr" defTabSz="912756">
              <a:spcBef>
                <a:spcPct val="50000"/>
              </a:spcBef>
              <a:buClr>
                <a:srgbClr val="F0AB00"/>
              </a:buClr>
              <a:buSzPct val="80000"/>
            </a:pPr>
            <a:r>
              <a:rPr lang="en-US" sz="1050" kern="0"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  <a:t>Feature Flag Service</a:t>
            </a:r>
          </a:p>
        </p:txBody>
      </p:sp>
      <p:sp>
        <p:nvSpPr>
          <p:cNvPr id="60" name="Rounded Rectangle 59">
            <a:extLst>
              <a:ext uri="{FF2B5EF4-FFF2-40B4-BE49-F238E27FC236}">
                <a16:creationId xmlns:a16="http://schemas.microsoft.com/office/drawing/2014/main" id="{43680BBD-ABE3-2856-B0DA-D2F61ED46356}"/>
              </a:ext>
            </a:extLst>
          </p:cNvPr>
          <p:cNvSpPr/>
          <p:nvPr/>
        </p:nvSpPr>
        <p:spPr bwMode="gray">
          <a:xfrm>
            <a:off x="4549375" y="2869690"/>
            <a:ext cx="7024905" cy="337494"/>
          </a:xfrm>
          <a:prstGeom prst="roundRect">
            <a:avLst>
              <a:gd name="adj" fmla="val 8396"/>
            </a:avLst>
          </a:prstGeom>
          <a:solidFill>
            <a:schemeClr val="bg1"/>
          </a:solidFill>
          <a:ln w="12700" algn="ctr">
            <a:noFill/>
            <a:miter lim="800000"/>
            <a:headEnd/>
            <a:tailEnd/>
          </a:ln>
          <a:effectLst>
            <a:outerShdw blurRad="101600" dist="76200" sx="98000" sy="98000" algn="l" rotWithShape="0">
              <a:prstClr val="black">
                <a:alpha val="23000"/>
              </a:prstClr>
            </a:outerShdw>
          </a:effectLst>
        </p:spPr>
        <p:txBody>
          <a:bodyPr lIns="89885" tIns="71905" rIns="89885" bIns="71905" rtlCol="0" anchor="ctr"/>
          <a:lstStyle/>
          <a:p>
            <a:pPr algn="ctr" defTabSz="913030">
              <a:spcBef>
                <a:spcPct val="50000"/>
              </a:spcBef>
              <a:buClr>
                <a:srgbClr val="F0AB00"/>
              </a:buClr>
              <a:buSzPct val="80000"/>
            </a:pPr>
            <a:r>
              <a:rPr lang="en-US" sz="1050" kern="0">
                <a:solidFill>
                  <a:srgbClr val="000000"/>
                </a:solidFill>
                <a:latin typeface="72"/>
                <a:ea typeface="Arial Unicode MS"/>
                <a:cs typeface="72" panose="020B0503030000000003" pitchFamily="34" charset="0"/>
              </a:rPr>
              <a:t>SAP Cloud Application Programming Model (CAP)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79C22A0C-B4C7-9324-FBE5-EE5A2BD13B4E}"/>
              </a:ext>
            </a:extLst>
          </p:cNvPr>
          <p:cNvSpPr txBox="1"/>
          <p:nvPr/>
        </p:nvSpPr>
        <p:spPr>
          <a:xfrm>
            <a:off x="2946708" y="4731233"/>
            <a:ext cx="65" cy="27692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GB" sz="1799" kern="0" err="1">
              <a:latin typeface="72" panose="020B0503030000000003" pitchFamily="34" charset="0"/>
              <a:ea typeface="Arial Unicode MS" pitchFamily="34" charset="-128"/>
              <a:cs typeface="72" panose="020B0503030000000003" pitchFamily="34" charset="0"/>
            </a:endParaRPr>
          </a:p>
        </p:txBody>
      </p:sp>
      <p:grpSp>
        <p:nvGrpSpPr>
          <p:cNvPr id="87" name="Group 86">
            <a:extLst>
              <a:ext uri="{FF2B5EF4-FFF2-40B4-BE49-F238E27FC236}">
                <a16:creationId xmlns:a16="http://schemas.microsoft.com/office/drawing/2014/main" id="{3110F8EE-14FF-1BFD-DF76-7A9B2FD6B8E0}"/>
              </a:ext>
            </a:extLst>
          </p:cNvPr>
          <p:cNvGrpSpPr/>
          <p:nvPr/>
        </p:nvGrpSpPr>
        <p:grpSpPr>
          <a:xfrm>
            <a:off x="4163620" y="1427161"/>
            <a:ext cx="7665910" cy="203461"/>
            <a:chOff x="4164704" y="1426640"/>
            <a:chExt cx="7667906" cy="203514"/>
          </a:xfrm>
        </p:grpSpPr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2DB28430-4991-2596-F839-99EFF4B2E5AF}"/>
                </a:ext>
              </a:extLst>
            </p:cNvPr>
            <p:cNvCxnSpPr>
              <a:cxnSpLocks/>
            </p:cNvCxnSpPr>
            <p:nvPr/>
          </p:nvCxnSpPr>
          <p:spPr>
            <a:xfrm>
              <a:off x="4164704" y="1630154"/>
              <a:ext cx="7667906" cy="0"/>
            </a:xfrm>
            <a:prstGeom prst="line">
              <a:avLst/>
            </a:prstGeom>
            <a:ln w="6350" cap="flat">
              <a:solidFill>
                <a:schemeClr val="bg1">
                  <a:lumMod val="75000"/>
                </a:schemeClr>
              </a:solidFill>
              <a:round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B45D704A-17B1-38BC-2DFF-FBEDB01E070D}"/>
                </a:ext>
              </a:extLst>
            </p:cNvPr>
            <p:cNvSpPr txBox="1"/>
            <p:nvPr/>
          </p:nvSpPr>
          <p:spPr>
            <a:xfrm>
              <a:off x="10213350" y="1426640"/>
              <a:ext cx="1616400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defRPr/>
              </a:pPr>
              <a:r>
                <a:rPr lang="en-US" sz="1200" b="1" kern="0">
                  <a:solidFill>
                    <a:schemeClr val="bg1">
                      <a:lumMod val="75000"/>
                    </a:schemeClr>
                  </a:solidFill>
                  <a:latin typeface="72" panose="020B0503030000000003" pitchFamily="34" charset="0"/>
                  <a:ea typeface="Arial Unicode MS" pitchFamily="34" charset="-128"/>
                  <a:cs typeface="72" panose="020B0503030000000003" pitchFamily="34" charset="0"/>
                </a:rPr>
                <a:t>User Experience</a:t>
              </a:r>
              <a:endParaRPr lang="en-US" sz="1200" b="1" kern="0">
                <a:solidFill>
                  <a:schemeClr val="bg1">
                    <a:lumMod val="75000"/>
                  </a:schemeClr>
                </a:solidFill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  <a:sym typeface="72" panose="020B0503030000000003" pitchFamily="34" charset="0"/>
              </a:endParaRPr>
            </a:p>
          </p:txBody>
        </p:sp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D16F5AF6-C629-E7E5-0F9E-5AEE799767EC}"/>
              </a:ext>
            </a:extLst>
          </p:cNvPr>
          <p:cNvGrpSpPr/>
          <p:nvPr/>
        </p:nvGrpSpPr>
        <p:grpSpPr>
          <a:xfrm>
            <a:off x="4235953" y="4600674"/>
            <a:ext cx="7593577" cy="194046"/>
            <a:chOff x="4237056" y="4600978"/>
            <a:chExt cx="7595554" cy="194097"/>
          </a:xfrm>
        </p:grpSpPr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0DDD7DA2-A6DF-7E55-9775-6646B1D8129F}"/>
                </a:ext>
              </a:extLst>
            </p:cNvPr>
            <p:cNvCxnSpPr>
              <a:cxnSpLocks/>
            </p:cNvCxnSpPr>
            <p:nvPr/>
          </p:nvCxnSpPr>
          <p:spPr>
            <a:xfrm>
              <a:off x="4237056" y="4795075"/>
              <a:ext cx="7595554" cy="0"/>
            </a:xfrm>
            <a:prstGeom prst="line">
              <a:avLst/>
            </a:prstGeom>
            <a:ln w="6350" cap="flat">
              <a:solidFill>
                <a:schemeClr val="bg1">
                  <a:lumMod val="75000"/>
                </a:schemeClr>
              </a:solidFill>
              <a:round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58661CE4-B746-E3A4-77B7-59295408ADC0}"/>
                </a:ext>
              </a:extLst>
            </p:cNvPr>
            <p:cNvSpPr txBox="1"/>
            <p:nvPr/>
          </p:nvSpPr>
          <p:spPr>
            <a:xfrm>
              <a:off x="10213350" y="4600978"/>
              <a:ext cx="1616400" cy="18466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defRPr/>
              </a:pPr>
              <a:r>
                <a:rPr lang="en-US" sz="1200" b="1" kern="0">
                  <a:solidFill>
                    <a:schemeClr val="bg1">
                      <a:lumMod val="75000"/>
                    </a:schemeClr>
                  </a:solidFill>
                  <a:latin typeface="72" panose="020B0503030000000003" pitchFamily="34" charset="0"/>
                  <a:ea typeface="Arial Unicode MS" pitchFamily="34" charset="-128"/>
                  <a:cs typeface="72" panose="020B0503030000000003" pitchFamily="34" charset="0"/>
                </a:rPr>
                <a:t>Runtime</a:t>
              </a:r>
              <a:endParaRPr lang="en-US" sz="1200" b="1" kern="0">
                <a:solidFill>
                  <a:schemeClr val="bg1">
                    <a:lumMod val="75000"/>
                  </a:schemeClr>
                </a:solidFill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  <a:sym typeface="72" panose="020B0503030000000003" pitchFamily="34" charset="0"/>
              </a:endParaRPr>
            </a:p>
          </p:txBody>
        </p: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D55ED3A8-65B1-5497-EA92-47789D129115}"/>
              </a:ext>
            </a:extLst>
          </p:cNvPr>
          <p:cNvGrpSpPr/>
          <p:nvPr/>
        </p:nvGrpSpPr>
        <p:grpSpPr>
          <a:xfrm>
            <a:off x="3020240" y="1297641"/>
            <a:ext cx="1390661" cy="4421582"/>
            <a:chOff x="1749430" y="1254222"/>
            <a:chExt cx="1391023" cy="4422733"/>
          </a:xfrm>
        </p:grpSpPr>
        <p:sp>
          <p:nvSpPr>
            <p:cNvPr id="22" name="Off-page Connector 21">
              <a:extLst>
                <a:ext uri="{FF2B5EF4-FFF2-40B4-BE49-F238E27FC236}">
                  <a16:creationId xmlns:a16="http://schemas.microsoft.com/office/drawing/2014/main" id="{AB984AE9-3ACA-5042-D0A9-D3D44F3D79C0}"/>
                </a:ext>
              </a:extLst>
            </p:cNvPr>
            <p:cNvSpPr/>
            <p:nvPr/>
          </p:nvSpPr>
          <p:spPr bwMode="gray">
            <a:xfrm rot="16200000">
              <a:off x="233575" y="2770077"/>
              <a:ext cx="4422733" cy="1391023"/>
            </a:xfrm>
            <a:prstGeom prst="flowChartOffpageConnector">
              <a:avLst/>
            </a:prstGeom>
            <a:solidFill>
              <a:srgbClr val="470BED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32" tIns="146266" rIns="182832" bIns="14626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192"/>
              <a:endParaRPr lang="en-US" sz="1999">
                <a:gradFill>
                  <a:gsLst>
                    <a:gs pos="0">
                      <a:schemeClr val="bg1"/>
                    </a:gs>
                    <a:gs pos="100000">
                      <a:schemeClr val="bg1"/>
                    </a:gs>
                  </a:gsLst>
                  <a:lin ang="5400000" scaled="1"/>
                </a:gradFill>
                <a:latin typeface="72" panose="020B0503030000000003" pitchFamily="34" charset="0"/>
                <a:cs typeface="72" panose="020B0503030000000003" pitchFamily="34" charset="0"/>
              </a:endParaRPr>
            </a:p>
          </p:txBody>
        </p: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0CA46E45-60A0-4249-A237-8A36B27A4FFA}"/>
                </a:ext>
              </a:extLst>
            </p:cNvPr>
            <p:cNvSpPr txBox="1"/>
            <p:nvPr/>
          </p:nvSpPr>
          <p:spPr>
            <a:xfrm>
              <a:off x="1840446" y="2294058"/>
              <a:ext cx="1054317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</a:pPr>
              <a:r>
                <a:rPr lang="en-US" sz="1600" b="1" kern="0">
                  <a:solidFill>
                    <a:schemeClr val="bg1"/>
                  </a:solidFill>
                  <a:latin typeface="72" panose="020B0503030000000003" pitchFamily="34" charset="0"/>
                  <a:ea typeface="Arial Unicode MS" pitchFamily="34" charset="-128"/>
                  <a:cs typeface="72" panose="020B0503030000000003" pitchFamily="34" charset="0"/>
                </a:rPr>
                <a:t>SAP Build Code</a:t>
              </a:r>
            </a:p>
          </p:txBody>
        </p: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AA415EB4-081C-F7EA-3E61-A998BA235FC8}"/>
                </a:ext>
              </a:extLst>
            </p:cNvPr>
            <p:cNvGrpSpPr/>
            <p:nvPr/>
          </p:nvGrpSpPr>
          <p:grpSpPr>
            <a:xfrm>
              <a:off x="1838791" y="3209773"/>
              <a:ext cx="1125580" cy="799307"/>
              <a:chOff x="1716780" y="3252637"/>
              <a:chExt cx="1125580" cy="799307"/>
            </a:xfrm>
          </p:grpSpPr>
          <p:sp>
            <p:nvSpPr>
              <p:cNvPr id="19" name="Rounded Rectangle 18">
                <a:extLst>
                  <a:ext uri="{FF2B5EF4-FFF2-40B4-BE49-F238E27FC236}">
                    <a16:creationId xmlns:a16="http://schemas.microsoft.com/office/drawing/2014/main" id="{55A09AFD-C3CF-6A4F-CD8F-D2C0A3D76124}"/>
                  </a:ext>
                </a:extLst>
              </p:cNvPr>
              <p:cNvSpPr/>
              <p:nvPr/>
            </p:nvSpPr>
            <p:spPr bwMode="gray">
              <a:xfrm>
                <a:off x="1716780" y="3305370"/>
                <a:ext cx="1125580" cy="693843"/>
              </a:xfrm>
              <a:prstGeom prst="roundRect">
                <a:avLst>
                  <a:gd name="adj" fmla="val 8396"/>
                </a:avLst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lIns="89977" tIns="71981" rIns="89977" bIns="71981" rtlCol="0" anchor="ctr"/>
              <a:lstStyle/>
              <a:p>
                <a:pPr algn="ctr" defTabSz="914126" eaLnBrk="1" hangingPunct="1">
                  <a:spcBef>
                    <a:spcPct val="50000"/>
                  </a:spcBef>
                  <a:buClr>
                    <a:srgbClr val="F0AB00"/>
                  </a:buClr>
                  <a:buSzPct val="80000"/>
                  <a:defRPr/>
                </a:pPr>
                <a:r>
                  <a:rPr lang="en-US" sz="1200" kern="0">
                    <a:solidFill>
                      <a:schemeClr val="bg1"/>
                    </a:solidFill>
                    <a:latin typeface="72" panose="020B0503030000000003" pitchFamily="34" charset="0"/>
                    <a:ea typeface="Arial Unicode MS" pitchFamily="34" charset="-128"/>
                    <a:cs typeface="72" panose="020B0503030000000003" pitchFamily="34" charset="0"/>
                  </a:rPr>
                  <a:t>SAP Business Application Studio</a:t>
                </a:r>
              </a:p>
            </p:txBody>
          </p:sp>
          <p:sp>
            <p:nvSpPr>
              <p:cNvPr id="20" name="Left Bracket 19">
                <a:extLst>
                  <a:ext uri="{FF2B5EF4-FFF2-40B4-BE49-F238E27FC236}">
                    <a16:creationId xmlns:a16="http://schemas.microsoft.com/office/drawing/2014/main" id="{905C5F65-DA44-FFD7-46C1-744CD5265D03}"/>
                  </a:ext>
                </a:extLst>
              </p:cNvPr>
              <p:cNvSpPr/>
              <p:nvPr/>
            </p:nvSpPr>
            <p:spPr>
              <a:xfrm rot="5400000">
                <a:off x="2208210" y="2871208"/>
                <a:ext cx="105853" cy="868712"/>
              </a:xfrm>
              <a:prstGeom prst="leftBracket">
                <a:avLst/>
              </a:prstGeom>
              <a:ln w="12700">
                <a:solidFill>
                  <a:schemeClr val="bg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99">
                  <a:latin typeface="72" panose="020B0503030000000003" pitchFamily="34" charset="0"/>
                  <a:cs typeface="72" panose="020B0503030000000003" pitchFamily="34" charset="0"/>
                </a:endParaRPr>
              </a:p>
            </p:txBody>
          </p:sp>
          <p:sp>
            <p:nvSpPr>
              <p:cNvPr id="21" name="Left Bracket 20">
                <a:extLst>
                  <a:ext uri="{FF2B5EF4-FFF2-40B4-BE49-F238E27FC236}">
                    <a16:creationId xmlns:a16="http://schemas.microsoft.com/office/drawing/2014/main" id="{2D42EE4F-7640-F564-09CE-805A92004783}"/>
                  </a:ext>
                </a:extLst>
              </p:cNvPr>
              <p:cNvSpPr/>
              <p:nvPr/>
            </p:nvSpPr>
            <p:spPr>
              <a:xfrm rot="16200000">
                <a:off x="2208211" y="3564662"/>
                <a:ext cx="105853" cy="868712"/>
              </a:xfrm>
              <a:prstGeom prst="leftBracket">
                <a:avLst/>
              </a:prstGeom>
              <a:ln w="12700">
                <a:solidFill>
                  <a:schemeClr val="bg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99">
                  <a:latin typeface="72" panose="020B0503030000000003" pitchFamily="34" charset="0"/>
                  <a:cs typeface="72" panose="020B0503030000000003" pitchFamily="34" charset="0"/>
                </a:endParaRPr>
              </a:p>
            </p:txBody>
          </p:sp>
        </p:grpSp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DD6D5C78-EBC4-9DDF-80CA-8D49FB6F7F8E}"/>
              </a:ext>
            </a:extLst>
          </p:cNvPr>
          <p:cNvGrpSpPr/>
          <p:nvPr/>
        </p:nvGrpSpPr>
        <p:grpSpPr>
          <a:xfrm>
            <a:off x="1386576" y="1162778"/>
            <a:ext cx="10542569" cy="276927"/>
            <a:chOff x="487662" y="1126167"/>
            <a:chExt cx="10239668" cy="296281"/>
          </a:xfrm>
        </p:grpSpPr>
        <p:cxnSp>
          <p:nvCxnSpPr>
            <p:cNvPr id="124" name="Straight Arrow Connector 123">
              <a:extLst>
                <a:ext uri="{FF2B5EF4-FFF2-40B4-BE49-F238E27FC236}">
                  <a16:creationId xmlns:a16="http://schemas.microsoft.com/office/drawing/2014/main" id="{962581AA-928E-10B0-CAEE-00EE309BF1FB}"/>
                </a:ext>
              </a:extLst>
            </p:cNvPr>
            <p:cNvCxnSpPr>
              <a:cxnSpLocks/>
            </p:cNvCxnSpPr>
            <p:nvPr/>
          </p:nvCxnSpPr>
          <p:spPr>
            <a:xfrm>
              <a:off x="487662" y="1270706"/>
              <a:ext cx="10239668" cy="0"/>
            </a:xfrm>
            <a:prstGeom prst="straightConnector1">
              <a:avLst/>
            </a:prstGeom>
            <a:noFill/>
            <a:ln w="12700" cap="flat" cmpd="sng" algn="ctr">
              <a:gradFill>
                <a:gsLst>
                  <a:gs pos="0">
                    <a:srgbClr val="470DED"/>
                  </a:gs>
                  <a:gs pos="52000">
                    <a:srgbClr val="FFFFFF"/>
                  </a:gs>
                  <a:gs pos="71000">
                    <a:srgbClr val="FFFFFF"/>
                  </a:gs>
                  <a:gs pos="100000">
                    <a:srgbClr val="470DED"/>
                  </a:gs>
                </a:gsLst>
                <a:lin ang="0" scaled="0"/>
              </a:gradFill>
              <a:prstDash val="solid"/>
              <a:headEnd type="triangle"/>
              <a:tailEnd type="triangle"/>
            </a:ln>
            <a:effectLst/>
          </p:spPr>
        </p:cxnSp>
        <p:sp>
          <p:nvSpPr>
            <p:cNvPr id="125" name="TextBox 124">
              <a:extLst>
                <a:ext uri="{FF2B5EF4-FFF2-40B4-BE49-F238E27FC236}">
                  <a16:creationId xmlns:a16="http://schemas.microsoft.com/office/drawing/2014/main" id="{332C5C09-BEF2-297F-2F34-3CA28FA10556}"/>
                </a:ext>
              </a:extLst>
            </p:cNvPr>
            <p:cNvSpPr txBox="1"/>
            <p:nvPr/>
          </p:nvSpPr>
          <p:spPr>
            <a:xfrm>
              <a:off x="5257543" y="1126167"/>
              <a:ext cx="1833263" cy="29628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 defTabSz="913852">
                <a:spcBef>
                  <a:spcPct val="50000"/>
                </a:spcBef>
                <a:buClr>
                  <a:srgbClr val="F0AB00"/>
                </a:buClr>
                <a:buSzPct val="80000"/>
                <a:defRPr/>
              </a:pPr>
              <a:r>
                <a:rPr lang="en-US" sz="1200" b="1" kern="0">
                  <a:solidFill>
                    <a:srgbClr val="470CED"/>
                  </a:solidFill>
                  <a:latin typeface="72" panose="020B0503030000000003" pitchFamily="34" charset="0"/>
                  <a:ea typeface="Arial Unicode MS" pitchFamily="34" charset="-128"/>
                  <a:cs typeface="72" panose="020B0503030000000003" pitchFamily="34" charset="0"/>
                </a:rPr>
                <a:t>Generative AI</a:t>
              </a:r>
            </a:p>
          </p:txBody>
        </p:sp>
      </p:grpSp>
      <p:sp>
        <p:nvSpPr>
          <p:cNvPr id="72" name="Title 1">
            <a:extLst>
              <a:ext uri="{FF2B5EF4-FFF2-40B4-BE49-F238E27FC236}">
                <a16:creationId xmlns:a16="http://schemas.microsoft.com/office/drawing/2014/main" id="{6C754199-4170-2750-C317-F8268EC360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0881" y="396306"/>
            <a:ext cx="11716303" cy="430775"/>
          </a:xfrm>
        </p:spPr>
        <p:txBody>
          <a:bodyPr/>
          <a:lstStyle/>
          <a:p>
            <a:pPr algn="ctr"/>
            <a:r>
              <a:rPr lang="en-US" sz="2799"/>
              <a:t>SAP Build Code</a:t>
            </a:r>
            <a:r>
              <a:rPr lang="ru-RU" sz="2799"/>
              <a:t>: </a:t>
            </a:r>
            <a:r>
              <a:rPr lang="en-GB" sz="2799"/>
              <a:t>Everything you need to follow best practices of SAP</a:t>
            </a:r>
            <a:endParaRPr lang="en-US" sz="2799"/>
          </a:p>
        </p:txBody>
      </p:sp>
      <p:sp>
        <p:nvSpPr>
          <p:cNvPr id="17" name="Rounded Rectangle 16">
            <a:extLst>
              <a:ext uri="{FF2B5EF4-FFF2-40B4-BE49-F238E27FC236}">
                <a16:creationId xmlns:a16="http://schemas.microsoft.com/office/drawing/2014/main" id="{9C6F3CB4-6D0E-A9E9-B694-69EF37E1DE14}"/>
              </a:ext>
            </a:extLst>
          </p:cNvPr>
          <p:cNvSpPr/>
          <p:nvPr/>
        </p:nvSpPr>
        <p:spPr bwMode="gray">
          <a:xfrm>
            <a:off x="1153066" y="2521277"/>
            <a:ext cx="1133705" cy="647831"/>
          </a:xfrm>
          <a:prstGeom prst="roundRect">
            <a:avLst>
              <a:gd name="adj" fmla="val 4054"/>
            </a:avLst>
          </a:prstGeom>
          <a:solidFill>
            <a:schemeClr val="bg1"/>
          </a:solidFill>
          <a:ln w="12700" algn="ctr">
            <a:noFill/>
            <a:miter lim="800000"/>
            <a:headEnd/>
            <a:tailEnd/>
          </a:ln>
          <a:effectLst>
            <a:outerShdw blurRad="101600" dist="76200" sx="98000" sy="98000" algn="l" rotWithShape="0">
              <a:prstClr val="black">
                <a:alpha val="23000"/>
              </a:prstClr>
            </a:outerShdw>
          </a:effectLst>
        </p:spPr>
        <p:txBody>
          <a:bodyPr lIns="89885" tIns="71905" rIns="89885" bIns="71905" rtlCol="0" anchor="ctr"/>
          <a:lstStyle/>
          <a:p>
            <a:pPr algn="ctr" defTabSz="913030">
              <a:spcBef>
                <a:spcPct val="50000"/>
              </a:spcBef>
              <a:buClr>
                <a:srgbClr val="F0AB00"/>
              </a:buClr>
              <a:buSzPct val="80000"/>
            </a:pPr>
            <a:r>
              <a:rPr lang="en-US" sz="1050" kern="0">
                <a:solidFill>
                  <a:srgbClr val="000000"/>
                </a:solidFill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  <a:t>SAP Build</a:t>
            </a:r>
            <a:br>
              <a:rPr lang="en-US" sz="1050" kern="0">
                <a:solidFill>
                  <a:srgbClr val="000000"/>
                </a:solidFill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</a:br>
            <a:r>
              <a:rPr lang="en-US" sz="1050" kern="0">
                <a:solidFill>
                  <a:srgbClr val="000000"/>
                </a:solidFill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  <a:t>Apps</a:t>
            </a:r>
          </a:p>
        </p:txBody>
      </p:sp>
      <p:sp>
        <p:nvSpPr>
          <p:cNvPr id="114" name="Rounded Rectangle 113">
            <a:extLst>
              <a:ext uri="{FF2B5EF4-FFF2-40B4-BE49-F238E27FC236}">
                <a16:creationId xmlns:a16="http://schemas.microsoft.com/office/drawing/2014/main" id="{5A4C644A-CB11-196F-ED18-4CF3D5A384F2}"/>
              </a:ext>
            </a:extLst>
          </p:cNvPr>
          <p:cNvSpPr/>
          <p:nvPr/>
        </p:nvSpPr>
        <p:spPr bwMode="gray">
          <a:xfrm>
            <a:off x="1185746" y="4559489"/>
            <a:ext cx="1133705" cy="647831"/>
          </a:xfrm>
          <a:prstGeom prst="roundRect">
            <a:avLst>
              <a:gd name="adj" fmla="val 4054"/>
            </a:avLst>
          </a:prstGeom>
          <a:solidFill>
            <a:schemeClr val="bg1"/>
          </a:solidFill>
          <a:ln w="12700" algn="ctr">
            <a:noFill/>
            <a:miter lim="800000"/>
            <a:headEnd/>
            <a:tailEnd/>
          </a:ln>
          <a:effectLst>
            <a:outerShdw blurRad="101600" dist="76200" sx="98000" sy="98000" algn="l" rotWithShape="0">
              <a:prstClr val="black">
                <a:alpha val="23000"/>
              </a:prstClr>
            </a:outerShdw>
          </a:effectLst>
        </p:spPr>
        <p:txBody>
          <a:bodyPr lIns="89885" tIns="71905" rIns="89885" bIns="71905" rtlCol="0" anchor="ctr"/>
          <a:lstStyle/>
          <a:p>
            <a:pPr algn="ctr" defTabSz="913030">
              <a:spcBef>
                <a:spcPct val="50000"/>
              </a:spcBef>
              <a:buClr>
                <a:srgbClr val="F0AB00"/>
              </a:buClr>
              <a:buSzPct val="80000"/>
            </a:pPr>
            <a:r>
              <a:rPr lang="en-US" sz="1050" kern="0">
                <a:solidFill>
                  <a:srgbClr val="000000"/>
                </a:solidFill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  <a:t>SAP Build</a:t>
            </a:r>
            <a:br>
              <a:rPr lang="en-US" sz="1050" kern="0">
                <a:solidFill>
                  <a:srgbClr val="000000"/>
                </a:solidFill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</a:br>
            <a:r>
              <a:rPr lang="en-US" sz="1050" kern="0">
                <a:solidFill>
                  <a:srgbClr val="000000"/>
                </a:solidFill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  <a:t>Work Zone</a:t>
            </a:r>
          </a:p>
        </p:txBody>
      </p: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1415B076-B2CC-8417-6DA8-8F14D5AC0EE1}"/>
              </a:ext>
            </a:extLst>
          </p:cNvPr>
          <p:cNvGrpSpPr/>
          <p:nvPr/>
        </p:nvGrpSpPr>
        <p:grpSpPr>
          <a:xfrm>
            <a:off x="1095272" y="3575019"/>
            <a:ext cx="1252091" cy="583569"/>
            <a:chOff x="225864" y="4868093"/>
            <a:chExt cx="1252417" cy="939855"/>
          </a:xfrm>
        </p:grpSpPr>
        <p:sp>
          <p:nvSpPr>
            <p:cNvPr id="18" name="Rounded Rectangle 17">
              <a:extLst>
                <a:ext uri="{FF2B5EF4-FFF2-40B4-BE49-F238E27FC236}">
                  <a16:creationId xmlns:a16="http://schemas.microsoft.com/office/drawing/2014/main" id="{F81CE552-76E0-8064-25A4-630C4E095741}"/>
                </a:ext>
              </a:extLst>
            </p:cNvPr>
            <p:cNvSpPr/>
            <p:nvPr/>
          </p:nvSpPr>
          <p:spPr bwMode="gray">
            <a:xfrm>
              <a:off x="294206" y="4868093"/>
              <a:ext cx="1133230" cy="939855"/>
            </a:xfrm>
            <a:prstGeom prst="roundRect">
              <a:avLst>
                <a:gd name="adj" fmla="val 4392"/>
              </a:avLst>
            </a:prstGeom>
            <a:solidFill>
              <a:schemeClr val="bg1"/>
            </a:solidFill>
            <a:ln w="12700" algn="ctr">
              <a:noFill/>
              <a:miter lim="800000"/>
              <a:headEnd/>
              <a:tailEnd/>
            </a:ln>
            <a:effectLst>
              <a:outerShdw blurRad="101600" dist="76200" sx="98000" sy="98000" algn="l" rotWithShape="0">
                <a:prstClr val="black">
                  <a:alpha val="23000"/>
                </a:prstClr>
              </a:outerShdw>
            </a:effectLst>
          </p:spPr>
          <p:txBody>
            <a:bodyPr lIns="89885" tIns="71905" rIns="89885" bIns="71905" rtlCol="0" anchor="ctr"/>
            <a:lstStyle/>
            <a:p>
              <a:pPr algn="ctr" defTabSz="913030">
                <a:spcBef>
                  <a:spcPct val="50000"/>
                </a:spcBef>
                <a:buClr>
                  <a:srgbClr val="F0AB00"/>
                </a:buClr>
                <a:buSzPct val="80000"/>
              </a:pPr>
              <a:endParaRPr lang="en-US" sz="1050" kern="0">
                <a:solidFill>
                  <a:srgbClr val="000000"/>
                </a:solidFill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endParaRPr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E155D8D1-D25F-8611-16F0-89F725BA28B3}"/>
                </a:ext>
              </a:extLst>
            </p:cNvPr>
            <p:cNvSpPr txBox="1"/>
            <p:nvPr/>
          </p:nvSpPr>
          <p:spPr>
            <a:xfrm>
              <a:off x="225864" y="4868093"/>
              <a:ext cx="1252417" cy="92916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 defTabSz="913030">
                <a:spcBef>
                  <a:spcPct val="50000"/>
                </a:spcBef>
                <a:buClr>
                  <a:srgbClr val="F0AB00"/>
                </a:buClr>
                <a:buSzPct val="80000"/>
              </a:pPr>
              <a:r>
                <a:rPr lang="en-US" sz="1050" kern="0">
                  <a:solidFill>
                    <a:srgbClr val="000000"/>
                  </a:solidFill>
                  <a:latin typeface="72" panose="020B0503030000000003" pitchFamily="34" charset="0"/>
                  <a:ea typeface="Arial Unicode MS" pitchFamily="34" charset="-128"/>
                  <a:cs typeface="72" panose="020B0503030000000003" pitchFamily="34" charset="0"/>
                </a:rPr>
                <a:t>SAP Build Process Automation</a:t>
              </a:r>
            </a:p>
          </p:txBody>
        </p:sp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E199B27C-BBAA-2B7E-ED8A-315B5F6D3B77}"/>
              </a:ext>
            </a:extLst>
          </p:cNvPr>
          <p:cNvSpPr txBox="1"/>
          <p:nvPr/>
        </p:nvSpPr>
        <p:spPr>
          <a:xfrm>
            <a:off x="756812" y="2160537"/>
            <a:ext cx="2003197" cy="1846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GB" sz="1200" kern="0"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  <a:t>SAP Build Lobby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6212A108-7889-85D3-6E66-F92A33D0EBF9}"/>
              </a:ext>
            </a:extLst>
          </p:cNvPr>
          <p:cNvGrpSpPr/>
          <p:nvPr/>
        </p:nvGrpSpPr>
        <p:grpSpPr>
          <a:xfrm rot="5400000">
            <a:off x="2684587" y="3194819"/>
            <a:ext cx="91633" cy="628960"/>
            <a:chOff x="506481" y="5701954"/>
            <a:chExt cx="91633" cy="629124"/>
          </a:xfrm>
        </p:grpSpPr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F72ACA6F-A27A-C161-EBF0-A8B5EEA3DC86}"/>
                </a:ext>
              </a:extLst>
            </p:cNvPr>
            <p:cNvCxnSpPr>
              <a:cxnSpLocks/>
            </p:cNvCxnSpPr>
            <p:nvPr/>
          </p:nvCxnSpPr>
          <p:spPr>
            <a:xfrm rot="16200000" flipH="1">
              <a:off x="281700" y="6060480"/>
              <a:ext cx="541197" cy="0"/>
            </a:xfrm>
            <a:prstGeom prst="line">
              <a:avLst/>
            </a:prstGeom>
            <a:noFill/>
            <a:ln w="19050" cap="flat" cmpd="sng" algn="ctr">
              <a:solidFill>
                <a:schemeClr val="tx2">
                  <a:lumMod val="60000"/>
                  <a:lumOff val="40000"/>
                </a:scheme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6527BAA5-CC9D-9271-954D-581D6C102BFE}"/>
                </a:ext>
              </a:extLst>
            </p:cNvPr>
            <p:cNvSpPr/>
            <p:nvPr/>
          </p:nvSpPr>
          <p:spPr bwMode="gray">
            <a:xfrm>
              <a:off x="506481" y="5701954"/>
              <a:ext cx="91633" cy="91633"/>
            </a:xfrm>
            <a:prstGeom prst="ellipse">
              <a:avLst/>
            </a:prstGeom>
            <a:solidFill>
              <a:schemeClr val="lt1"/>
            </a:solidFill>
            <a:ln w="19050" algn="ctr">
              <a:solidFill>
                <a:schemeClr val="tx2">
                  <a:lumMod val="60000"/>
                  <a:lumOff val="40000"/>
                </a:schemeClr>
              </a:solidFill>
              <a:miter lim="800000"/>
              <a:headEnd/>
              <a:tailEnd/>
            </a:ln>
          </p:spPr>
          <p:txBody>
            <a:bodyPr lIns="89977" tIns="71981" rIns="89977" bIns="71981" rtlCol="0" anchor="ctr"/>
            <a:lstStyle/>
            <a:p>
              <a:pPr algn="ctr" defTabSz="914126" eaLnBrk="1" hangingPunct="1">
                <a:spcBef>
                  <a:spcPct val="50000"/>
                </a:spcBef>
                <a:buClr>
                  <a:srgbClr val="F0AB00"/>
                </a:buClr>
                <a:buSzPct val="80000"/>
                <a:defRPr/>
              </a:pPr>
              <a:endParaRPr lang="en-US" sz="1799" kern="0" err="1">
                <a:solidFill>
                  <a:srgbClr val="000000"/>
                </a:solidFill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endParaRPr>
            </a:p>
          </p:txBody>
        </p:sp>
      </p:grpSp>
      <p:sp>
        <p:nvSpPr>
          <p:cNvPr id="35" name="Rounded Rectangle 34">
            <a:extLst>
              <a:ext uri="{FF2B5EF4-FFF2-40B4-BE49-F238E27FC236}">
                <a16:creationId xmlns:a16="http://schemas.microsoft.com/office/drawing/2014/main" id="{9A1DBFE7-88A6-9C07-3CA4-41F023D1DE8E}"/>
              </a:ext>
            </a:extLst>
          </p:cNvPr>
          <p:cNvSpPr/>
          <p:nvPr/>
        </p:nvSpPr>
        <p:spPr bwMode="gray">
          <a:xfrm>
            <a:off x="4339245" y="6093281"/>
            <a:ext cx="1631855" cy="457849"/>
          </a:xfrm>
          <a:prstGeom prst="roundRect">
            <a:avLst>
              <a:gd name="adj" fmla="val 7818"/>
            </a:avLst>
          </a:prstGeom>
          <a:solidFill>
            <a:schemeClr val="bg1"/>
          </a:solidFill>
          <a:ln w="12700" algn="ctr">
            <a:noFill/>
            <a:miter lim="800000"/>
            <a:headEnd/>
            <a:tailEnd/>
          </a:ln>
          <a:effectLst>
            <a:outerShdw blurRad="101600" dist="76200" sx="98000" sy="98000" algn="l" rotWithShape="0">
              <a:prstClr val="black">
                <a:alpha val="23000"/>
              </a:prstClr>
            </a:outerShdw>
          </a:effectLst>
        </p:spPr>
        <p:txBody>
          <a:bodyPr lIns="89885" tIns="71905" rIns="89885" bIns="71905" rtlCol="0" anchor="ctr"/>
          <a:lstStyle/>
          <a:p>
            <a:pPr algn="ctr" defTabSz="913030">
              <a:spcBef>
                <a:spcPct val="50000"/>
              </a:spcBef>
              <a:buClr>
                <a:srgbClr val="F0AB00"/>
              </a:buClr>
              <a:buSzPct val="80000"/>
            </a:pPr>
            <a:r>
              <a:rPr lang="en-US" sz="1050" kern="0">
                <a:solidFill>
                  <a:srgbClr val="000000"/>
                </a:solidFill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  <a:t>SAP BTP, ABAP Environment</a:t>
            </a:r>
          </a:p>
        </p:txBody>
      </p:sp>
      <p:grpSp>
        <p:nvGrpSpPr>
          <p:cNvPr id="67" name="Group 66">
            <a:extLst>
              <a:ext uri="{FF2B5EF4-FFF2-40B4-BE49-F238E27FC236}">
                <a16:creationId xmlns:a16="http://schemas.microsoft.com/office/drawing/2014/main" id="{970DE257-ABC2-7586-8801-2536E00B6CA9}"/>
              </a:ext>
            </a:extLst>
          </p:cNvPr>
          <p:cNvGrpSpPr/>
          <p:nvPr/>
        </p:nvGrpSpPr>
        <p:grpSpPr>
          <a:xfrm>
            <a:off x="5111157" y="5684579"/>
            <a:ext cx="91633" cy="385819"/>
            <a:chOff x="506481" y="5701954"/>
            <a:chExt cx="91633" cy="385919"/>
          </a:xfrm>
        </p:grpSpPr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4832532A-2299-B1D7-822A-E18B0C3EC94B}"/>
                </a:ext>
              </a:extLst>
            </p:cNvPr>
            <p:cNvCxnSpPr>
              <a:cxnSpLocks/>
            </p:cNvCxnSpPr>
            <p:nvPr/>
          </p:nvCxnSpPr>
          <p:spPr>
            <a:xfrm rot="10800000" flipV="1">
              <a:off x="552298" y="5789881"/>
              <a:ext cx="0" cy="297992"/>
            </a:xfrm>
            <a:prstGeom prst="line">
              <a:avLst/>
            </a:prstGeom>
            <a:noFill/>
            <a:ln w="19050" cap="flat" cmpd="sng" algn="ctr">
              <a:solidFill>
                <a:schemeClr val="tx2">
                  <a:lumMod val="60000"/>
                  <a:lumOff val="40000"/>
                </a:scheme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36D4D54E-949E-B218-CCA0-5146390C97B9}"/>
                </a:ext>
              </a:extLst>
            </p:cNvPr>
            <p:cNvSpPr/>
            <p:nvPr/>
          </p:nvSpPr>
          <p:spPr bwMode="gray">
            <a:xfrm>
              <a:off x="506481" y="5701954"/>
              <a:ext cx="91633" cy="91633"/>
            </a:xfrm>
            <a:prstGeom prst="ellipse">
              <a:avLst/>
            </a:prstGeom>
            <a:solidFill>
              <a:schemeClr val="lt1"/>
            </a:solidFill>
            <a:ln w="19050" algn="ctr">
              <a:solidFill>
                <a:schemeClr val="tx2">
                  <a:lumMod val="60000"/>
                  <a:lumOff val="40000"/>
                </a:schemeClr>
              </a:solidFill>
              <a:miter lim="800000"/>
              <a:headEnd/>
              <a:tailEnd/>
            </a:ln>
          </p:spPr>
          <p:txBody>
            <a:bodyPr lIns="89977" tIns="71981" rIns="89977" bIns="71981" rtlCol="0" anchor="ctr"/>
            <a:lstStyle/>
            <a:p>
              <a:pPr algn="ctr" defTabSz="914126" eaLnBrk="1" hangingPunct="1">
                <a:spcBef>
                  <a:spcPct val="50000"/>
                </a:spcBef>
                <a:buClr>
                  <a:srgbClr val="F0AB00"/>
                </a:buClr>
                <a:buSzPct val="80000"/>
                <a:defRPr/>
              </a:pPr>
              <a:endParaRPr lang="en-US" sz="1799" kern="0" err="1">
                <a:solidFill>
                  <a:srgbClr val="000000"/>
                </a:solidFill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endParaRPr>
            </a:p>
          </p:txBody>
        </p:sp>
      </p:grpSp>
      <p:sp>
        <p:nvSpPr>
          <p:cNvPr id="71" name="Rounded Rectangle 70">
            <a:extLst>
              <a:ext uri="{FF2B5EF4-FFF2-40B4-BE49-F238E27FC236}">
                <a16:creationId xmlns:a16="http://schemas.microsoft.com/office/drawing/2014/main" id="{F6B58A28-5703-6831-DDCD-76723A1F34C6}"/>
              </a:ext>
            </a:extLst>
          </p:cNvPr>
          <p:cNvSpPr/>
          <p:nvPr/>
        </p:nvSpPr>
        <p:spPr bwMode="gray">
          <a:xfrm>
            <a:off x="6449865" y="6088025"/>
            <a:ext cx="1631855" cy="457849"/>
          </a:xfrm>
          <a:prstGeom prst="roundRect">
            <a:avLst>
              <a:gd name="adj" fmla="val 7818"/>
            </a:avLst>
          </a:prstGeom>
          <a:solidFill>
            <a:schemeClr val="bg1"/>
          </a:solidFill>
          <a:ln w="12700" algn="ctr">
            <a:noFill/>
            <a:miter lim="800000"/>
            <a:headEnd/>
            <a:tailEnd/>
          </a:ln>
          <a:effectLst>
            <a:outerShdw blurRad="101600" dist="76200" sx="98000" sy="98000" algn="l" rotWithShape="0">
              <a:prstClr val="black">
                <a:alpha val="23000"/>
              </a:prstClr>
            </a:outerShdw>
          </a:effectLst>
        </p:spPr>
        <p:txBody>
          <a:bodyPr lIns="89885" tIns="71905" rIns="89885" bIns="71905" rtlCol="0" anchor="ctr"/>
          <a:lstStyle/>
          <a:p>
            <a:pPr algn="ctr" defTabSz="913030">
              <a:spcBef>
                <a:spcPct val="50000"/>
              </a:spcBef>
              <a:buClr>
                <a:srgbClr val="F0AB00"/>
              </a:buClr>
              <a:buSzPct val="80000"/>
            </a:pPr>
            <a:r>
              <a:rPr lang="en-US" sz="1050" kern="0">
                <a:solidFill>
                  <a:srgbClr val="000000"/>
                </a:solidFill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  <a:t>SAP Integration Suite</a:t>
            </a:r>
          </a:p>
        </p:txBody>
      </p:sp>
      <p:grpSp>
        <p:nvGrpSpPr>
          <p:cNvPr id="73" name="Group 72">
            <a:extLst>
              <a:ext uri="{FF2B5EF4-FFF2-40B4-BE49-F238E27FC236}">
                <a16:creationId xmlns:a16="http://schemas.microsoft.com/office/drawing/2014/main" id="{76B79897-BD33-08EC-2BFA-60C1BC53375D}"/>
              </a:ext>
            </a:extLst>
          </p:cNvPr>
          <p:cNvGrpSpPr/>
          <p:nvPr/>
        </p:nvGrpSpPr>
        <p:grpSpPr>
          <a:xfrm>
            <a:off x="7220832" y="5702763"/>
            <a:ext cx="91633" cy="385819"/>
            <a:chOff x="506481" y="5701954"/>
            <a:chExt cx="91633" cy="385919"/>
          </a:xfrm>
        </p:grpSpPr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44CCF6F0-7912-4E1B-D850-CF1EE0303DEE}"/>
                </a:ext>
              </a:extLst>
            </p:cNvPr>
            <p:cNvCxnSpPr>
              <a:cxnSpLocks/>
            </p:cNvCxnSpPr>
            <p:nvPr/>
          </p:nvCxnSpPr>
          <p:spPr>
            <a:xfrm rot="10800000" flipV="1">
              <a:off x="552298" y="5789881"/>
              <a:ext cx="0" cy="297992"/>
            </a:xfrm>
            <a:prstGeom prst="line">
              <a:avLst/>
            </a:prstGeom>
            <a:noFill/>
            <a:ln w="19050" cap="flat" cmpd="sng" algn="ctr">
              <a:solidFill>
                <a:schemeClr val="tx2">
                  <a:lumMod val="60000"/>
                  <a:lumOff val="40000"/>
                </a:scheme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sp>
          <p:nvSpPr>
            <p:cNvPr id="75" name="Oval 74">
              <a:extLst>
                <a:ext uri="{FF2B5EF4-FFF2-40B4-BE49-F238E27FC236}">
                  <a16:creationId xmlns:a16="http://schemas.microsoft.com/office/drawing/2014/main" id="{4D4C2FB4-8901-990C-A451-26ADB8AF2826}"/>
                </a:ext>
              </a:extLst>
            </p:cNvPr>
            <p:cNvSpPr/>
            <p:nvPr/>
          </p:nvSpPr>
          <p:spPr bwMode="gray">
            <a:xfrm>
              <a:off x="506481" y="5701954"/>
              <a:ext cx="91633" cy="91633"/>
            </a:xfrm>
            <a:prstGeom prst="ellipse">
              <a:avLst/>
            </a:prstGeom>
            <a:solidFill>
              <a:schemeClr val="lt1"/>
            </a:solidFill>
            <a:ln w="19050" algn="ctr">
              <a:solidFill>
                <a:schemeClr val="tx2">
                  <a:lumMod val="60000"/>
                  <a:lumOff val="40000"/>
                </a:schemeClr>
              </a:solidFill>
              <a:miter lim="800000"/>
              <a:headEnd/>
              <a:tailEnd/>
            </a:ln>
          </p:spPr>
          <p:txBody>
            <a:bodyPr lIns="89977" tIns="71981" rIns="89977" bIns="71981" rtlCol="0" anchor="ctr"/>
            <a:lstStyle/>
            <a:p>
              <a:pPr algn="ctr" defTabSz="914126" eaLnBrk="1" hangingPunct="1">
                <a:spcBef>
                  <a:spcPct val="50000"/>
                </a:spcBef>
                <a:buClr>
                  <a:srgbClr val="F0AB00"/>
                </a:buClr>
                <a:buSzPct val="80000"/>
                <a:defRPr/>
              </a:pPr>
              <a:endParaRPr lang="en-US" sz="1799" kern="0" err="1">
                <a:solidFill>
                  <a:srgbClr val="000000"/>
                </a:solidFill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endParaRPr>
            </a:p>
          </p:txBody>
        </p:sp>
      </p:grpSp>
      <p:sp>
        <p:nvSpPr>
          <p:cNvPr id="81" name="Rounded Rectangle 80">
            <a:extLst>
              <a:ext uri="{FF2B5EF4-FFF2-40B4-BE49-F238E27FC236}">
                <a16:creationId xmlns:a16="http://schemas.microsoft.com/office/drawing/2014/main" id="{F8C68ED8-7E0A-8C2E-766D-016A63D72CB6}"/>
              </a:ext>
            </a:extLst>
          </p:cNvPr>
          <p:cNvSpPr/>
          <p:nvPr/>
        </p:nvSpPr>
        <p:spPr bwMode="gray">
          <a:xfrm>
            <a:off x="8586523" y="6085449"/>
            <a:ext cx="1631855" cy="457849"/>
          </a:xfrm>
          <a:prstGeom prst="roundRect">
            <a:avLst>
              <a:gd name="adj" fmla="val 7818"/>
            </a:avLst>
          </a:prstGeom>
          <a:solidFill>
            <a:schemeClr val="bg1"/>
          </a:solidFill>
          <a:ln w="12700" algn="ctr">
            <a:noFill/>
            <a:miter lim="800000"/>
            <a:headEnd/>
            <a:tailEnd/>
          </a:ln>
          <a:effectLst>
            <a:outerShdw blurRad="101600" dist="76200" sx="98000" sy="98000" algn="l" rotWithShape="0">
              <a:prstClr val="black">
                <a:alpha val="23000"/>
              </a:prstClr>
            </a:outerShdw>
          </a:effectLst>
        </p:spPr>
        <p:txBody>
          <a:bodyPr lIns="89885" tIns="71905" rIns="89885" bIns="71905" rtlCol="0" anchor="ctr"/>
          <a:lstStyle/>
          <a:p>
            <a:pPr algn="ctr" defTabSz="913030">
              <a:spcBef>
                <a:spcPct val="50000"/>
              </a:spcBef>
              <a:buClr>
                <a:srgbClr val="F0AB00"/>
              </a:buClr>
              <a:buSzPct val="80000"/>
            </a:pPr>
            <a:r>
              <a:rPr lang="en-US" sz="1050" kern="0">
                <a:solidFill>
                  <a:srgbClr val="000000"/>
                </a:solidFill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  <a:t>SAP LoB Applications</a:t>
            </a:r>
          </a:p>
        </p:txBody>
      </p:sp>
      <p:grpSp>
        <p:nvGrpSpPr>
          <p:cNvPr id="83" name="Group 82">
            <a:extLst>
              <a:ext uri="{FF2B5EF4-FFF2-40B4-BE49-F238E27FC236}">
                <a16:creationId xmlns:a16="http://schemas.microsoft.com/office/drawing/2014/main" id="{1198CB2F-8D1B-10E8-2655-D6368168D472}"/>
              </a:ext>
            </a:extLst>
          </p:cNvPr>
          <p:cNvGrpSpPr/>
          <p:nvPr/>
        </p:nvGrpSpPr>
        <p:grpSpPr>
          <a:xfrm>
            <a:off x="9377256" y="5697658"/>
            <a:ext cx="91633" cy="385819"/>
            <a:chOff x="506481" y="5701954"/>
            <a:chExt cx="91633" cy="385919"/>
          </a:xfrm>
        </p:grpSpPr>
        <p:cxnSp>
          <p:nvCxnSpPr>
            <p:cNvPr id="84" name="Straight Connector 83">
              <a:extLst>
                <a:ext uri="{FF2B5EF4-FFF2-40B4-BE49-F238E27FC236}">
                  <a16:creationId xmlns:a16="http://schemas.microsoft.com/office/drawing/2014/main" id="{1B055509-CFDC-6988-6F5A-B9EF149D3119}"/>
                </a:ext>
              </a:extLst>
            </p:cNvPr>
            <p:cNvCxnSpPr>
              <a:cxnSpLocks/>
            </p:cNvCxnSpPr>
            <p:nvPr/>
          </p:nvCxnSpPr>
          <p:spPr>
            <a:xfrm rot="10800000" flipV="1">
              <a:off x="552298" y="5789881"/>
              <a:ext cx="0" cy="297992"/>
            </a:xfrm>
            <a:prstGeom prst="line">
              <a:avLst/>
            </a:prstGeom>
            <a:noFill/>
            <a:ln w="19050" cap="flat" cmpd="sng" algn="ctr">
              <a:solidFill>
                <a:schemeClr val="tx2">
                  <a:lumMod val="60000"/>
                  <a:lumOff val="40000"/>
                </a:scheme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sp>
          <p:nvSpPr>
            <p:cNvPr id="85" name="Oval 84">
              <a:extLst>
                <a:ext uri="{FF2B5EF4-FFF2-40B4-BE49-F238E27FC236}">
                  <a16:creationId xmlns:a16="http://schemas.microsoft.com/office/drawing/2014/main" id="{C38FDCF2-EBAA-ED44-FFB3-68F2EC5A6A3D}"/>
                </a:ext>
              </a:extLst>
            </p:cNvPr>
            <p:cNvSpPr/>
            <p:nvPr/>
          </p:nvSpPr>
          <p:spPr bwMode="gray">
            <a:xfrm>
              <a:off x="506481" y="5701954"/>
              <a:ext cx="91633" cy="91633"/>
            </a:xfrm>
            <a:prstGeom prst="ellipse">
              <a:avLst/>
            </a:prstGeom>
            <a:solidFill>
              <a:schemeClr val="lt1"/>
            </a:solidFill>
            <a:ln w="19050" algn="ctr">
              <a:solidFill>
                <a:schemeClr val="tx2">
                  <a:lumMod val="60000"/>
                  <a:lumOff val="40000"/>
                </a:schemeClr>
              </a:solidFill>
              <a:miter lim="800000"/>
              <a:headEnd/>
              <a:tailEnd/>
            </a:ln>
          </p:spPr>
          <p:txBody>
            <a:bodyPr lIns="89977" tIns="71981" rIns="89977" bIns="71981" rtlCol="0" anchor="ctr"/>
            <a:lstStyle/>
            <a:p>
              <a:pPr algn="ctr" defTabSz="914126" eaLnBrk="1" hangingPunct="1">
                <a:spcBef>
                  <a:spcPct val="50000"/>
                </a:spcBef>
                <a:buClr>
                  <a:srgbClr val="F0AB00"/>
                </a:buClr>
                <a:buSzPct val="80000"/>
                <a:defRPr/>
              </a:pPr>
              <a:endParaRPr lang="en-US" sz="1799" kern="0" err="1">
                <a:solidFill>
                  <a:srgbClr val="000000"/>
                </a:solidFill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endParaRPr>
            </a:p>
          </p:txBody>
        </p:sp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47148941-3C1A-32FA-4E8A-465ACA7990BE}"/>
              </a:ext>
            </a:extLst>
          </p:cNvPr>
          <p:cNvGrpSpPr/>
          <p:nvPr/>
        </p:nvGrpSpPr>
        <p:grpSpPr>
          <a:xfrm>
            <a:off x="4330183" y="2556176"/>
            <a:ext cx="7598962" cy="207465"/>
            <a:chOff x="4345916" y="2559767"/>
            <a:chExt cx="7600940" cy="207519"/>
          </a:xfrm>
        </p:grpSpPr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1D4DD576-C648-F317-2DAD-E93A3CDD09DF}"/>
                </a:ext>
              </a:extLst>
            </p:cNvPr>
            <p:cNvSpPr txBox="1"/>
            <p:nvPr/>
          </p:nvSpPr>
          <p:spPr>
            <a:xfrm>
              <a:off x="10330456" y="2559767"/>
              <a:ext cx="1616400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de-DE"/>
              </a:defPPr>
              <a:lvl1pPr algn="ctr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defRPr sz="1200" b="1" kern="0">
                  <a:solidFill>
                    <a:schemeClr val="bg1">
                      <a:lumMod val="75000"/>
                    </a:schemeClr>
                  </a:solidFill>
                  <a:latin typeface="72" panose="020B0503030000000003" pitchFamily="34" charset="0"/>
                  <a:ea typeface="Arial Unicode MS" pitchFamily="34" charset="-128"/>
                  <a:cs typeface="72" panose="020B0503030000000003" pitchFamily="34" charset="0"/>
                </a:defRPr>
              </a:lvl1pPr>
            </a:lstStyle>
            <a:p>
              <a:r>
                <a:rPr lang="en-US"/>
                <a:t>Service</a:t>
              </a:r>
              <a:endParaRPr lang="en-US">
                <a:sym typeface="72" panose="020B0503030000000003" pitchFamily="34" charset="0"/>
              </a:endParaRPr>
            </a:p>
          </p:txBody>
        </p:sp>
        <p:cxnSp>
          <p:nvCxnSpPr>
            <p:cNvPr id="86" name="Straight Connector 85">
              <a:extLst>
                <a:ext uri="{FF2B5EF4-FFF2-40B4-BE49-F238E27FC236}">
                  <a16:creationId xmlns:a16="http://schemas.microsoft.com/office/drawing/2014/main" id="{EA83D0B1-6FC7-C2FF-788F-A65DF811A83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345916" y="2744433"/>
              <a:ext cx="7486694" cy="22853"/>
            </a:xfrm>
            <a:prstGeom prst="line">
              <a:avLst/>
            </a:prstGeom>
            <a:ln w="6350" cap="flat">
              <a:solidFill>
                <a:schemeClr val="bg1">
                  <a:lumMod val="75000"/>
                </a:schemeClr>
              </a:solidFill>
              <a:round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610D7485-9530-4A62-4BCE-F85F1D03C829}"/>
              </a:ext>
            </a:extLst>
          </p:cNvPr>
          <p:cNvSpPr/>
          <p:nvPr/>
        </p:nvSpPr>
        <p:spPr bwMode="gray">
          <a:xfrm>
            <a:off x="7732946" y="1859106"/>
            <a:ext cx="2314737" cy="685621"/>
          </a:xfrm>
          <a:prstGeom prst="roundRect">
            <a:avLst>
              <a:gd name="adj" fmla="val 8396"/>
            </a:avLst>
          </a:prstGeom>
          <a:solidFill>
            <a:schemeClr val="bg1"/>
          </a:solidFill>
          <a:ln w="12700" algn="ctr">
            <a:noFill/>
            <a:miter lim="800000"/>
            <a:headEnd/>
            <a:tailEnd/>
          </a:ln>
          <a:effectLst>
            <a:outerShdw blurRad="101600" dist="76200" sx="98000" sy="98000" algn="l" rotWithShape="0">
              <a:prstClr val="black">
                <a:alpha val="23000"/>
              </a:prstClr>
            </a:outerShdw>
          </a:effectLst>
        </p:spPr>
        <p:txBody>
          <a:bodyPr lIns="89885" tIns="71905" rIns="89885" bIns="71905" rtlCol="0" anchor="ctr"/>
          <a:lstStyle/>
          <a:p>
            <a:pPr algn="ctr" defTabSz="913030">
              <a:spcBef>
                <a:spcPct val="50000"/>
              </a:spcBef>
              <a:buClr>
                <a:srgbClr val="F0AB00"/>
              </a:buClr>
              <a:buSzPct val="80000"/>
            </a:pPr>
            <a:endParaRPr lang="en-US" sz="1050" kern="0">
              <a:solidFill>
                <a:srgbClr val="000000"/>
              </a:solidFill>
              <a:latin typeface="72" panose="020B0503030000000003" pitchFamily="34" charset="0"/>
              <a:ea typeface="Arial Unicode MS" pitchFamily="34" charset="-128"/>
              <a:cs typeface="72" panose="020B0503030000000003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7469747-6383-E49E-2935-5D3DA7D63870}"/>
              </a:ext>
            </a:extLst>
          </p:cNvPr>
          <p:cNvSpPr txBox="1"/>
          <p:nvPr/>
        </p:nvSpPr>
        <p:spPr>
          <a:xfrm>
            <a:off x="7971723" y="1951762"/>
            <a:ext cx="1837182" cy="1615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913030">
              <a:spcBef>
                <a:spcPct val="50000"/>
              </a:spcBef>
              <a:buClr>
                <a:srgbClr val="F0AB00"/>
              </a:buClr>
              <a:buSzPct val="80000"/>
            </a:pPr>
            <a:r>
              <a:rPr lang="en-US" sz="1050" kern="0">
                <a:solidFill>
                  <a:srgbClr val="000000"/>
                </a:solidFill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  <a:t>Mobile Development Kit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D6C1DB16-5716-8546-EC4E-3CC5DA778F28}"/>
              </a:ext>
            </a:extLst>
          </p:cNvPr>
          <p:cNvSpPr/>
          <p:nvPr/>
        </p:nvSpPr>
        <p:spPr bwMode="gray">
          <a:xfrm>
            <a:off x="7808500" y="2199309"/>
            <a:ext cx="1091045" cy="296953"/>
          </a:xfrm>
          <a:prstGeom prst="roundRect">
            <a:avLst>
              <a:gd name="adj" fmla="val 8396"/>
            </a:avLst>
          </a:prstGeom>
          <a:solidFill>
            <a:schemeClr val="bg1"/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89885" tIns="71905" rIns="89885" bIns="71905" rtlCol="0" anchor="ctr"/>
          <a:lstStyle/>
          <a:p>
            <a:pPr algn="ctr" defTabSz="913030">
              <a:spcBef>
                <a:spcPct val="50000"/>
              </a:spcBef>
              <a:buClr>
                <a:srgbClr val="F0AB00"/>
              </a:buClr>
              <a:buSzPct val="80000"/>
            </a:pPr>
            <a:r>
              <a:rPr lang="en-US" sz="900" kern="0">
                <a:solidFill>
                  <a:srgbClr val="000000"/>
                </a:solidFill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  <a:t>SAP BTP SDK   for iOS</a:t>
            </a:r>
          </a:p>
        </p:txBody>
      </p:sp>
      <p:sp>
        <p:nvSpPr>
          <p:cNvPr id="23" name="Rounded Rectangle 22">
            <a:extLst>
              <a:ext uri="{FF2B5EF4-FFF2-40B4-BE49-F238E27FC236}">
                <a16:creationId xmlns:a16="http://schemas.microsoft.com/office/drawing/2014/main" id="{B45780F7-9292-98AF-A81B-A640791B45C4}"/>
              </a:ext>
            </a:extLst>
          </p:cNvPr>
          <p:cNvSpPr/>
          <p:nvPr/>
        </p:nvSpPr>
        <p:spPr bwMode="gray">
          <a:xfrm>
            <a:off x="8895620" y="2199309"/>
            <a:ext cx="1074818" cy="296953"/>
          </a:xfrm>
          <a:prstGeom prst="roundRect">
            <a:avLst>
              <a:gd name="adj" fmla="val 8396"/>
            </a:avLst>
          </a:prstGeom>
          <a:solidFill>
            <a:schemeClr val="bg1"/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89885" tIns="71905" rIns="89885" bIns="71905" rtlCol="0" anchor="ctr"/>
          <a:lstStyle/>
          <a:p>
            <a:pPr algn="ctr" defTabSz="913030">
              <a:spcBef>
                <a:spcPct val="50000"/>
              </a:spcBef>
              <a:buClr>
                <a:srgbClr val="F0AB00"/>
              </a:buClr>
              <a:buSzPct val="80000"/>
            </a:pPr>
            <a:r>
              <a:rPr lang="en-US" sz="900" kern="0">
                <a:solidFill>
                  <a:srgbClr val="000000"/>
                </a:solidFill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  <a:t>SAP BTP SDK for Android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593D12D-92BD-CEFD-9A9D-AB777BEED67D}"/>
              </a:ext>
            </a:extLst>
          </p:cNvPr>
          <p:cNvCxnSpPr>
            <a:cxnSpLocks/>
          </p:cNvCxnSpPr>
          <p:nvPr/>
        </p:nvCxnSpPr>
        <p:spPr>
          <a:xfrm>
            <a:off x="8899548" y="2176525"/>
            <a:ext cx="0" cy="358969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4908032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BCAAA5-BF58-4764-7AC6-B8ED3E7147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963" y="469640"/>
            <a:ext cx="11017250" cy="554038"/>
          </a:xfrm>
        </p:spPr>
        <p:txBody>
          <a:bodyPr/>
          <a:lstStyle/>
          <a:p>
            <a:r>
              <a:rPr lang="en-US" dirty="0"/>
              <a:t>DA Workshop 263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18CD58-D8BE-7318-76C9-689D90DBEFC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84200" y="1435100"/>
            <a:ext cx="11018838" cy="3533275"/>
          </a:xfrm>
        </p:spPr>
        <p:txBody>
          <a:bodyPr/>
          <a:lstStyle/>
          <a:p>
            <a:pPr marL="0" indent="0">
              <a:buNone/>
            </a:pPr>
            <a:r>
              <a:rPr lang="en-GB" dirty="0"/>
              <a:t>Build Innovative Business Applications with Database Services</a:t>
            </a:r>
          </a:p>
          <a:p>
            <a:r>
              <a:rPr lang="en-US" dirty="0"/>
              <a:t>Our support team:</a:t>
            </a:r>
          </a:p>
          <a:p>
            <a:pPr lvl="1"/>
            <a:r>
              <a:rPr lang="en-US" dirty="0"/>
              <a:t>Volker Saggau</a:t>
            </a:r>
          </a:p>
          <a:p>
            <a:pPr lvl="1"/>
            <a:r>
              <a:rPr lang="en-GB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Ravichandiran</a:t>
            </a:r>
            <a:r>
              <a:rPr lang="en-GB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, Vishnu Priya</a:t>
            </a:r>
          </a:p>
          <a:p>
            <a:pPr lvl="1"/>
            <a:r>
              <a:rPr lang="en-GB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Mishra, Abhishek</a:t>
            </a:r>
            <a:endParaRPr lang="en-US" b="1" dirty="0"/>
          </a:p>
          <a:p>
            <a:pPr lvl="1"/>
            <a:r>
              <a:rPr lang="en-GB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Shivendu</a:t>
            </a:r>
            <a:endParaRPr lang="en-GB" dirty="0">
              <a:solidFill>
                <a:srgbClr val="000000"/>
              </a:solidFill>
              <a:effectLst/>
              <a:latin typeface="Helvetica Neue" panose="02000503000000020004" pitchFamily="2" charset="0"/>
            </a:endParaRPr>
          </a:p>
          <a:p>
            <a:pPr marL="228600" lvl="1" indent="0">
              <a:buNone/>
            </a:pPr>
            <a:endParaRPr lang="en-GB" dirty="0">
              <a:solidFill>
                <a:srgbClr val="000000"/>
              </a:solidFill>
              <a:latin typeface="Helvetica Neue" panose="02000503000000020004" pitchFamily="2" charset="0"/>
            </a:endParaRPr>
          </a:p>
          <a:p>
            <a:pPr marL="228600" lvl="1" indent="0">
              <a:buNone/>
            </a:pPr>
            <a:r>
              <a:rPr lang="en-GB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We are working here on SAP HANA Cloud / Platform intelligent application features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58531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1C8849-22CE-4879-B711-007489A45E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5326" y="504761"/>
            <a:ext cx="11180652" cy="676804"/>
          </a:xfrm>
        </p:spPr>
        <p:txBody>
          <a:bodyPr/>
          <a:lstStyle/>
          <a:p>
            <a:r>
              <a:rPr lang="en-US" sz="2349" dirty="0"/>
              <a:t>SAP HANA Cloud | </a:t>
            </a:r>
            <a:r>
              <a:rPr lang="en-US" sz="2349" dirty="0">
                <a:solidFill>
                  <a:srgbClr val="470DEC"/>
                </a:solidFill>
              </a:rPr>
              <a:t>Multi-Model Architecture</a:t>
            </a:r>
            <a:br>
              <a:rPr lang="en-US" sz="2349" dirty="0">
                <a:solidFill>
                  <a:schemeClr val="accent3"/>
                </a:solidFill>
              </a:rPr>
            </a:br>
            <a:r>
              <a:rPr lang="en-US" sz="1999" b="0" dirty="0"/>
              <a:t>Combine Relational Data with Graph, Spatial, Vector and Document Data</a:t>
            </a:r>
            <a:r>
              <a:rPr lang="en-US" sz="1999" dirty="0"/>
              <a:t> </a:t>
            </a:r>
            <a:endParaRPr lang="en-DE" sz="1999" dirty="0"/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491AC452-4E8D-4FA0-9CB7-D7583A816B01}"/>
              </a:ext>
            </a:extLst>
          </p:cNvPr>
          <p:cNvSpPr/>
          <p:nvPr/>
        </p:nvSpPr>
        <p:spPr bwMode="gray">
          <a:xfrm>
            <a:off x="1781203" y="3671444"/>
            <a:ext cx="9872765" cy="2236815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25000"/>
              </a:prstClr>
            </a:outerShdw>
          </a:effectLst>
        </p:spPr>
        <p:txBody>
          <a:bodyPr lIns="89954" tIns="71962" rIns="89954" bIns="71962" rtlCol="0" anchor="ctr"/>
          <a:lstStyle/>
          <a:p>
            <a:pPr algn="ctr" defTabSz="913852" eaLnBrk="1" hangingPunct="1">
              <a:spcBef>
                <a:spcPct val="50000"/>
              </a:spcBef>
              <a:buClr>
                <a:srgbClr val="F0AB00"/>
              </a:buClr>
              <a:buSzPct val="80000"/>
              <a:defRPr/>
            </a:pPr>
            <a:endParaRPr lang="de-DE" sz="1798" kern="0">
              <a:solidFill>
                <a:srgbClr val="FFFFFF">
                  <a:lumMod val="65000"/>
                </a:srgbClr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C480FF2B-666B-4C9B-A541-95150D851347}"/>
              </a:ext>
            </a:extLst>
          </p:cNvPr>
          <p:cNvSpPr/>
          <p:nvPr/>
        </p:nvSpPr>
        <p:spPr bwMode="gray">
          <a:xfrm>
            <a:off x="2349503" y="5296943"/>
            <a:ext cx="7075349" cy="434577"/>
          </a:xfrm>
          <a:prstGeom prst="roundRect">
            <a:avLst>
              <a:gd name="adj" fmla="val 2709"/>
            </a:avLst>
          </a:prstGeom>
          <a:solidFill>
            <a:srgbClr val="008FD3"/>
          </a:solidFill>
          <a:ln w="38100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25000"/>
              </a:prstClr>
            </a:outerShdw>
          </a:effectLst>
        </p:spPr>
        <p:txBody>
          <a:bodyPr lIns="89954" tIns="71962" rIns="89954" bIns="71962" rtlCol="0" anchor="ctr"/>
          <a:lstStyle/>
          <a:p>
            <a:pPr algn="ctr" defTabSz="913852" eaLnBrk="1" hangingPunct="1">
              <a:spcBef>
                <a:spcPct val="50000"/>
              </a:spcBef>
              <a:buClr>
                <a:srgbClr val="F0AB00"/>
              </a:buClr>
              <a:buSzPct val="80000"/>
              <a:defRPr/>
            </a:pPr>
            <a:r>
              <a:rPr lang="de-DE" sz="1600" kern="0">
                <a:solidFill>
                  <a:srgbClr val="FFFFFF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Structured</a:t>
            </a:r>
            <a:endParaRPr lang="de-DE" sz="1798" kern="0">
              <a:solidFill>
                <a:srgbClr val="FFFFFF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6306EF1B-9FE8-48A1-A85C-6DD96207747B}"/>
              </a:ext>
            </a:extLst>
          </p:cNvPr>
          <p:cNvSpPr/>
          <p:nvPr/>
        </p:nvSpPr>
        <p:spPr bwMode="gray">
          <a:xfrm>
            <a:off x="9605692" y="5302274"/>
            <a:ext cx="1577936" cy="434577"/>
          </a:xfrm>
          <a:prstGeom prst="roundRect">
            <a:avLst>
              <a:gd name="adj" fmla="val 3625"/>
            </a:avLst>
          </a:prstGeom>
          <a:solidFill>
            <a:srgbClr val="008FD3"/>
          </a:solidFill>
          <a:ln w="38100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25000"/>
              </a:prstClr>
            </a:outerShdw>
          </a:effectLst>
        </p:spPr>
        <p:txBody>
          <a:bodyPr lIns="89954" tIns="71962" rIns="89954" bIns="71962" rtlCol="0" anchor="ctr"/>
          <a:lstStyle/>
          <a:p>
            <a:pPr algn="ctr" defTabSz="913852" eaLnBrk="1" hangingPunct="1">
              <a:spcBef>
                <a:spcPct val="50000"/>
              </a:spcBef>
              <a:buClr>
                <a:srgbClr val="F0AB00"/>
              </a:buClr>
              <a:buSzPct val="80000"/>
              <a:defRPr/>
            </a:pPr>
            <a:r>
              <a:rPr lang="de-DE" sz="1600" kern="0">
                <a:solidFill>
                  <a:srgbClr val="FFFFFF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Semi-Structured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93153497-E4F1-4214-9B38-50B0B35BB246}"/>
              </a:ext>
            </a:extLst>
          </p:cNvPr>
          <p:cNvSpPr/>
          <p:nvPr/>
        </p:nvSpPr>
        <p:spPr bwMode="gray">
          <a:xfrm>
            <a:off x="2375943" y="4422692"/>
            <a:ext cx="1286994" cy="558681"/>
          </a:xfrm>
          <a:prstGeom prst="roundRect">
            <a:avLst>
              <a:gd name="adj" fmla="val 5059"/>
            </a:avLst>
          </a:prstGeom>
          <a:solidFill>
            <a:schemeClr val="bg1"/>
          </a:solidFill>
          <a:ln w="38100" algn="ctr">
            <a:solidFill>
              <a:srgbClr val="008FD3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25000"/>
              </a:prstClr>
            </a:outerShdw>
          </a:effectLst>
        </p:spPr>
        <p:txBody>
          <a:bodyPr lIns="89954" tIns="71962" rIns="89954" bIns="71962" rtlCol="0" anchor="ctr"/>
          <a:lstStyle/>
          <a:p>
            <a:pPr algn="r" defTabSz="913852" eaLnBrk="1" hangingPunct="1">
              <a:spcBef>
                <a:spcPct val="50000"/>
              </a:spcBef>
              <a:buClr>
                <a:srgbClr val="F0AB00"/>
              </a:buClr>
              <a:buSzPct val="80000"/>
              <a:defRPr/>
            </a:pPr>
            <a:r>
              <a:rPr lang="de-DE" sz="1200" b="1" kern="0">
                <a:solidFill>
                  <a:srgbClr val="008FD3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Relational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9641AF2C-B4DC-48D6-BA16-F3E0FD6A675B}"/>
              </a:ext>
            </a:extLst>
          </p:cNvPr>
          <p:cNvSpPr/>
          <p:nvPr/>
        </p:nvSpPr>
        <p:spPr bwMode="gray">
          <a:xfrm>
            <a:off x="4103493" y="4432915"/>
            <a:ext cx="987519" cy="543215"/>
          </a:xfrm>
          <a:prstGeom prst="roundRect">
            <a:avLst>
              <a:gd name="adj" fmla="val 1646"/>
            </a:avLst>
          </a:prstGeom>
          <a:solidFill>
            <a:schemeClr val="bg1"/>
          </a:solidFill>
          <a:ln w="38100" algn="ctr">
            <a:solidFill>
              <a:srgbClr val="008FD3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25000"/>
              </a:prstClr>
            </a:outerShdw>
          </a:effectLst>
        </p:spPr>
        <p:txBody>
          <a:bodyPr lIns="89954" tIns="71962" rIns="89954" bIns="71962" rtlCol="0" anchor="ctr"/>
          <a:lstStyle/>
          <a:p>
            <a:pPr algn="r" defTabSz="913852" eaLnBrk="1" hangingPunct="1">
              <a:spcBef>
                <a:spcPct val="50000"/>
              </a:spcBef>
              <a:buClr>
                <a:srgbClr val="F0AB00"/>
              </a:buClr>
              <a:buSzPct val="80000"/>
              <a:defRPr/>
            </a:pPr>
            <a:r>
              <a:rPr lang="de-DE" sz="1200" b="1" kern="0">
                <a:solidFill>
                  <a:srgbClr val="008FD3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Spatial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19811032-AC5A-4CC7-BE06-3DBC8CFB1292}"/>
              </a:ext>
            </a:extLst>
          </p:cNvPr>
          <p:cNvSpPr/>
          <p:nvPr/>
        </p:nvSpPr>
        <p:spPr bwMode="gray">
          <a:xfrm>
            <a:off x="5549661" y="4426098"/>
            <a:ext cx="946907" cy="506648"/>
          </a:xfrm>
          <a:prstGeom prst="roundRect">
            <a:avLst>
              <a:gd name="adj" fmla="val 4377"/>
            </a:avLst>
          </a:prstGeom>
          <a:solidFill>
            <a:schemeClr val="bg1"/>
          </a:solidFill>
          <a:ln w="38100" algn="ctr">
            <a:solidFill>
              <a:srgbClr val="008FD3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25000"/>
              </a:prstClr>
            </a:outerShdw>
          </a:effectLst>
        </p:spPr>
        <p:txBody>
          <a:bodyPr lIns="89954" tIns="71962" rIns="89954" bIns="71962" rtlCol="0" anchor="ctr"/>
          <a:lstStyle/>
          <a:p>
            <a:pPr algn="r" defTabSz="913852" eaLnBrk="1" hangingPunct="1">
              <a:spcBef>
                <a:spcPct val="50000"/>
              </a:spcBef>
              <a:buClr>
                <a:srgbClr val="F0AB00"/>
              </a:buClr>
              <a:buSzPct val="80000"/>
              <a:defRPr/>
            </a:pPr>
            <a:r>
              <a:rPr lang="de-DE" sz="1200" b="1" kern="0">
                <a:solidFill>
                  <a:srgbClr val="008FD3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Graph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EFB6A955-FE0F-4F81-A3FF-7F03E2F020FE}"/>
              </a:ext>
            </a:extLst>
          </p:cNvPr>
          <p:cNvSpPr/>
          <p:nvPr/>
        </p:nvSpPr>
        <p:spPr bwMode="gray">
          <a:xfrm>
            <a:off x="9833302" y="4427607"/>
            <a:ext cx="1257071" cy="543215"/>
          </a:xfrm>
          <a:prstGeom prst="roundRect">
            <a:avLst>
              <a:gd name="adj" fmla="val 963"/>
            </a:avLst>
          </a:prstGeom>
          <a:solidFill>
            <a:schemeClr val="bg1"/>
          </a:solidFill>
          <a:ln w="38100" algn="ctr">
            <a:solidFill>
              <a:srgbClr val="008FD3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25000"/>
              </a:prstClr>
            </a:outerShdw>
          </a:effectLst>
        </p:spPr>
        <p:txBody>
          <a:bodyPr lIns="89954" tIns="71962" rIns="89954" bIns="71962" rtlCol="0" anchor="ctr"/>
          <a:lstStyle/>
          <a:p>
            <a:pPr algn="r" defTabSz="913852" eaLnBrk="1" hangingPunct="1">
              <a:spcBef>
                <a:spcPct val="50000"/>
              </a:spcBef>
              <a:buClr>
                <a:srgbClr val="F0AB00"/>
              </a:buClr>
              <a:buSzPct val="80000"/>
              <a:defRPr/>
            </a:pPr>
            <a:r>
              <a:rPr lang="de-DE" sz="1200" b="1" kern="0">
                <a:solidFill>
                  <a:srgbClr val="008FD3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JSON</a:t>
            </a:r>
            <a:endParaRPr lang="de-DE" sz="1798" b="1" kern="0">
              <a:solidFill>
                <a:srgbClr val="008FD3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11890321-C0F0-45E3-8E15-D0301E0BB475}"/>
              </a:ext>
            </a:extLst>
          </p:cNvPr>
          <p:cNvSpPr/>
          <p:nvPr/>
        </p:nvSpPr>
        <p:spPr bwMode="gray">
          <a:xfrm>
            <a:off x="2339342" y="3773737"/>
            <a:ext cx="8751031" cy="434577"/>
          </a:xfrm>
          <a:prstGeom prst="roundRect">
            <a:avLst>
              <a:gd name="adj" fmla="val 4898"/>
            </a:avLst>
          </a:prstGeom>
          <a:solidFill>
            <a:srgbClr val="008FD3"/>
          </a:solidFill>
          <a:ln w="38100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25000"/>
              </a:prstClr>
            </a:outerShdw>
          </a:effectLst>
        </p:spPr>
        <p:txBody>
          <a:bodyPr lIns="89954" tIns="71962" rIns="89954" bIns="71962" rtlCol="0" anchor="ctr"/>
          <a:lstStyle/>
          <a:p>
            <a:pPr algn="ctr" defTabSz="913852" eaLnBrk="1" hangingPunct="1">
              <a:spcBef>
                <a:spcPct val="50000"/>
              </a:spcBef>
              <a:buClr>
                <a:srgbClr val="F0AB00"/>
              </a:buClr>
              <a:buSzPct val="80000"/>
              <a:defRPr/>
            </a:pPr>
            <a:r>
              <a:rPr lang="de-DE" sz="1798" kern="0">
                <a:solidFill>
                  <a:srgbClr val="FFFFFF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SQL / </a:t>
            </a:r>
            <a:r>
              <a:rPr lang="de-DE" sz="1798" kern="0" err="1">
                <a:solidFill>
                  <a:srgbClr val="FFFFFF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SQLScript</a:t>
            </a:r>
            <a:endParaRPr lang="de-DE" sz="1798" kern="0">
              <a:solidFill>
                <a:srgbClr val="FFFFFF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AAA29C3-5152-4622-9E8A-635A4550DDB1}"/>
              </a:ext>
            </a:extLst>
          </p:cNvPr>
          <p:cNvSpPr txBox="1"/>
          <p:nvPr/>
        </p:nvSpPr>
        <p:spPr>
          <a:xfrm>
            <a:off x="3102808" y="1954511"/>
            <a:ext cx="5668345" cy="2153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 defTabSz="1088122" eaLnBrk="1" hangingPunct="1">
              <a:spcBef>
                <a:spcPct val="50000"/>
              </a:spcBef>
              <a:buClr>
                <a:srgbClr val="F0AB00"/>
              </a:buClr>
              <a:buSzPct val="80000"/>
              <a:defRPr/>
            </a:pPr>
            <a:r>
              <a:rPr lang="de-DE" sz="1400" b="1" kern="0" dirty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Multi-Model Data / SAP HANA Client Access/ Python Client Access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F9C340EE-8E10-48E5-9FCB-CF40501F40BA}"/>
              </a:ext>
            </a:extLst>
          </p:cNvPr>
          <p:cNvSpPr/>
          <p:nvPr/>
        </p:nvSpPr>
        <p:spPr bwMode="gray">
          <a:xfrm>
            <a:off x="2111523" y="4414751"/>
            <a:ext cx="615709" cy="558681"/>
          </a:xfrm>
          <a:prstGeom prst="ellipse">
            <a:avLst/>
          </a:prstGeom>
          <a:solidFill>
            <a:schemeClr val="bg2">
              <a:lumMod val="50000"/>
            </a:schemeClr>
          </a:solidFill>
          <a:ln w="38100" algn="ctr">
            <a:solidFill>
              <a:srgbClr val="008FD3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25000"/>
              </a:prstClr>
            </a:outerShdw>
          </a:effectLst>
        </p:spPr>
        <p:txBody>
          <a:bodyPr lIns="89954" tIns="71962" rIns="89954" bIns="71962" rtlCol="0" anchor="ctr"/>
          <a:lstStyle/>
          <a:p>
            <a:pPr algn="ctr" defTabSz="913852" eaLnBrk="1" hangingPunct="1">
              <a:spcBef>
                <a:spcPct val="50000"/>
              </a:spcBef>
              <a:buClr>
                <a:srgbClr val="F0AB00"/>
              </a:buClr>
              <a:buSzPct val="80000"/>
              <a:defRPr/>
            </a:pPr>
            <a:endParaRPr lang="de-DE" sz="1798" kern="0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2A52D06-2D49-4490-A7A6-4591436E4172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87386" y="4364830"/>
            <a:ext cx="449455" cy="53114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25000"/>
              </a:prstClr>
            </a:outerShdw>
          </a:effectLst>
        </p:spPr>
      </p:pic>
      <p:sp>
        <p:nvSpPr>
          <p:cNvPr id="20" name="Oval 19">
            <a:extLst>
              <a:ext uri="{FF2B5EF4-FFF2-40B4-BE49-F238E27FC236}">
                <a16:creationId xmlns:a16="http://schemas.microsoft.com/office/drawing/2014/main" id="{3F87D54E-0539-442B-AF83-51C7743E0BD0}"/>
              </a:ext>
            </a:extLst>
          </p:cNvPr>
          <p:cNvSpPr/>
          <p:nvPr/>
        </p:nvSpPr>
        <p:spPr bwMode="gray">
          <a:xfrm>
            <a:off x="3837305" y="4425390"/>
            <a:ext cx="615709" cy="558681"/>
          </a:xfrm>
          <a:prstGeom prst="ellipse">
            <a:avLst/>
          </a:prstGeom>
          <a:solidFill>
            <a:schemeClr val="bg2">
              <a:lumMod val="50000"/>
            </a:schemeClr>
          </a:solidFill>
          <a:ln w="38100" algn="ctr">
            <a:solidFill>
              <a:srgbClr val="008FD3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25000"/>
              </a:prstClr>
            </a:outerShdw>
          </a:effectLst>
        </p:spPr>
        <p:txBody>
          <a:bodyPr lIns="89954" tIns="71962" rIns="89954" bIns="71962" rtlCol="0" anchor="ctr"/>
          <a:lstStyle/>
          <a:p>
            <a:pPr algn="ctr" defTabSz="913852" eaLnBrk="1" hangingPunct="1">
              <a:spcBef>
                <a:spcPct val="50000"/>
              </a:spcBef>
              <a:buClr>
                <a:srgbClr val="F0AB00"/>
              </a:buClr>
              <a:buSzPct val="80000"/>
              <a:defRPr/>
            </a:pPr>
            <a:endParaRPr lang="de-DE" sz="1798" kern="0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A2C073FC-E9ED-447E-8671-D07500F263F7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51197" y="4432915"/>
            <a:ext cx="562090" cy="52617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25000"/>
              </a:prstClr>
            </a:outerShdw>
          </a:effectLst>
        </p:spPr>
      </p:pic>
      <p:sp>
        <p:nvSpPr>
          <p:cNvPr id="22" name="Oval 21">
            <a:extLst>
              <a:ext uri="{FF2B5EF4-FFF2-40B4-BE49-F238E27FC236}">
                <a16:creationId xmlns:a16="http://schemas.microsoft.com/office/drawing/2014/main" id="{B420D3DC-7686-4C8C-B8C2-0CC0FE7C5A97}"/>
              </a:ext>
            </a:extLst>
          </p:cNvPr>
          <p:cNvSpPr/>
          <p:nvPr/>
        </p:nvSpPr>
        <p:spPr bwMode="gray">
          <a:xfrm>
            <a:off x="5278838" y="4419559"/>
            <a:ext cx="615709" cy="558681"/>
          </a:xfrm>
          <a:prstGeom prst="ellipse">
            <a:avLst/>
          </a:prstGeom>
          <a:solidFill>
            <a:schemeClr val="bg2">
              <a:lumMod val="50000"/>
            </a:schemeClr>
          </a:solidFill>
          <a:ln w="38100" algn="ctr">
            <a:solidFill>
              <a:srgbClr val="008FD3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25000"/>
              </a:prstClr>
            </a:outerShdw>
          </a:effectLst>
        </p:spPr>
        <p:txBody>
          <a:bodyPr lIns="89954" tIns="71962" rIns="89954" bIns="71962" rtlCol="0" anchor="ctr"/>
          <a:lstStyle/>
          <a:p>
            <a:pPr algn="ctr" defTabSz="913852" eaLnBrk="1" hangingPunct="1">
              <a:spcBef>
                <a:spcPct val="50000"/>
              </a:spcBef>
              <a:buClr>
                <a:srgbClr val="F0AB00"/>
              </a:buClr>
              <a:buSzPct val="80000"/>
              <a:defRPr/>
            </a:pPr>
            <a:endParaRPr lang="de-DE" sz="1798" kern="0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0C62C37A-E545-4A36-BF67-CFCB4A44FE4F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6318" y="4401917"/>
            <a:ext cx="604615" cy="56598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25000"/>
              </a:prstClr>
            </a:outerShdw>
          </a:effectLst>
        </p:spPr>
      </p:pic>
      <p:sp>
        <p:nvSpPr>
          <p:cNvPr id="24" name="Oval 23">
            <a:extLst>
              <a:ext uri="{FF2B5EF4-FFF2-40B4-BE49-F238E27FC236}">
                <a16:creationId xmlns:a16="http://schemas.microsoft.com/office/drawing/2014/main" id="{61F582D7-073C-4FE2-8D13-D5A766733DA6}"/>
              </a:ext>
            </a:extLst>
          </p:cNvPr>
          <p:cNvSpPr/>
          <p:nvPr/>
        </p:nvSpPr>
        <p:spPr bwMode="gray">
          <a:xfrm>
            <a:off x="9553220" y="4420082"/>
            <a:ext cx="615709" cy="558681"/>
          </a:xfrm>
          <a:prstGeom prst="ellipse">
            <a:avLst/>
          </a:prstGeom>
          <a:solidFill>
            <a:schemeClr val="bg2">
              <a:lumMod val="50000"/>
            </a:schemeClr>
          </a:solidFill>
          <a:ln w="38100" algn="ctr">
            <a:solidFill>
              <a:srgbClr val="008FD3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25000"/>
              </a:prstClr>
            </a:outerShdw>
          </a:effectLst>
        </p:spPr>
        <p:txBody>
          <a:bodyPr lIns="89954" tIns="71962" rIns="89954" bIns="71962" rtlCol="0" anchor="ctr"/>
          <a:lstStyle/>
          <a:p>
            <a:pPr algn="ctr" defTabSz="913852" eaLnBrk="1" hangingPunct="1">
              <a:spcBef>
                <a:spcPct val="50000"/>
              </a:spcBef>
              <a:buClr>
                <a:srgbClr val="F0AB00"/>
              </a:buClr>
              <a:buSzPct val="80000"/>
              <a:defRPr/>
            </a:pPr>
            <a:endParaRPr lang="de-DE" sz="1798" kern="0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9C8D9D76-9625-4952-9198-6A701C8C3738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53979" y="4414208"/>
            <a:ext cx="590580" cy="55284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25000"/>
              </a:prstClr>
            </a:outerShdw>
          </a:effectLst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7803F451-4D78-462D-BA50-940217F03911}"/>
              </a:ext>
            </a:extLst>
          </p:cNvPr>
          <p:cNvSpPr txBox="1"/>
          <p:nvPr/>
        </p:nvSpPr>
        <p:spPr>
          <a:xfrm>
            <a:off x="604867" y="5194599"/>
            <a:ext cx="802416" cy="4923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1088449" eaLnBrk="1" hangingPunct="1">
              <a:spcBef>
                <a:spcPct val="50000"/>
              </a:spcBef>
              <a:buClr>
                <a:srgbClr val="F0AB00"/>
              </a:buClr>
              <a:buSzPct val="80000"/>
              <a:defRPr/>
            </a:pPr>
            <a:r>
              <a:rPr lang="de-DE" sz="1600" b="1" ker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Data Storage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130A9F95-FC36-4642-B219-AE153EFF5AE0}"/>
              </a:ext>
            </a:extLst>
          </p:cNvPr>
          <p:cNvSpPr txBox="1"/>
          <p:nvPr/>
        </p:nvSpPr>
        <p:spPr>
          <a:xfrm>
            <a:off x="355283" y="4408403"/>
            <a:ext cx="1147888" cy="4923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088449" eaLnBrk="1" hangingPunct="1">
              <a:spcBef>
                <a:spcPct val="50000"/>
              </a:spcBef>
              <a:buClr>
                <a:srgbClr val="F0AB00"/>
              </a:buClr>
              <a:buSzPct val="80000"/>
              <a:defRPr/>
            </a:pPr>
            <a:r>
              <a:rPr lang="de-DE" sz="1600" b="1" ker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Multi-Model</a:t>
            </a:r>
            <a:br>
              <a:rPr lang="de-DE" sz="1600" b="1" ker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</a:br>
            <a:r>
              <a:rPr lang="de-DE" sz="1600" b="1" ker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Processing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4089FB75-B88B-43A0-A0B4-A80278E61391}"/>
              </a:ext>
            </a:extLst>
          </p:cNvPr>
          <p:cNvSpPr txBox="1"/>
          <p:nvPr/>
        </p:nvSpPr>
        <p:spPr>
          <a:xfrm>
            <a:off x="328643" y="3639096"/>
            <a:ext cx="1352349" cy="4923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1088449" eaLnBrk="1" hangingPunct="1">
              <a:spcBef>
                <a:spcPct val="50000"/>
              </a:spcBef>
              <a:buClr>
                <a:srgbClr val="F0AB00"/>
              </a:buClr>
              <a:buSzPct val="80000"/>
              <a:defRPr/>
            </a:pPr>
            <a:r>
              <a:rPr lang="de-DE" sz="1600" b="1" ker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Unified Query</a:t>
            </a:r>
            <a:br>
              <a:rPr lang="de-DE" sz="1600" b="1" ker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</a:br>
            <a:r>
              <a:rPr lang="de-DE" sz="1600" b="1" ker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Layer</a:t>
            </a:r>
          </a:p>
        </p:txBody>
      </p:sp>
      <p:sp>
        <p:nvSpPr>
          <p:cNvPr id="35" name="Arrow: Up-Down 34">
            <a:extLst>
              <a:ext uri="{FF2B5EF4-FFF2-40B4-BE49-F238E27FC236}">
                <a16:creationId xmlns:a16="http://schemas.microsoft.com/office/drawing/2014/main" id="{71E11971-3F88-4AB8-BF40-0CFCD75A1B9F}"/>
              </a:ext>
            </a:extLst>
          </p:cNvPr>
          <p:cNvSpPr/>
          <p:nvPr/>
        </p:nvSpPr>
        <p:spPr bwMode="gray">
          <a:xfrm>
            <a:off x="5435497" y="2308227"/>
            <a:ext cx="302390" cy="1286899"/>
          </a:xfrm>
          <a:prstGeom prst="upDownArrow">
            <a:avLst/>
          </a:prstGeom>
          <a:solidFill>
            <a:schemeClr val="bg1"/>
          </a:solidFill>
          <a:ln w="25400" algn="ctr">
            <a:solidFill>
              <a:srgbClr val="008FD3"/>
            </a:solidFill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algn="ctr" defTabSz="914126" eaLnBrk="1" hangingPunct="1">
              <a:spcBef>
                <a:spcPct val="50000"/>
              </a:spcBef>
              <a:buClr>
                <a:srgbClr val="F0AB00"/>
              </a:buClr>
              <a:buSzPct val="80000"/>
            </a:pPr>
            <a:endParaRPr lang="en-DE" sz="1799" kern="0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1EF4921D-CD7A-4C88-BE64-0B309EB293A6}"/>
              </a:ext>
            </a:extLst>
          </p:cNvPr>
          <p:cNvSpPr/>
          <p:nvPr/>
        </p:nvSpPr>
        <p:spPr bwMode="gray">
          <a:xfrm>
            <a:off x="8384991" y="4394288"/>
            <a:ext cx="904577" cy="537141"/>
          </a:xfrm>
          <a:prstGeom prst="roundRect">
            <a:avLst>
              <a:gd name="adj" fmla="val 2328"/>
            </a:avLst>
          </a:prstGeom>
          <a:solidFill>
            <a:schemeClr val="bg1"/>
          </a:solidFill>
          <a:ln w="38100" algn="ctr">
            <a:solidFill>
              <a:srgbClr val="008FD3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25000"/>
              </a:prstClr>
            </a:outerShdw>
          </a:effectLst>
        </p:spPr>
        <p:txBody>
          <a:bodyPr lIns="89954" tIns="71962" rIns="89954" bIns="71962" rtlCol="0" anchor="ctr"/>
          <a:lstStyle/>
          <a:p>
            <a:pPr defTabSz="913852" eaLnBrk="1" hangingPunct="1">
              <a:spcBef>
                <a:spcPct val="50000"/>
              </a:spcBef>
              <a:buClr>
                <a:srgbClr val="F0AB00"/>
              </a:buClr>
              <a:buSzPct val="80000"/>
              <a:defRPr/>
            </a:pPr>
            <a:r>
              <a:rPr lang="de-DE" sz="1200" b="1" kern="0">
                <a:solidFill>
                  <a:srgbClr val="F0AB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         </a:t>
            </a:r>
            <a:r>
              <a:rPr lang="de-DE" sz="1200" b="1" kern="0">
                <a:solidFill>
                  <a:srgbClr val="008FD3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ML</a:t>
            </a: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5CFC46EF-5219-464B-827C-F2DA3CA2413C}"/>
              </a:ext>
            </a:extLst>
          </p:cNvPr>
          <p:cNvSpPr/>
          <p:nvPr/>
        </p:nvSpPr>
        <p:spPr bwMode="gray">
          <a:xfrm>
            <a:off x="8155444" y="4386925"/>
            <a:ext cx="615709" cy="558681"/>
          </a:xfrm>
          <a:prstGeom prst="ellipse">
            <a:avLst/>
          </a:prstGeom>
          <a:solidFill>
            <a:schemeClr val="bg2">
              <a:lumMod val="50000"/>
            </a:schemeClr>
          </a:solidFill>
          <a:ln w="38100" algn="ctr">
            <a:solidFill>
              <a:srgbClr val="008FD3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25000"/>
              </a:prstClr>
            </a:outerShdw>
          </a:effectLst>
        </p:spPr>
        <p:txBody>
          <a:bodyPr lIns="89954" tIns="71962" rIns="89954" bIns="71962" rtlCol="0" anchor="ctr"/>
          <a:lstStyle/>
          <a:p>
            <a:pPr algn="ctr" defTabSz="913852" eaLnBrk="1" hangingPunct="1">
              <a:spcBef>
                <a:spcPct val="50000"/>
              </a:spcBef>
              <a:buClr>
                <a:srgbClr val="F0AB00"/>
              </a:buClr>
              <a:buSzPct val="80000"/>
              <a:defRPr/>
            </a:pPr>
            <a:endParaRPr lang="de-DE" sz="1798" kern="0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39F2918E-9E46-41F8-B503-827217F24E1F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9389" y="4421111"/>
            <a:ext cx="494389" cy="46280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25000"/>
              </a:prstClr>
            </a:outerShdw>
          </a:effectLst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61538A8B-7F50-4E9C-85B5-554101CCFD1A}"/>
              </a:ext>
            </a:extLst>
          </p:cNvPr>
          <p:cNvSpPr txBox="1"/>
          <p:nvPr/>
        </p:nvSpPr>
        <p:spPr>
          <a:xfrm>
            <a:off x="1761267" y="3314184"/>
            <a:ext cx="1931928" cy="2769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126" eaLnBrk="1" hangingPunct="1">
              <a:spcBef>
                <a:spcPct val="50000"/>
              </a:spcBef>
              <a:buClr>
                <a:srgbClr val="F0AB00"/>
              </a:buClr>
              <a:buSzPct val="80000"/>
            </a:pPr>
            <a:r>
              <a:rPr lang="en-US" sz="1799" b="1" kern="0">
                <a:solidFill>
                  <a:srgbClr val="FFFFFF">
                    <a:lumMod val="65000"/>
                  </a:srgbClr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SAP HANA Cloud</a:t>
            </a:r>
            <a:endParaRPr lang="en-DE" sz="1799" b="1" kern="0">
              <a:solidFill>
                <a:srgbClr val="FFFFFF">
                  <a:lumMod val="65000"/>
                </a:srgbClr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572AF839-1731-635E-3393-E29500AD9199}"/>
              </a:ext>
            </a:extLst>
          </p:cNvPr>
          <p:cNvSpPr/>
          <p:nvPr/>
        </p:nvSpPr>
        <p:spPr bwMode="gray">
          <a:xfrm>
            <a:off x="6950891" y="4424781"/>
            <a:ext cx="1052516" cy="506648"/>
          </a:xfrm>
          <a:prstGeom prst="roundRect">
            <a:avLst>
              <a:gd name="adj" fmla="val 4377"/>
            </a:avLst>
          </a:prstGeom>
          <a:solidFill>
            <a:schemeClr val="bg1"/>
          </a:solidFill>
          <a:ln w="38100" algn="ctr">
            <a:solidFill>
              <a:srgbClr val="008FD3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25000"/>
              </a:prstClr>
            </a:outerShdw>
          </a:effectLst>
        </p:spPr>
        <p:txBody>
          <a:bodyPr lIns="89954" tIns="71962" rIns="89954" bIns="71962" rtlCol="0" anchor="ctr"/>
          <a:lstStyle/>
          <a:p>
            <a:pPr algn="r" defTabSz="913852" eaLnBrk="1" hangingPunct="1">
              <a:spcBef>
                <a:spcPct val="50000"/>
              </a:spcBef>
              <a:buClr>
                <a:srgbClr val="F0AB00"/>
              </a:buClr>
              <a:buSzPct val="80000"/>
              <a:defRPr/>
            </a:pPr>
            <a:r>
              <a:rPr lang="de-DE" sz="1200" b="1" kern="0">
                <a:solidFill>
                  <a:srgbClr val="008FD3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 Vector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67D0BE96-9679-5AC7-FB70-15E9A31F4571}"/>
              </a:ext>
            </a:extLst>
          </p:cNvPr>
          <p:cNvSpPr/>
          <p:nvPr/>
        </p:nvSpPr>
        <p:spPr bwMode="gray">
          <a:xfrm>
            <a:off x="6680550" y="4418241"/>
            <a:ext cx="615709" cy="558681"/>
          </a:xfrm>
          <a:prstGeom prst="ellipse">
            <a:avLst/>
          </a:prstGeom>
          <a:solidFill>
            <a:schemeClr val="bg2">
              <a:lumMod val="50000"/>
            </a:schemeClr>
          </a:solidFill>
          <a:ln w="38100" algn="ctr">
            <a:solidFill>
              <a:srgbClr val="008FD3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25000"/>
              </a:prstClr>
            </a:outerShdw>
          </a:effectLst>
        </p:spPr>
        <p:txBody>
          <a:bodyPr lIns="89954" tIns="71962" rIns="89954" bIns="71962" rtlCol="0" anchor="ctr"/>
          <a:lstStyle/>
          <a:p>
            <a:pPr algn="ctr" defTabSz="913852" eaLnBrk="1" hangingPunct="1">
              <a:spcBef>
                <a:spcPct val="50000"/>
              </a:spcBef>
              <a:buClr>
                <a:srgbClr val="F0AB00"/>
              </a:buClr>
              <a:buSzPct val="80000"/>
              <a:defRPr/>
            </a:pPr>
            <a:endParaRPr lang="de-DE" sz="1798" kern="0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C2384914-AB3B-2E5F-46CB-D85AD49FE3FA}"/>
              </a:ext>
            </a:extLst>
          </p:cNvPr>
          <p:cNvPicPr>
            <a:picLocks noChangeAspect="1"/>
          </p:cNvPicPr>
          <p:nvPr/>
        </p:nvPicPr>
        <p:blipFill>
          <a:blip r:embed="rId8"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728305" y="4441369"/>
            <a:ext cx="508508" cy="508508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2A17C981-E800-371E-9CD8-A11A460E5016}"/>
              </a:ext>
            </a:extLst>
          </p:cNvPr>
          <p:cNvSpPr/>
          <p:nvPr/>
        </p:nvSpPr>
        <p:spPr bwMode="gray">
          <a:xfrm>
            <a:off x="6594086" y="4310608"/>
            <a:ext cx="1503097" cy="787376"/>
          </a:xfrm>
          <a:prstGeom prst="rect">
            <a:avLst/>
          </a:prstGeom>
          <a:noFill/>
          <a:ln w="25400" algn="ctr">
            <a:solidFill>
              <a:schemeClr val="accent1"/>
            </a:solidFill>
            <a:prstDash val="dash"/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algn="ctr" defTabSz="914126" eaLnBrk="1" hangingPunct="1">
              <a:spcBef>
                <a:spcPct val="50000"/>
              </a:spcBef>
              <a:buClr>
                <a:srgbClr val="F0AB00"/>
              </a:buClr>
              <a:buSzPct val="80000"/>
            </a:pPr>
            <a:endParaRPr lang="en-US" sz="1799" kern="0" err="1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DA75D71-C1FD-28A5-2877-317843928EA3}"/>
              </a:ext>
            </a:extLst>
          </p:cNvPr>
          <p:cNvSpPr txBox="1"/>
          <p:nvPr/>
        </p:nvSpPr>
        <p:spPr>
          <a:xfrm>
            <a:off x="2081656" y="6180024"/>
            <a:ext cx="9475176" cy="2153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088449" eaLnBrk="1" hangingPunct="1">
              <a:spcBef>
                <a:spcPct val="50000"/>
              </a:spcBef>
              <a:buClr>
                <a:srgbClr val="F0AB00"/>
              </a:buClr>
              <a:buSzPct val="80000"/>
            </a:pPr>
            <a:r>
              <a:rPr lang="en-US" sz="1400" kern="0">
                <a:solidFill>
                  <a:srgbClr val="F0AB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Enabling similarity search scenarios on vector embeddings with SAP HANA Cloud for Gen AI kind of applications</a:t>
            </a:r>
          </a:p>
        </p:txBody>
      </p:sp>
      <p:sp>
        <p:nvSpPr>
          <p:cNvPr id="37" name="Textfeld 140">
            <a:extLst>
              <a:ext uri="{FF2B5EF4-FFF2-40B4-BE49-F238E27FC236}">
                <a16:creationId xmlns:a16="http://schemas.microsoft.com/office/drawing/2014/main" id="{FBCBF84E-074B-808C-C0D2-8ACF190EB151}"/>
              </a:ext>
            </a:extLst>
          </p:cNvPr>
          <p:cNvSpPr txBox="1"/>
          <p:nvPr/>
        </p:nvSpPr>
        <p:spPr>
          <a:xfrm>
            <a:off x="1702247" y="2310183"/>
            <a:ext cx="1078196" cy="332312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algn="ctr" defTabSz="928309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</a:pPr>
            <a:r>
              <a:rPr lang="de-DE" sz="1200" kern="0" dirty="0">
                <a:solidFill>
                  <a:srgbClr val="F8F8F8"/>
                </a:solidFill>
                <a:latin typeface="Arial"/>
                <a:ea typeface="Arial Unicode MS" pitchFamily="34" charset="-128"/>
                <a:cs typeface="72" panose="020B0503030000000003" pitchFamily="34" charset="0"/>
              </a:rPr>
              <a:t>SAP Analytics Cloud </a:t>
            </a:r>
          </a:p>
        </p:txBody>
      </p:sp>
    </p:spTree>
    <p:extLst>
      <p:ext uri="{BB962C8B-B14F-4D97-AF65-F5344CB8AC3E}">
        <p14:creationId xmlns:p14="http://schemas.microsoft.com/office/powerpoint/2010/main" val="2035817042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Rectangle: Rounded Corners 60">
            <a:extLst>
              <a:ext uri="{FF2B5EF4-FFF2-40B4-BE49-F238E27FC236}">
                <a16:creationId xmlns:a16="http://schemas.microsoft.com/office/drawing/2014/main" id="{4305CADF-A714-7DE4-95D5-EC2E153EF61A}"/>
              </a:ext>
            </a:extLst>
          </p:cNvPr>
          <p:cNvSpPr/>
          <p:nvPr/>
        </p:nvSpPr>
        <p:spPr bwMode="gray">
          <a:xfrm>
            <a:off x="5476506" y="4673007"/>
            <a:ext cx="2082258" cy="369236"/>
          </a:xfrm>
          <a:prstGeom prst="roundRect">
            <a:avLst/>
          </a:prstGeom>
          <a:ln>
            <a:headEnd/>
            <a:tailEnd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89977" tIns="71981" rIns="89977" bIns="71981" rtlCol="0" anchor="ctr"/>
          <a:lstStyle/>
          <a:p>
            <a:pPr algn="ctr" defTabSz="914126" eaLnBrk="1" hangingPunct="1">
              <a:spcBef>
                <a:spcPct val="50000"/>
              </a:spcBef>
              <a:buClr>
                <a:srgbClr val="F0AB00"/>
              </a:buClr>
              <a:buSzPct val="80000"/>
            </a:pPr>
            <a:endParaRPr lang="en-US" sz="1799" kern="0" err="1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B52FA8D2-179F-951C-0E89-BAA8C7A01C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New Class of Intelligent Data Apps</a:t>
            </a:r>
          </a:p>
        </p:txBody>
      </p:sp>
      <p:pic>
        <p:nvPicPr>
          <p:cNvPr id="40" name="Grafik 24">
            <a:extLst>
              <a:ext uri="{FF2B5EF4-FFF2-40B4-BE49-F238E27FC236}">
                <a16:creationId xmlns:a16="http://schemas.microsoft.com/office/drawing/2014/main" id="{AD35A7D0-0A9E-D0E8-6A79-0BDEE5EF8B8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20000"/>
                    </a14:imgEffect>
                  </a14:imgLayer>
                </a14:imgProps>
              </a:ext>
            </a:extLst>
          </a:blip>
          <a:srcRect l="31286" t="1977" r="53928" b="1690"/>
          <a:stretch/>
        </p:blipFill>
        <p:spPr>
          <a:xfrm flipH="1">
            <a:off x="898300" y="1845998"/>
            <a:ext cx="1762077" cy="1638629"/>
          </a:xfrm>
          <a:prstGeom prst="roundRect">
            <a:avLst>
              <a:gd name="adj" fmla="val 7422"/>
            </a:avLst>
          </a:prstGeom>
          <a:effectLst>
            <a:outerShdw blurRad="177800" algn="ctr" rotWithShape="0">
              <a:srgbClr val="000000">
                <a:alpha val="30000"/>
              </a:srgbClr>
            </a:outerShdw>
          </a:effectLst>
        </p:spPr>
      </p:pic>
      <p:sp>
        <p:nvSpPr>
          <p:cNvPr id="41" name="Textfeld 140">
            <a:extLst>
              <a:ext uri="{FF2B5EF4-FFF2-40B4-BE49-F238E27FC236}">
                <a16:creationId xmlns:a16="http://schemas.microsoft.com/office/drawing/2014/main" id="{1878A168-5666-DB84-60B3-FFD46B493CD6}"/>
              </a:ext>
            </a:extLst>
          </p:cNvPr>
          <p:cNvSpPr txBox="1"/>
          <p:nvPr/>
        </p:nvSpPr>
        <p:spPr>
          <a:xfrm>
            <a:off x="948170" y="2733304"/>
            <a:ext cx="1638433" cy="492315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algn="ctr" defTabSz="928588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</a:pPr>
            <a:r>
              <a:rPr lang="de-DE" sz="1200" b="1" kern="0" spc="25">
                <a:solidFill>
                  <a:srgbClr val="F8F8F8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Intelligent Data Apps</a:t>
            </a:r>
          </a:p>
          <a:p>
            <a:pPr algn="ctr" defTabSz="928588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</a:pPr>
            <a:r>
              <a:rPr lang="de-DE" sz="900" kern="0" spc="25" err="1">
                <a:solidFill>
                  <a:srgbClr val="F8F8F8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with</a:t>
            </a:r>
            <a:br>
              <a:rPr lang="de-DE" sz="900" kern="0" spc="25">
                <a:solidFill>
                  <a:srgbClr val="F8F8F8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</a:br>
            <a:r>
              <a:rPr lang="de-DE" sz="900" kern="0" spc="25">
                <a:solidFill>
                  <a:srgbClr val="F8F8F8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SAP HANA Cloud</a:t>
            </a:r>
          </a:p>
        </p:txBody>
      </p: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35C1F75F-8372-69EE-98AE-2F9EBCB2B1C3}"/>
              </a:ext>
            </a:extLst>
          </p:cNvPr>
          <p:cNvGrpSpPr/>
          <p:nvPr/>
        </p:nvGrpSpPr>
        <p:grpSpPr>
          <a:xfrm>
            <a:off x="1452688" y="1935583"/>
            <a:ext cx="653301" cy="653301"/>
            <a:chOff x="2852048" y="2100623"/>
            <a:chExt cx="653471" cy="653471"/>
          </a:xfrm>
        </p:grpSpPr>
        <p:sp>
          <p:nvSpPr>
            <p:cNvPr id="44" name="Abgerundetes Rechteck 132">
              <a:extLst>
                <a:ext uri="{FF2B5EF4-FFF2-40B4-BE49-F238E27FC236}">
                  <a16:creationId xmlns:a16="http://schemas.microsoft.com/office/drawing/2014/main" id="{F2EEC2E9-FD06-E320-388D-91BFB393C3A9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2852048" y="2100623"/>
              <a:ext cx="653471" cy="653471"/>
            </a:xfrm>
            <a:prstGeom prst="roundRect">
              <a:avLst>
                <a:gd name="adj" fmla="val 50000"/>
              </a:avLst>
            </a:prstGeom>
            <a:solidFill>
              <a:srgbClr val="F8F8F8">
                <a:alpha val="70000"/>
              </a:srgbClr>
            </a:solidFill>
            <a:ln w="25400" algn="ctr">
              <a:noFill/>
              <a:miter lim="800000"/>
              <a:headEnd/>
              <a:tailEnd/>
            </a:ln>
          </p:spPr>
          <p:txBody>
            <a:bodyPr lIns="22493" tIns="17994" rIns="22493" bIns="17994" rtlCol="0" anchor="ctr"/>
            <a:lstStyle/>
            <a:p>
              <a:pPr algn="ctr" defTabSz="228552" eaLnBrk="1" hangingPunct="1">
                <a:lnSpc>
                  <a:spcPct val="90000"/>
                </a:lnSpc>
                <a:spcBef>
                  <a:spcPct val="50000"/>
                </a:spcBef>
                <a:buClr>
                  <a:srgbClr val="F0AB00"/>
                </a:buClr>
                <a:buSzPct val="80000"/>
              </a:pPr>
              <a:endParaRPr lang="de-DE" sz="450" ker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endParaRPr>
            </a:p>
          </p:txBody>
        </p:sp>
        <p:grpSp>
          <p:nvGrpSpPr>
            <p:cNvPr id="45" name="Gruppieren 38">
              <a:extLst>
                <a:ext uri="{FF2B5EF4-FFF2-40B4-BE49-F238E27FC236}">
                  <a16:creationId xmlns:a16="http://schemas.microsoft.com/office/drawing/2014/main" id="{CDF30663-C9A7-B28E-708E-4423B9DBFA78}"/>
                </a:ext>
              </a:extLst>
            </p:cNvPr>
            <p:cNvGrpSpPr/>
            <p:nvPr/>
          </p:nvGrpSpPr>
          <p:grpSpPr>
            <a:xfrm>
              <a:off x="3005640" y="2245080"/>
              <a:ext cx="423217" cy="423318"/>
              <a:chOff x="2793094" y="2834139"/>
              <a:chExt cx="1692924" cy="1693326"/>
            </a:xfrm>
          </p:grpSpPr>
          <p:sp>
            <p:nvSpPr>
              <p:cNvPr id="46" name="Freihandform 39">
                <a:extLst>
                  <a:ext uri="{FF2B5EF4-FFF2-40B4-BE49-F238E27FC236}">
                    <a16:creationId xmlns:a16="http://schemas.microsoft.com/office/drawing/2014/main" id="{C0E7E2A2-2E23-20AE-7D69-CF7DF1CD11AE}"/>
                  </a:ext>
                </a:extLst>
              </p:cNvPr>
              <p:cNvSpPr/>
              <p:nvPr/>
            </p:nvSpPr>
            <p:spPr>
              <a:xfrm>
                <a:off x="3609229" y="3362769"/>
                <a:ext cx="876789" cy="1164696"/>
              </a:xfrm>
              <a:custGeom>
                <a:avLst/>
                <a:gdLst>
                  <a:gd name="connsiteX0" fmla="*/ 841522 w 876789"/>
                  <a:gd name="connsiteY0" fmla="*/ 117897 h 1164696"/>
                  <a:gd name="connsiteX1" fmla="*/ 749368 w 876789"/>
                  <a:gd name="connsiteY1" fmla="*/ 53709 h 1164696"/>
                  <a:gd name="connsiteX2" fmla="*/ 438377 w 876789"/>
                  <a:gd name="connsiteY2" fmla="*/ 385 h 1164696"/>
                  <a:gd name="connsiteX3" fmla="*/ 127423 w 876789"/>
                  <a:gd name="connsiteY3" fmla="*/ 53709 h 1164696"/>
                  <a:gd name="connsiteX4" fmla="*/ 35268 w 876789"/>
                  <a:gd name="connsiteY4" fmla="*/ 117897 h 1164696"/>
                  <a:gd name="connsiteX5" fmla="*/ 1 w 876789"/>
                  <a:gd name="connsiteY5" fmla="*/ 206806 h 1164696"/>
                  <a:gd name="connsiteX6" fmla="*/ 1 w 876789"/>
                  <a:gd name="connsiteY6" fmla="*/ 955468 h 1164696"/>
                  <a:gd name="connsiteX7" fmla="*/ 35268 w 876789"/>
                  <a:gd name="connsiteY7" fmla="*/ 1044131 h 1164696"/>
                  <a:gd name="connsiteX8" fmla="*/ 127211 w 876789"/>
                  <a:gd name="connsiteY8" fmla="*/ 1108353 h 1164696"/>
                  <a:gd name="connsiteX9" fmla="*/ 438377 w 876789"/>
                  <a:gd name="connsiteY9" fmla="*/ 1164217 h 1164696"/>
                  <a:gd name="connsiteX10" fmla="*/ 749368 w 876789"/>
                  <a:gd name="connsiteY10" fmla="*/ 1110892 h 1164696"/>
                  <a:gd name="connsiteX11" fmla="*/ 841522 w 876789"/>
                  <a:gd name="connsiteY11" fmla="*/ 1046705 h 1164696"/>
                  <a:gd name="connsiteX12" fmla="*/ 876790 w 876789"/>
                  <a:gd name="connsiteY12" fmla="*/ 957795 h 1164696"/>
                  <a:gd name="connsiteX13" fmla="*/ 876790 w 876789"/>
                  <a:gd name="connsiteY13" fmla="*/ 206806 h 1164696"/>
                  <a:gd name="connsiteX14" fmla="*/ 841522 w 876789"/>
                  <a:gd name="connsiteY14" fmla="*/ 117897 h 1164696"/>
                  <a:gd name="connsiteX15" fmla="*/ 536986 w 876789"/>
                  <a:gd name="connsiteY15" fmla="*/ 1064551 h 1164696"/>
                  <a:gd name="connsiteX16" fmla="*/ 438236 w 876789"/>
                  <a:gd name="connsiteY16" fmla="*/ 1069629 h 1164696"/>
                  <a:gd name="connsiteX17" fmla="*/ 318115 w 876789"/>
                  <a:gd name="connsiteY17" fmla="*/ 1062188 h 1164696"/>
                  <a:gd name="connsiteX18" fmla="*/ 318115 w 876789"/>
                  <a:gd name="connsiteY18" fmla="*/ 408502 h 1164696"/>
                  <a:gd name="connsiteX19" fmla="*/ 438236 w 876789"/>
                  <a:gd name="connsiteY19" fmla="*/ 414321 h 1164696"/>
                  <a:gd name="connsiteX20" fmla="*/ 536986 w 876789"/>
                  <a:gd name="connsiteY20" fmla="*/ 409877 h 1164696"/>
                  <a:gd name="connsiteX21" fmla="*/ 789749 w 876789"/>
                  <a:gd name="connsiteY21" fmla="*/ 957795 h 1164696"/>
                  <a:gd name="connsiteX22" fmla="*/ 703202 w 876789"/>
                  <a:gd name="connsiteY22" fmla="*/ 1029565 h 1164696"/>
                  <a:gd name="connsiteX23" fmla="*/ 624591 w 876789"/>
                  <a:gd name="connsiteY23" fmla="*/ 1051502 h 1164696"/>
                  <a:gd name="connsiteX24" fmla="*/ 624591 w 876789"/>
                  <a:gd name="connsiteY24" fmla="*/ 397745 h 1164696"/>
                  <a:gd name="connsiteX25" fmla="*/ 789749 w 876789"/>
                  <a:gd name="connsiteY25" fmla="*/ 339801 h 1164696"/>
                  <a:gd name="connsiteX26" fmla="*/ 703202 w 876789"/>
                  <a:gd name="connsiteY26" fmla="*/ 281997 h 1164696"/>
                  <a:gd name="connsiteX27" fmla="*/ 438377 w 876789"/>
                  <a:gd name="connsiteY27" fmla="*/ 322061 h 1164696"/>
                  <a:gd name="connsiteX28" fmla="*/ 173870 w 876789"/>
                  <a:gd name="connsiteY28" fmla="*/ 281997 h 1164696"/>
                  <a:gd name="connsiteX29" fmla="*/ 89228 w 876789"/>
                  <a:gd name="connsiteY29" fmla="*/ 207935 h 1164696"/>
                  <a:gd name="connsiteX30" fmla="*/ 89228 w 876789"/>
                  <a:gd name="connsiteY30" fmla="*/ 206842 h 1164696"/>
                  <a:gd name="connsiteX31" fmla="*/ 438377 w 876789"/>
                  <a:gd name="connsiteY31" fmla="*/ 95008 h 1164696"/>
                  <a:gd name="connsiteX32" fmla="*/ 789749 w 876789"/>
                  <a:gd name="connsiteY32" fmla="*/ 208041 h 1164696"/>
                  <a:gd name="connsiteX33" fmla="*/ 703202 w 876789"/>
                  <a:gd name="connsiteY33" fmla="*/ 281997 h 11646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876789" h="1164696">
                    <a:moveTo>
                      <a:pt x="841522" y="117897"/>
                    </a:moveTo>
                    <a:cubicBezTo>
                      <a:pt x="815953" y="89922"/>
                      <a:pt x="784469" y="67996"/>
                      <a:pt x="749368" y="53709"/>
                    </a:cubicBezTo>
                    <a:cubicBezTo>
                      <a:pt x="650343" y="15211"/>
                      <a:pt x="544572" y="-2927"/>
                      <a:pt x="438377" y="385"/>
                    </a:cubicBezTo>
                    <a:cubicBezTo>
                      <a:pt x="332194" y="-2930"/>
                      <a:pt x="226433" y="15208"/>
                      <a:pt x="127423" y="53709"/>
                    </a:cubicBezTo>
                    <a:cubicBezTo>
                      <a:pt x="92321" y="67996"/>
                      <a:pt x="60837" y="89922"/>
                      <a:pt x="35268" y="117897"/>
                    </a:cubicBezTo>
                    <a:cubicBezTo>
                      <a:pt x="12894" y="142136"/>
                      <a:pt x="329" y="173824"/>
                      <a:pt x="1" y="206806"/>
                    </a:cubicBezTo>
                    <a:lnTo>
                      <a:pt x="1" y="955468"/>
                    </a:lnTo>
                    <a:cubicBezTo>
                      <a:pt x="-102" y="988461"/>
                      <a:pt x="12531" y="1020223"/>
                      <a:pt x="35268" y="1044131"/>
                    </a:cubicBezTo>
                    <a:cubicBezTo>
                      <a:pt x="60672" y="1072207"/>
                      <a:pt x="92106" y="1094165"/>
                      <a:pt x="127211" y="1108353"/>
                    </a:cubicBezTo>
                    <a:cubicBezTo>
                      <a:pt x="225752" y="1148988"/>
                      <a:pt x="331855" y="1168036"/>
                      <a:pt x="438377" y="1164217"/>
                    </a:cubicBezTo>
                    <a:cubicBezTo>
                      <a:pt x="544572" y="1167529"/>
                      <a:pt x="650343" y="1149391"/>
                      <a:pt x="749368" y="1110892"/>
                    </a:cubicBezTo>
                    <a:cubicBezTo>
                      <a:pt x="784469" y="1096605"/>
                      <a:pt x="815953" y="1074680"/>
                      <a:pt x="841522" y="1046705"/>
                    </a:cubicBezTo>
                    <a:cubicBezTo>
                      <a:pt x="863462" y="1022198"/>
                      <a:pt x="875964" y="990679"/>
                      <a:pt x="876790" y="957795"/>
                    </a:cubicBezTo>
                    <a:lnTo>
                      <a:pt x="876790" y="206806"/>
                    </a:lnTo>
                    <a:cubicBezTo>
                      <a:pt x="876462" y="173824"/>
                      <a:pt x="863896" y="142136"/>
                      <a:pt x="841522" y="117897"/>
                    </a:cubicBezTo>
                    <a:close/>
                    <a:moveTo>
                      <a:pt x="536986" y="1064551"/>
                    </a:moveTo>
                    <a:cubicBezTo>
                      <a:pt x="505492" y="1067548"/>
                      <a:pt x="472869" y="1069629"/>
                      <a:pt x="438236" y="1069629"/>
                    </a:cubicBezTo>
                    <a:cubicBezTo>
                      <a:pt x="398084" y="1069548"/>
                      <a:pt x="357971" y="1067062"/>
                      <a:pt x="318115" y="1062188"/>
                    </a:cubicBezTo>
                    <a:lnTo>
                      <a:pt x="318115" y="408502"/>
                    </a:lnTo>
                    <a:cubicBezTo>
                      <a:pt x="358031" y="412494"/>
                      <a:pt x="398123" y="414437"/>
                      <a:pt x="438236" y="414321"/>
                    </a:cubicBezTo>
                    <a:cubicBezTo>
                      <a:pt x="472763" y="414321"/>
                      <a:pt x="505245" y="412558"/>
                      <a:pt x="536986" y="409877"/>
                    </a:cubicBezTo>
                    <a:close/>
                    <a:moveTo>
                      <a:pt x="789749" y="957795"/>
                    </a:moveTo>
                    <a:cubicBezTo>
                      <a:pt x="789749" y="982483"/>
                      <a:pt x="757444" y="1009286"/>
                      <a:pt x="703202" y="1029565"/>
                    </a:cubicBezTo>
                    <a:cubicBezTo>
                      <a:pt x="677637" y="1038992"/>
                      <a:pt x="651345" y="1046328"/>
                      <a:pt x="624591" y="1051502"/>
                    </a:cubicBezTo>
                    <a:lnTo>
                      <a:pt x="624591" y="397745"/>
                    </a:lnTo>
                    <a:cubicBezTo>
                      <a:pt x="682726" y="388703"/>
                      <a:pt x="738706" y="369062"/>
                      <a:pt x="789749" y="339801"/>
                    </a:cubicBezTo>
                    <a:close/>
                    <a:moveTo>
                      <a:pt x="703202" y="281997"/>
                    </a:moveTo>
                    <a:cubicBezTo>
                      <a:pt x="617992" y="310909"/>
                      <a:pt x="528328" y="324473"/>
                      <a:pt x="438377" y="322061"/>
                    </a:cubicBezTo>
                    <a:cubicBezTo>
                      <a:pt x="348530" y="324484"/>
                      <a:pt x="258971" y="310916"/>
                      <a:pt x="173870" y="281997"/>
                    </a:cubicBezTo>
                    <a:cubicBezTo>
                      <a:pt x="120122" y="259073"/>
                      <a:pt x="89228" y="232058"/>
                      <a:pt x="89228" y="207935"/>
                    </a:cubicBezTo>
                    <a:lnTo>
                      <a:pt x="89228" y="206842"/>
                    </a:lnTo>
                    <a:cubicBezTo>
                      <a:pt x="89228" y="160994"/>
                      <a:pt x="213581" y="95008"/>
                      <a:pt x="438377" y="95008"/>
                    </a:cubicBezTo>
                    <a:cubicBezTo>
                      <a:pt x="664690" y="95008"/>
                      <a:pt x="789749" y="161170"/>
                      <a:pt x="789749" y="208041"/>
                    </a:cubicBezTo>
                    <a:cubicBezTo>
                      <a:pt x="789749" y="232375"/>
                      <a:pt x="758149" y="259390"/>
                      <a:pt x="703202" y="281997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352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28588" eaLnBrk="1" fontAlgn="auto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de-DE" sz="1289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7" name="Freihandform 40">
                <a:extLst>
                  <a:ext uri="{FF2B5EF4-FFF2-40B4-BE49-F238E27FC236}">
                    <a16:creationId xmlns:a16="http://schemas.microsoft.com/office/drawing/2014/main" id="{6C908558-A61A-4EE6-17FC-3708DBB23695}"/>
                  </a:ext>
                </a:extLst>
              </p:cNvPr>
              <p:cNvSpPr/>
              <p:nvPr/>
            </p:nvSpPr>
            <p:spPr>
              <a:xfrm>
                <a:off x="2793094" y="2834139"/>
                <a:ext cx="1214202" cy="951733"/>
              </a:xfrm>
              <a:custGeom>
                <a:avLst/>
                <a:gdLst>
                  <a:gd name="connsiteX0" fmla="*/ 716011 w 1214202"/>
                  <a:gd name="connsiteY0" fmla="*/ 845930 h 951733"/>
                  <a:gd name="connsiteX1" fmla="*/ 296679 w 1214202"/>
                  <a:gd name="connsiteY1" fmla="*/ 845930 h 951733"/>
                  <a:gd name="connsiteX2" fmla="*/ 105816 w 1214202"/>
                  <a:gd name="connsiteY2" fmla="*/ 656825 h 951733"/>
                  <a:gd name="connsiteX3" fmla="*/ 237606 w 1214202"/>
                  <a:gd name="connsiteY3" fmla="*/ 475090 h 951733"/>
                  <a:gd name="connsiteX4" fmla="*/ 319004 w 1214202"/>
                  <a:gd name="connsiteY4" fmla="*/ 448322 h 951733"/>
                  <a:gd name="connsiteX5" fmla="*/ 309763 w 1214202"/>
                  <a:gd name="connsiteY5" fmla="*/ 363257 h 951733"/>
                  <a:gd name="connsiteX6" fmla="*/ 362665 w 1214202"/>
                  <a:gd name="connsiteY6" fmla="*/ 176902 h 951733"/>
                  <a:gd name="connsiteX7" fmla="*/ 532937 w 1214202"/>
                  <a:gd name="connsiteY7" fmla="*/ 105803 h 951733"/>
                  <a:gd name="connsiteX8" fmla="*/ 739747 w 1214202"/>
                  <a:gd name="connsiteY8" fmla="*/ 248037 h 951733"/>
                  <a:gd name="connsiteX9" fmla="*/ 785841 w 1214202"/>
                  <a:gd name="connsiteY9" fmla="*/ 364068 h 951733"/>
                  <a:gd name="connsiteX10" fmla="*/ 892702 w 1214202"/>
                  <a:gd name="connsiteY10" fmla="*/ 299775 h 951733"/>
                  <a:gd name="connsiteX11" fmla="*/ 964754 w 1214202"/>
                  <a:gd name="connsiteY11" fmla="*/ 278932 h 951733"/>
                  <a:gd name="connsiteX12" fmla="*/ 1102792 w 1214202"/>
                  <a:gd name="connsiteY12" fmla="*/ 393516 h 951733"/>
                  <a:gd name="connsiteX13" fmla="*/ 1108399 w 1214202"/>
                  <a:gd name="connsiteY13" fmla="*/ 423318 h 951733"/>
                  <a:gd name="connsiteX14" fmla="*/ 1214202 w 1214202"/>
                  <a:gd name="connsiteY14" fmla="*/ 423318 h 951733"/>
                  <a:gd name="connsiteX15" fmla="*/ 1206796 w 1214202"/>
                  <a:gd name="connsiteY15" fmla="*/ 373943 h 951733"/>
                  <a:gd name="connsiteX16" fmla="*/ 922094 w 1214202"/>
                  <a:gd name="connsiteY16" fmla="*/ 176985 h 951733"/>
                  <a:gd name="connsiteX17" fmla="*/ 838108 w 1214202"/>
                  <a:gd name="connsiteY17" fmla="*/ 209067 h 951733"/>
                  <a:gd name="connsiteX18" fmla="*/ 531033 w 1214202"/>
                  <a:gd name="connsiteY18" fmla="*/ 0 h 951733"/>
                  <a:gd name="connsiteX19" fmla="*/ 204631 w 1214202"/>
                  <a:gd name="connsiteY19" fmla="*/ 374578 h 951733"/>
                  <a:gd name="connsiteX20" fmla="*/ 14503 w 1214202"/>
                  <a:gd name="connsiteY20" fmla="*/ 747184 h 951733"/>
                  <a:gd name="connsiteX21" fmla="*/ 296679 w 1214202"/>
                  <a:gd name="connsiteY21" fmla="*/ 951733 h 951733"/>
                  <a:gd name="connsiteX22" fmla="*/ 716011 w 1214202"/>
                  <a:gd name="connsiteY22" fmla="*/ 951733 h 9517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1214202" h="951733">
                    <a:moveTo>
                      <a:pt x="716011" y="845930"/>
                    </a:moveTo>
                    <a:lnTo>
                      <a:pt x="296679" y="845930"/>
                    </a:lnTo>
                    <a:cubicBezTo>
                      <a:pt x="191753" y="846416"/>
                      <a:pt x="106301" y="761749"/>
                      <a:pt x="105816" y="656825"/>
                    </a:cubicBezTo>
                    <a:cubicBezTo>
                      <a:pt x="105433" y="573995"/>
                      <a:pt x="158757" y="500462"/>
                      <a:pt x="237606" y="475090"/>
                    </a:cubicBezTo>
                    <a:lnTo>
                      <a:pt x="319004" y="448322"/>
                    </a:lnTo>
                    <a:lnTo>
                      <a:pt x="309763" y="363257"/>
                    </a:lnTo>
                    <a:cubicBezTo>
                      <a:pt x="305154" y="296872"/>
                      <a:pt x="323864" y="230964"/>
                      <a:pt x="362665" y="176902"/>
                    </a:cubicBezTo>
                    <a:cubicBezTo>
                      <a:pt x="406958" y="130398"/>
                      <a:pt x="468725" y="104605"/>
                      <a:pt x="532937" y="105803"/>
                    </a:cubicBezTo>
                    <a:cubicBezTo>
                      <a:pt x="625405" y="103410"/>
                      <a:pt x="708898" y="160833"/>
                      <a:pt x="739747" y="248037"/>
                    </a:cubicBezTo>
                    <a:lnTo>
                      <a:pt x="785841" y="364068"/>
                    </a:lnTo>
                    <a:lnTo>
                      <a:pt x="892702" y="299775"/>
                    </a:lnTo>
                    <a:cubicBezTo>
                      <a:pt x="914343" y="286324"/>
                      <a:pt x="939277" y="279112"/>
                      <a:pt x="964754" y="278932"/>
                    </a:cubicBezTo>
                    <a:cubicBezTo>
                      <a:pt x="1032316" y="279016"/>
                      <a:pt x="1090272" y="327125"/>
                      <a:pt x="1102792" y="393516"/>
                    </a:cubicBezTo>
                    <a:lnTo>
                      <a:pt x="1108399" y="423318"/>
                    </a:lnTo>
                    <a:lnTo>
                      <a:pt x="1214202" y="423318"/>
                    </a:lnTo>
                    <a:cubicBezTo>
                      <a:pt x="1212545" y="407835"/>
                      <a:pt x="1210393" y="391577"/>
                      <a:pt x="1206796" y="373943"/>
                    </a:cubicBezTo>
                    <a:cubicBezTo>
                      <a:pt x="1182567" y="240938"/>
                      <a:pt x="1055103" y="152755"/>
                      <a:pt x="922094" y="176985"/>
                    </a:cubicBezTo>
                    <a:cubicBezTo>
                      <a:pt x="892360" y="182402"/>
                      <a:pt x="863882" y="193279"/>
                      <a:pt x="838108" y="209067"/>
                    </a:cubicBezTo>
                    <a:cubicBezTo>
                      <a:pt x="787665" y="83516"/>
                      <a:pt x="666333" y="910"/>
                      <a:pt x="531033" y="0"/>
                    </a:cubicBezTo>
                    <a:cubicBezTo>
                      <a:pt x="171585" y="8535"/>
                      <a:pt x="204631" y="374578"/>
                      <a:pt x="204631" y="374578"/>
                    </a:cubicBezTo>
                    <a:cubicBezTo>
                      <a:pt x="49236" y="424968"/>
                      <a:pt x="-35887" y="591788"/>
                      <a:pt x="14503" y="747184"/>
                    </a:cubicBezTo>
                    <a:cubicBezTo>
                      <a:pt x="54142" y="869421"/>
                      <a:pt x="168173" y="952085"/>
                      <a:pt x="296679" y="951733"/>
                    </a:cubicBezTo>
                    <a:lnTo>
                      <a:pt x="716011" y="951733"/>
                    </a:lnTo>
                    <a:close/>
                  </a:path>
                </a:pathLst>
              </a:custGeom>
              <a:solidFill>
                <a:srgbClr val="096ED2"/>
              </a:solidFill>
              <a:ln w="352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28588" eaLnBrk="1" fontAlgn="auto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de-DE" sz="1289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sp>
        <p:nvSpPr>
          <p:cNvPr id="48" name="Rectangle: Rounded Corners 47">
            <a:extLst>
              <a:ext uri="{FF2B5EF4-FFF2-40B4-BE49-F238E27FC236}">
                <a16:creationId xmlns:a16="http://schemas.microsoft.com/office/drawing/2014/main" id="{76FBF563-E884-5A6B-1E40-2138BAAC0DB6}"/>
              </a:ext>
            </a:extLst>
          </p:cNvPr>
          <p:cNvSpPr/>
          <p:nvPr/>
        </p:nvSpPr>
        <p:spPr bwMode="gray">
          <a:xfrm>
            <a:off x="3588933" y="2032364"/>
            <a:ext cx="1269669" cy="369236"/>
          </a:xfrm>
          <a:prstGeom prst="round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89977" tIns="71981" rIns="89977" bIns="71981" rtlCol="0" anchor="ctr"/>
          <a:lstStyle/>
          <a:p>
            <a:pPr algn="ctr" defTabSz="914126" eaLnBrk="1" hangingPunct="1">
              <a:spcBef>
                <a:spcPct val="50000"/>
              </a:spcBef>
              <a:buClr>
                <a:srgbClr val="F0AB00"/>
              </a:buClr>
              <a:buSzPct val="80000"/>
            </a:pPr>
            <a:r>
              <a:rPr lang="en-US" sz="1200" ker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Answer</a:t>
            </a:r>
          </a:p>
        </p:txBody>
      </p:sp>
      <p:sp>
        <p:nvSpPr>
          <p:cNvPr id="50" name="Rectangle: Rounded Corners 49">
            <a:extLst>
              <a:ext uri="{FF2B5EF4-FFF2-40B4-BE49-F238E27FC236}">
                <a16:creationId xmlns:a16="http://schemas.microsoft.com/office/drawing/2014/main" id="{83EAE583-2F59-3DEB-A23A-1884751875E1}"/>
              </a:ext>
            </a:extLst>
          </p:cNvPr>
          <p:cNvSpPr/>
          <p:nvPr/>
        </p:nvSpPr>
        <p:spPr bwMode="gray">
          <a:xfrm>
            <a:off x="3588933" y="2706814"/>
            <a:ext cx="1269669" cy="369236"/>
          </a:xfrm>
          <a:prstGeom prst="round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89977" tIns="71981" rIns="89977" bIns="71981" rtlCol="0" anchor="ctr"/>
          <a:lstStyle/>
          <a:p>
            <a:pPr algn="ctr" defTabSz="914126" eaLnBrk="1" hangingPunct="1">
              <a:spcBef>
                <a:spcPct val="50000"/>
              </a:spcBef>
              <a:buClr>
                <a:srgbClr val="F0AB00"/>
              </a:buClr>
              <a:buSzPct val="80000"/>
            </a:pPr>
            <a:r>
              <a:rPr lang="en-US" sz="1200" ker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Question</a:t>
            </a:r>
          </a:p>
        </p:txBody>
      </p:sp>
      <p:sp>
        <p:nvSpPr>
          <p:cNvPr id="51" name="Rectangle: Rounded Corners 50">
            <a:extLst>
              <a:ext uri="{FF2B5EF4-FFF2-40B4-BE49-F238E27FC236}">
                <a16:creationId xmlns:a16="http://schemas.microsoft.com/office/drawing/2014/main" id="{CCDA2735-E885-BB00-866F-0CF1CB3FC3BE}"/>
              </a:ext>
            </a:extLst>
          </p:cNvPr>
          <p:cNvSpPr/>
          <p:nvPr/>
        </p:nvSpPr>
        <p:spPr bwMode="gray">
          <a:xfrm>
            <a:off x="5484972" y="2706814"/>
            <a:ext cx="2082258" cy="369236"/>
          </a:xfrm>
          <a:prstGeom prst="round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89977" tIns="71981" rIns="89977" bIns="71981" rtlCol="0" anchor="ctr"/>
          <a:lstStyle/>
          <a:p>
            <a:pPr algn="ctr" defTabSz="914126" eaLnBrk="1" hangingPunct="1">
              <a:spcBef>
                <a:spcPct val="50000"/>
              </a:spcBef>
              <a:buClr>
                <a:srgbClr val="F0AB00"/>
              </a:buClr>
              <a:buSzPct val="80000"/>
            </a:pPr>
            <a:r>
              <a:rPr lang="en-US" sz="1200" ker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Question Embedding</a:t>
            </a:r>
          </a:p>
        </p:txBody>
      </p:sp>
      <p:sp>
        <p:nvSpPr>
          <p:cNvPr id="52" name="Rectangle: Rounded Corners 51">
            <a:extLst>
              <a:ext uri="{FF2B5EF4-FFF2-40B4-BE49-F238E27FC236}">
                <a16:creationId xmlns:a16="http://schemas.microsoft.com/office/drawing/2014/main" id="{5210B934-107D-6E7F-86EC-BB9AB926B11F}"/>
              </a:ext>
            </a:extLst>
          </p:cNvPr>
          <p:cNvSpPr/>
          <p:nvPr/>
        </p:nvSpPr>
        <p:spPr bwMode="gray">
          <a:xfrm>
            <a:off x="8179859" y="2706814"/>
            <a:ext cx="1388172" cy="369236"/>
          </a:xfrm>
          <a:prstGeom prst="round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89977" tIns="71981" rIns="89977" bIns="71981" rtlCol="0" anchor="ctr"/>
          <a:lstStyle/>
          <a:p>
            <a:pPr algn="ctr" defTabSz="914126" eaLnBrk="1" hangingPunct="1">
              <a:spcBef>
                <a:spcPct val="50000"/>
              </a:spcBef>
              <a:buClr>
                <a:srgbClr val="F0AB00"/>
              </a:buClr>
              <a:buSzPct val="80000"/>
            </a:pPr>
            <a:r>
              <a:rPr lang="en-US" sz="1200" ker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Similarity Search</a:t>
            </a:r>
          </a:p>
        </p:txBody>
      </p:sp>
      <p:pic>
        <p:nvPicPr>
          <p:cNvPr id="53" name="Grafik 79">
            <a:extLst>
              <a:ext uri="{FF2B5EF4-FFF2-40B4-BE49-F238E27FC236}">
                <a16:creationId xmlns:a16="http://schemas.microsoft.com/office/drawing/2014/main" id="{8D6EC8EC-F0C1-EF42-48B2-61C8576D44F5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6141" t="34190" r="4285" b="26097"/>
          <a:stretch/>
        </p:blipFill>
        <p:spPr>
          <a:xfrm>
            <a:off x="7941238" y="4345605"/>
            <a:ext cx="1756871" cy="1337386"/>
          </a:xfrm>
          <a:prstGeom prst="roundRect">
            <a:avLst>
              <a:gd name="adj" fmla="val 12930"/>
            </a:avLst>
          </a:prstGeom>
          <a:effectLst>
            <a:outerShdw blurRad="177800" algn="t" rotWithShape="0">
              <a:prstClr val="black">
                <a:alpha val="30000"/>
              </a:prstClr>
            </a:outerShdw>
          </a:effectLst>
        </p:spPr>
      </p:pic>
      <p:sp>
        <p:nvSpPr>
          <p:cNvPr id="54" name="Textfeld 90">
            <a:extLst>
              <a:ext uri="{FF2B5EF4-FFF2-40B4-BE49-F238E27FC236}">
                <a16:creationId xmlns:a16="http://schemas.microsoft.com/office/drawing/2014/main" id="{F24798A7-EE79-FC28-E609-7C89F29A4B09}"/>
              </a:ext>
            </a:extLst>
          </p:cNvPr>
          <p:cNvSpPr txBox="1"/>
          <p:nvPr/>
        </p:nvSpPr>
        <p:spPr>
          <a:xfrm flipH="1">
            <a:off x="8057054" y="4564759"/>
            <a:ext cx="1510978" cy="145386"/>
          </a:xfrm>
          <a:prstGeom prst="rect">
            <a:avLst/>
          </a:prstGeom>
          <a:noFill/>
          <a:effectLst/>
        </p:spPr>
        <p:txBody>
          <a:bodyPr wrap="square" lIns="0" tIns="0" rIns="0" bIns="0" anchor="ctr">
            <a:spAutoFit/>
          </a:bodyPr>
          <a:lstStyle/>
          <a:p>
            <a:pPr algn="ctr" defTabSz="928309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050" b="1" kern="0">
                <a:solidFill>
                  <a:srgbClr val="F8F8F8"/>
                </a:solidFill>
                <a:latin typeface="Arial"/>
                <a:ea typeface="Arial Unicode MS" pitchFamily="34" charset="-128"/>
                <a:cs typeface="72" panose="020B0503030000000003" pitchFamily="34" charset="0"/>
              </a:rPr>
              <a:t>SAP HANA Cloud</a:t>
            </a:r>
            <a:endParaRPr lang="en-US" sz="1050" kern="0">
              <a:solidFill>
                <a:srgbClr val="F8F8F8"/>
              </a:solidFill>
              <a:latin typeface="Arial"/>
              <a:ea typeface="Arial Unicode MS" pitchFamily="34" charset="-128"/>
              <a:cs typeface="72" panose="020B0503030000000003" pitchFamily="34" charset="0"/>
            </a:endParaRPr>
          </a:p>
        </p:txBody>
      </p:sp>
      <p:sp>
        <p:nvSpPr>
          <p:cNvPr id="55" name="Textfeld 105">
            <a:extLst>
              <a:ext uri="{FF2B5EF4-FFF2-40B4-BE49-F238E27FC236}">
                <a16:creationId xmlns:a16="http://schemas.microsoft.com/office/drawing/2014/main" id="{0F195218-7595-A155-5F25-FFB3B4B1DEAD}"/>
              </a:ext>
            </a:extLst>
          </p:cNvPr>
          <p:cNvSpPr txBox="1"/>
          <p:nvPr/>
        </p:nvSpPr>
        <p:spPr>
          <a:xfrm>
            <a:off x="8256661" y="4762494"/>
            <a:ext cx="1279794" cy="124618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algn="ctr" defTabSz="928309" eaLnBrk="1" hangingPunct="1">
              <a:lnSpc>
                <a:spcPct val="90000"/>
              </a:lnSpc>
              <a:spcBef>
                <a:spcPct val="50000"/>
              </a:spcBef>
              <a:buClr>
                <a:srgbClr val="F0AB00"/>
              </a:buClr>
              <a:buSzPct val="80000"/>
            </a:pPr>
            <a:r>
              <a:rPr lang="en-GB" sz="900">
                <a:solidFill>
                  <a:srgbClr val="FFFFFF"/>
                </a:solidFill>
                <a:latin typeface="Arial"/>
                <a:cs typeface="72" panose="020B0503030000000003" pitchFamily="34" charset="0"/>
              </a:rPr>
              <a:t>Vector store</a:t>
            </a:r>
            <a:endParaRPr lang="en-US" sz="800" kern="0">
              <a:solidFill>
                <a:srgbClr val="FFFFFF"/>
              </a:solidFill>
              <a:latin typeface="Arial"/>
              <a:ea typeface="Arial Unicode MS" pitchFamily="34" charset="-128"/>
              <a:cs typeface="72" panose="020B0503030000000003" pitchFamily="34" charset="0"/>
            </a:endParaRPr>
          </a:p>
        </p:txBody>
      </p:sp>
      <p:grpSp>
        <p:nvGrpSpPr>
          <p:cNvPr id="56" name="Gruppieren 110">
            <a:extLst>
              <a:ext uri="{FF2B5EF4-FFF2-40B4-BE49-F238E27FC236}">
                <a16:creationId xmlns:a16="http://schemas.microsoft.com/office/drawing/2014/main" id="{09BFDE56-7C91-BAA6-4BF6-79C46AF399AB}"/>
              </a:ext>
            </a:extLst>
          </p:cNvPr>
          <p:cNvGrpSpPr/>
          <p:nvPr/>
        </p:nvGrpSpPr>
        <p:grpSpPr>
          <a:xfrm>
            <a:off x="8525252" y="5014298"/>
            <a:ext cx="517982" cy="486163"/>
            <a:chOff x="16968024" y="11096208"/>
            <a:chExt cx="2613968" cy="2613970"/>
          </a:xfrm>
        </p:grpSpPr>
        <p:sp>
          <p:nvSpPr>
            <p:cNvPr id="57" name="Abgerundetes Rechteck 111">
              <a:extLst>
                <a:ext uri="{FF2B5EF4-FFF2-40B4-BE49-F238E27FC236}">
                  <a16:creationId xmlns:a16="http://schemas.microsoft.com/office/drawing/2014/main" id="{65ABE274-CD93-FDFE-7C83-AAEB9AED702C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16968024" y="11096208"/>
              <a:ext cx="2613968" cy="2613970"/>
            </a:xfrm>
            <a:prstGeom prst="roundRect">
              <a:avLst>
                <a:gd name="adj" fmla="val 50000"/>
              </a:avLst>
            </a:prstGeom>
            <a:solidFill>
              <a:srgbClr val="F8F8F8">
                <a:alpha val="70000"/>
              </a:srgbClr>
            </a:solidFill>
            <a:ln w="25400" algn="ctr">
              <a:noFill/>
              <a:miter lim="800000"/>
              <a:headEnd/>
              <a:tailEnd/>
            </a:ln>
          </p:spPr>
          <p:txBody>
            <a:bodyPr lIns="22487" tIns="17989" rIns="22487" bIns="17989" rtlCol="0" anchor="ctr"/>
            <a:lstStyle/>
            <a:p>
              <a:pPr algn="ctr" defTabSz="228483" eaLnBrk="1" hangingPunct="1">
                <a:lnSpc>
                  <a:spcPct val="90000"/>
                </a:lnSpc>
                <a:spcBef>
                  <a:spcPct val="50000"/>
                </a:spcBef>
                <a:buClr>
                  <a:srgbClr val="F0AB00"/>
                </a:buClr>
                <a:buSzPct val="80000"/>
              </a:pPr>
              <a:endParaRPr lang="de-DE" sz="450" kern="0" err="1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endParaRPr>
            </a:p>
          </p:txBody>
        </p:sp>
        <p:pic>
          <p:nvPicPr>
            <p:cNvPr id="58" name="Grafik 113">
              <a:extLst>
                <a:ext uri="{FF2B5EF4-FFF2-40B4-BE49-F238E27FC236}">
                  <a16:creationId xmlns:a16="http://schemas.microsoft.com/office/drawing/2014/main" id="{74A1AE7A-B222-07CC-C546-6D35CC452AA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17509846" y="11638031"/>
              <a:ext cx="1530324" cy="1530324"/>
            </a:xfrm>
            <a:prstGeom prst="rect">
              <a:avLst/>
            </a:prstGeom>
          </p:spPr>
        </p:pic>
      </p:grpSp>
      <p:sp>
        <p:nvSpPr>
          <p:cNvPr id="59" name="Rectangle: Rounded Corners 58">
            <a:extLst>
              <a:ext uri="{FF2B5EF4-FFF2-40B4-BE49-F238E27FC236}">
                <a16:creationId xmlns:a16="http://schemas.microsoft.com/office/drawing/2014/main" id="{5C24AA45-17FD-AB83-5C73-12D8AE37A356}"/>
              </a:ext>
            </a:extLst>
          </p:cNvPr>
          <p:cNvSpPr/>
          <p:nvPr/>
        </p:nvSpPr>
        <p:spPr bwMode="gray">
          <a:xfrm>
            <a:off x="10123497" y="2052305"/>
            <a:ext cx="1388172" cy="369236"/>
          </a:xfrm>
          <a:prstGeom prst="round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89977" tIns="71981" rIns="89977" bIns="71981" rtlCol="0" anchor="ctr"/>
          <a:lstStyle/>
          <a:p>
            <a:pPr algn="ctr" defTabSz="914126" eaLnBrk="1" hangingPunct="1">
              <a:spcBef>
                <a:spcPct val="50000"/>
              </a:spcBef>
              <a:buClr>
                <a:srgbClr val="F0AB00"/>
              </a:buClr>
              <a:buSzPct val="80000"/>
            </a:pPr>
            <a:r>
              <a:rPr lang="en-US" sz="1200" ker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LLM</a:t>
            </a:r>
          </a:p>
        </p:txBody>
      </p:sp>
      <p:sp>
        <p:nvSpPr>
          <p:cNvPr id="60" name="Rectangle: Rounded Corners 59">
            <a:extLst>
              <a:ext uri="{FF2B5EF4-FFF2-40B4-BE49-F238E27FC236}">
                <a16:creationId xmlns:a16="http://schemas.microsoft.com/office/drawing/2014/main" id="{31219A45-730C-719B-CBD1-B7DF88A85288}"/>
              </a:ext>
            </a:extLst>
          </p:cNvPr>
          <p:cNvSpPr/>
          <p:nvPr/>
        </p:nvSpPr>
        <p:spPr bwMode="gray">
          <a:xfrm>
            <a:off x="5307217" y="4467422"/>
            <a:ext cx="2082258" cy="369236"/>
          </a:xfrm>
          <a:prstGeom prst="roundRect">
            <a:avLst/>
          </a:prstGeom>
          <a:ln>
            <a:headEnd/>
            <a:tailEnd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89977" tIns="71981" rIns="89977" bIns="71981" rtlCol="0" anchor="ctr"/>
          <a:lstStyle/>
          <a:p>
            <a:pPr algn="ctr" defTabSz="914126" eaLnBrk="1" hangingPunct="1">
              <a:spcBef>
                <a:spcPct val="50000"/>
              </a:spcBef>
              <a:buClr>
                <a:srgbClr val="F0AB00"/>
              </a:buClr>
              <a:buSzPct val="80000"/>
            </a:pPr>
            <a:r>
              <a:rPr lang="en-US" sz="1200" kern="0">
                <a:solidFill>
                  <a:srgbClr val="999999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Embeddings (vectors)</a:t>
            </a:r>
          </a:p>
        </p:txBody>
      </p:sp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805E6BBD-742C-E99A-3676-E0C69669451C}"/>
              </a:ext>
            </a:extLst>
          </p:cNvPr>
          <p:cNvSpPr/>
          <p:nvPr/>
        </p:nvSpPr>
        <p:spPr bwMode="gray">
          <a:xfrm>
            <a:off x="3741291" y="4673007"/>
            <a:ext cx="1218884" cy="369236"/>
          </a:xfrm>
          <a:prstGeom prst="roundRect">
            <a:avLst/>
          </a:prstGeom>
          <a:ln>
            <a:headEnd/>
            <a:tailEnd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89977" tIns="71981" rIns="89977" bIns="71981" rtlCol="0" anchor="ctr"/>
          <a:lstStyle/>
          <a:p>
            <a:pPr algn="ctr" defTabSz="914126" eaLnBrk="1" hangingPunct="1">
              <a:spcBef>
                <a:spcPct val="50000"/>
              </a:spcBef>
              <a:buClr>
                <a:srgbClr val="F0AB00"/>
              </a:buClr>
              <a:buSzPct val="80000"/>
            </a:pPr>
            <a:endParaRPr lang="en-US" sz="1799" kern="0" err="1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3" name="Rectangle: Rounded Corners 62">
            <a:extLst>
              <a:ext uri="{FF2B5EF4-FFF2-40B4-BE49-F238E27FC236}">
                <a16:creationId xmlns:a16="http://schemas.microsoft.com/office/drawing/2014/main" id="{4B930B1B-19BE-67E8-0BC1-E8F5381D68F7}"/>
              </a:ext>
            </a:extLst>
          </p:cNvPr>
          <p:cNvSpPr/>
          <p:nvPr/>
        </p:nvSpPr>
        <p:spPr bwMode="gray">
          <a:xfrm>
            <a:off x="3572003" y="4467422"/>
            <a:ext cx="1218884" cy="369236"/>
          </a:xfrm>
          <a:prstGeom prst="roundRect">
            <a:avLst/>
          </a:prstGeom>
          <a:ln>
            <a:headEnd/>
            <a:tailEnd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89977" tIns="71981" rIns="89977" bIns="71981" rtlCol="0" anchor="ctr"/>
          <a:lstStyle/>
          <a:p>
            <a:pPr algn="ctr" defTabSz="914126" eaLnBrk="1" hangingPunct="1">
              <a:spcBef>
                <a:spcPct val="50000"/>
              </a:spcBef>
              <a:buClr>
                <a:srgbClr val="F0AB00"/>
              </a:buClr>
              <a:buSzPct val="80000"/>
            </a:pPr>
            <a:r>
              <a:rPr lang="en-US" sz="1200" kern="0">
                <a:solidFill>
                  <a:srgbClr val="999999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Text chunks</a:t>
            </a:r>
          </a:p>
        </p:txBody>
      </p:sp>
      <p:sp>
        <p:nvSpPr>
          <p:cNvPr id="1024" name="Rectangle: Rounded Corners 1023">
            <a:extLst>
              <a:ext uri="{FF2B5EF4-FFF2-40B4-BE49-F238E27FC236}">
                <a16:creationId xmlns:a16="http://schemas.microsoft.com/office/drawing/2014/main" id="{25FAC160-742D-47C4-DE46-EEF553D4C6F9}"/>
              </a:ext>
            </a:extLst>
          </p:cNvPr>
          <p:cNvSpPr/>
          <p:nvPr/>
        </p:nvSpPr>
        <p:spPr bwMode="gray">
          <a:xfrm>
            <a:off x="10145735" y="4466562"/>
            <a:ext cx="1388172" cy="369236"/>
          </a:xfrm>
          <a:prstGeom prst="round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89977" tIns="71981" rIns="89977" bIns="71981" rtlCol="0" anchor="ctr"/>
          <a:lstStyle/>
          <a:p>
            <a:pPr algn="ctr" defTabSz="914126" eaLnBrk="1" hangingPunct="1">
              <a:spcBef>
                <a:spcPct val="50000"/>
              </a:spcBef>
              <a:buClr>
                <a:srgbClr val="F0AB00"/>
              </a:buClr>
              <a:buSzPct val="80000"/>
            </a:pPr>
            <a:r>
              <a:rPr lang="en-US" sz="1200" ker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Best matches</a:t>
            </a:r>
          </a:p>
        </p:txBody>
      </p:sp>
      <p:sp>
        <p:nvSpPr>
          <p:cNvPr id="1025" name="Arrow: Right 1024">
            <a:extLst>
              <a:ext uri="{FF2B5EF4-FFF2-40B4-BE49-F238E27FC236}">
                <a16:creationId xmlns:a16="http://schemas.microsoft.com/office/drawing/2014/main" id="{D56AD8F5-3A75-5F93-45D3-F394B9FFFBE2}"/>
              </a:ext>
            </a:extLst>
          </p:cNvPr>
          <p:cNvSpPr/>
          <p:nvPr/>
        </p:nvSpPr>
        <p:spPr bwMode="gray">
          <a:xfrm>
            <a:off x="2864351" y="2811094"/>
            <a:ext cx="422396" cy="177754"/>
          </a:xfrm>
          <a:prstGeom prst="rightArrow">
            <a:avLst/>
          </a:prstGeom>
          <a:noFill/>
          <a:ln w="25400" algn="ctr">
            <a:solidFill>
              <a:schemeClr val="tx1"/>
            </a:solidFill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algn="ctr" defTabSz="914126" eaLnBrk="1" hangingPunct="1">
              <a:spcBef>
                <a:spcPct val="50000"/>
              </a:spcBef>
              <a:buClr>
                <a:srgbClr val="F0AB00"/>
              </a:buClr>
              <a:buSzPct val="80000"/>
            </a:pPr>
            <a:endParaRPr lang="en-US" sz="1799" kern="0" err="1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027" name="Arrow: Right 1026">
            <a:extLst>
              <a:ext uri="{FF2B5EF4-FFF2-40B4-BE49-F238E27FC236}">
                <a16:creationId xmlns:a16="http://schemas.microsoft.com/office/drawing/2014/main" id="{83246655-3211-68E8-72CA-C26127DE8601}"/>
              </a:ext>
            </a:extLst>
          </p:cNvPr>
          <p:cNvSpPr/>
          <p:nvPr/>
        </p:nvSpPr>
        <p:spPr bwMode="gray">
          <a:xfrm rot="10800000">
            <a:off x="2864351" y="2180820"/>
            <a:ext cx="422396" cy="177754"/>
          </a:xfrm>
          <a:prstGeom prst="rightArrow">
            <a:avLst/>
          </a:prstGeom>
          <a:noFill/>
          <a:ln w="25400" algn="ctr">
            <a:solidFill>
              <a:schemeClr val="tx1"/>
            </a:solidFill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algn="ctr" defTabSz="914126" eaLnBrk="1" hangingPunct="1">
              <a:spcBef>
                <a:spcPct val="50000"/>
              </a:spcBef>
              <a:buClr>
                <a:srgbClr val="F0AB00"/>
              </a:buClr>
              <a:buSzPct val="80000"/>
            </a:pPr>
            <a:endParaRPr lang="en-US" sz="1799" kern="0" err="1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1031" name="Straight Arrow Connector 1030">
            <a:extLst>
              <a:ext uri="{FF2B5EF4-FFF2-40B4-BE49-F238E27FC236}">
                <a16:creationId xmlns:a16="http://schemas.microsoft.com/office/drawing/2014/main" id="{D691878A-1936-BC8D-9BED-681F9301CD1B}"/>
              </a:ext>
            </a:extLst>
          </p:cNvPr>
          <p:cNvCxnSpPr>
            <a:stCxn id="59" idx="1"/>
            <a:endCxn id="48" idx="3"/>
          </p:cNvCxnSpPr>
          <p:nvPr/>
        </p:nvCxnSpPr>
        <p:spPr>
          <a:xfrm flipH="1" flipV="1">
            <a:off x="4858602" y="2216982"/>
            <a:ext cx="5264895" cy="19942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</p:cxnSp>
      <p:cxnSp>
        <p:nvCxnSpPr>
          <p:cNvPr id="1033" name="Straight Arrow Connector 1032">
            <a:extLst>
              <a:ext uri="{FF2B5EF4-FFF2-40B4-BE49-F238E27FC236}">
                <a16:creationId xmlns:a16="http://schemas.microsoft.com/office/drawing/2014/main" id="{DB8E269A-4C8B-7FB7-BDFA-7E1A62D171D7}"/>
              </a:ext>
            </a:extLst>
          </p:cNvPr>
          <p:cNvCxnSpPr>
            <a:stCxn id="50" idx="3"/>
            <a:endCxn id="51" idx="1"/>
          </p:cNvCxnSpPr>
          <p:nvPr/>
        </p:nvCxnSpPr>
        <p:spPr>
          <a:xfrm>
            <a:off x="4858603" y="2891432"/>
            <a:ext cx="626370" cy="0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</p:cxnSp>
      <p:cxnSp>
        <p:nvCxnSpPr>
          <p:cNvPr id="1035" name="Straight Arrow Connector 1034">
            <a:extLst>
              <a:ext uri="{FF2B5EF4-FFF2-40B4-BE49-F238E27FC236}">
                <a16:creationId xmlns:a16="http://schemas.microsoft.com/office/drawing/2014/main" id="{60D1DB2A-2214-EC5C-E78A-E9E6D8B3FCFD}"/>
              </a:ext>
            </a:extLst>
          </p:cNvPr>
          <p:cNvCxnSpPr>
            <a:stCxn id="51" idx="3"/>
            <a:endCxn id="52" idx="1"/>
          </p:cNvCxnSpPr>
          <p:nvPr/>
        </p:nvCxnSpPr>
        <p:spPr>
          <a:xfrm>
            <a:off x="7567230" y="2891432"/>
            <a:ext cx="612628" cy="0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</p:cxnSp>
      <p:cxnSp>
        <p:nvCxnSpPr>
          <p:cNvPr id="1037" name="Straight Arrow Connector 1036">
            <a:extLst>
              <a:ext uri="{FF2B5EF4-FFF2-40B4-BE49-F238E27FC236}">
                <a16:creationId xmlns:a16="http://schemas.microsoft.com/office/drawing/2014/main" id="{AE9D9407-6CCE-C05D-9D53-34BF1D251B0D}"/>
              </a:ext>
            </a:extLst>
          </p:cNvPr>
          <p:cNvCxnSpPr>
            <a:cxnSpLocks/>
          </p:cNvCxnSpPr>
          <p:nvPr/>
        </p:nvCxnSpPr>
        <p:spPr>
          <a:xfrm>
            <a:off x="8922125" y="3078607"/>
            <a:ext cx="0" cy="1295723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040" name="Straight Arrow Connector 1039">
            <a:extLst>
              <a:ext uri="{FF2B5EF4-FFF2-40B4-BE49-F238E27FC236}">
                <a16:creationId xmlns:a16="http://schemas.microsoft.com/office/drawing/2014/main" id="{455A5C7B-0123-1322-5235-C0976AE29D6E}"/>
              </a:ext>
            </a:extLst>
          </p:cNvPr>
          <p:cNvCxnSpPr>
            <a:stCxn id="1024" idx="0"/>
            <a:endCxn id="59" idx="2"/>
          </p:cNvCxnSpPr>
          <p:nvPr/>
        </p:nvCxnSpPr>
        <p:spPr>
          <a:xfrm flipH="1" flipV="1">
            <a:off x="10817584" y="2421542"/>
            <a:ext cx="22237" cy="2045020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043" name="Straight Arrow Connector 1042">
            <a:extLst>
              <a:ext uri="{FF2B5EF4-FFF2-40B4-BE49-F238E27FC236}">
                <a16:creationId xmlns:a16="http://schemas.microsoft.com/office/drawing/2014/main" id="{DE758638-F72D-182D-90E9-C5CDCA1E5F00}"/>
              </a:ext>
            </a:extLst>
          </p:cNvPr>
          <p:cNvCxnSpPr>
            <a:cxnSpLocks/>
          </p:cNvCxnSpPr>
          <p:nvPr/>
        </p:nvCxnSpPr>
        <p:spPr>
          <a:xfrm>
            <a:off x="9662679" y="4652040"/>
            <a:ext cx="475794" cy="0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045" name="Straight Arrow Connector 1044">
            <a:extLst>
              <a:ext uri="{FF2B5EF4-FFF2-40B4-BE49-F238E27FC236}">
                <a16:creationId xmlns:a16="http://schemas.microsoft.com/office/drawing/2014/main" id="{D6016F89-5DAB-2775-840D-BA46474584D9}"/>
              </a:ext>
            </a:extLst>
          </p:cNvPr>
          <p:cNvCxnSpPr>
            <a:cxnSpLocks/>
          </p:cNvCxnSpPr>
          <p:nvPr/>
        </p:nvCxnSpPr>
        <p:spPr>
          <a:xfrm flipV="1">
            <a:off x="7389475" y="4651180"/>
            <a:ext cx="551762" cy="860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</p:cxnSp>
      <p:cxnSp>
        <p:nvCxnSpPr>
          <p:cNvPr id="1047" name="Straight Arrow Connector 1046">
            <a:extLst>
              <a:ext uri="{FF2B5EF4-FFF2-40B4-BE49-F238E27FC236}">
                <a16:creationId xmlns:a16="http://schemas.microsoft.com/office/drawing/2014/main" id="{93A8891F-B6D4-CE06-246D-B1022EEE7231}"/>
              </a:ext>
            </a:extLst>
          </p:cNvPr>
          <p:cNvCxnSpPr>
            <a:cxnSpLocks/>
            <a:endCxn id="60" idx="1"/>
          </p:cNvCxnSpPr>
          <p:nvPr/>
        </p:nvCxnSpPr>
        <p:spPr>
          <a:xfrm>
            <a:off x="4786653" y="4652040"/>
            <a:ext cx="520564" cy="0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</p:cxnSp>
      <p:sp>
        <p:nvSpPr>
          <p:cNvPr id="1052" name="Rectangle: Folded Corner 1051">
            <a:extLst>
              <a:ext uri="{FF2B5EF4-FFF2-40B4-BE49-F238E27FC236}">
                <a16:creationId xmlns:a16="http://schemas.microsoft.com/office/drawing/2014/main" id="{4A085DA4-B1A6-994E-C93D-625F3588653E}"/>
              </a:ext>
            </a:extLst>
          </p:cNvPr>
          <p:cNvSpPr/>
          <p:nvPr/>
        </p:nvSpPr>
        <p:spPr bwMode="gray">
          <a:xfrm>
            <a:off x="1406863" y="4277125"/>
            <a:ext cx="1232288" cy="1295723"/>
          </a:xfrm>
          <a:prstGeom prst="foldedCorner">
            <a:avLst/>
          </a:prstGeom>
          <a:ln>
            <a:headEnd/>
            <a:tailEnd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89977" tIns="71981" rIns="89977" bIns="71981" rtlCol="0" anchor="ctr"/>
          <a:lstStyle/>
          <a:p>
            <a:pPr algn="ctr" defTabSz="914126" eaLnBrk="1" hangingPunct="1">
              <a:spcBef>
                <a:spcPct val="50000"/>
              </a:spcBef>
              <a:buClr>
                <a:srgbClr val="F0AB00"/>
              </a:buClr>
              <a:buSzPct val="80000"/>
            </a:pPr>
            <a:endParaRPr lang="en-US" sz="1799" kern="0" err="1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051" name="Rectangle: Folded Corner 1050">
            <a:extLst>
              <a:ext uri="{FF2B5EF4-FFF2-40B4-BE49-F238E27FC236}">
                <a16:creationId xmlns:a16="http://schemas.microsoft.com/office/drawing/2014/main" id="{BBB8BEDB-5488-578A-FD38-36AE24B8D576}"/>
              </a:ext>
            </a:extLst>
          </p:cNvPr>
          <p:cNvSpPr/>
          <p:nvPr/>
        </p:nvSpPr>
        <p:spPr bwMode="gray">
          <a:xfrm>
            <a:off x="1254502" y="4124765"/>
            <a:ext cx="1232288" cy="1295723"/>
          </a:xfrm>
          <a:prstGeom prst="foldedCorner">
            <a:avLst/>
          </a:prstGeom>
          <a:ln>
            <a:headEnd/>
            <a:tailEnd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89977" tIns="71981" rIns="89977" bIns="71981" rtlCol="0" anchor="ctr"/>
          <a:lstStyle/>
          <a:p>
            <a:pPr algn="ctr" defTabSz="914126" eaLnBrk="1" hangingPunct="1">
              <a:spcBef>
                <a:spcPct val="50000"/>
              </a:spcBef>
              <a:buClr>
                <a:srgbClr val="F0AB00"/>
              </a:buClr>
              <a:buSzPct val="80000"/>
            </a:pPr>
            <a:r>
              <a:rPr lang="en-US" sz="1200" kern="0">
                <a:solidFill>
                  <a:srgbClr val="999999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Text Documents (Web, PDF …)</a:t>
            </a:r>
            <a:endParaRPr lang="en-US" sz="1200" kern="0" err="1">
              <a:solidFill>
                <a:srgbClr val="999999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1054" name="Straight Arrow Connector 1053">
            <a:extLst>
              <a:ext uri="{FF2B5EF4-FFF2-40B4-BE49-F238E27FC236}">
                <a16:creationId xmlns:a16="http://schemas.microsoft.com/office/drawing/2014/main" id="{D03AAFEB-D7A1-82C3-EBC6-AEAF029BCD3D}"/>
              </a:ext>
            </a:extLst>
          </p:cNvPr>
          <p:cNvCxnSpPr>
            <a:cxnSpLocks/>
            <a:endCxn id="63" idx="1"/>
          </p:cNvCxnSpPr>
          <p:nvPr/>
        </p:nvCxnSpPr>
        <p:spPr>
          <a:xfrm>
            <a:off x="2660377" y="4652040"/>
            <a:ext cx="911626" cy="0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</p:cxnSp>
      <p:pic>
        <p:nvPicPr>
          <p:cNvPr id="1060" name="Graphic 1059" descr="Users outline">
            <a:extLst>
              <a:ext uri="{FF2B5EF4-FFF2-40B4-BE49-F238E27FC236}">
                <a16:creationId xmlns:a16="http://schemas.microsoft.com/office/drawing/2014/main" id="{3EC4189B-EAF3-9D55-CC71-FB7F73F52E8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353132" y="1108810"/>
            <a:ext cx="914162" cy="914162"/>
          </a:xfrm>
          <a:prstGeom prst="rect">
            <a:avLst/>
          </a:prstGeom>
        </p:spPr>
      </p:pic>
      <p:sp>
        <p:nvSpPr>
          <p:cNvPr id="1062" name="Rectangle 1061">
            <a:extLst>
              <a:ext uri="{FF2B5EF4-FFF2-40B4-BE49-F238E27FC236}">
                <a16:creationId xmlns:a16="http://schemas.microsoft.com/office/drawing/2014/main" id="{5FF90B57-D227-15E7-F86F-1727285870B8}"/>
              </a:ext>
            </a:extLst>
          </p:cNvPr>
          <p:cNvSpPr/>
          <p:nvPr/>
        </p:nvSpPr>
        <p:spPr bwMode="gray">
          <a:xfrm>
            <a:off x="7778842" y="2503210"/>
            <a:ext cx="2082258" cy="3411341"/>
          </a:xfrm>
          <a:prstGeom prst="rect">
            <a:avLst/>
          </a:prstGeom>
          <a:noFill/>
          <a:ln w="25400" algn="ctr">
            <a:solidFill>
              <a:srgbClr val="FFC000"/>
            </a:solidFill>
            <a:prstDash val="lgDash"/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algn="ctr" defTabSz="914126" eaLnBrk="1" hangingPunct="1">
              <a:spcBef>
                <a:spcPct val="50000"/>
              </a:spcBef>
              <a:buClr>
                <a:srgbClr val="F0AB00"/>
              </a:buClr>
              <a:buSzPct val="80000"/>
            </a:pPr>
            <a:endParaRPr lang="en-US" sz="1799" kern="0" err="1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106077149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/100 [3]&quot; Source=&quot;Harvey 100&quot; /&gt;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3/100 [93]&quot; Source=&quot;Harvey 100&quot; /&gt;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4/100 [94]&quot; Source=&quot;Harvey 100&quot; /&gt;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5/100 [95]&quot; Source=&quot;Harvey 100&quot; /&gt;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6/100 [96]&quot; Source=&quot;Harvey 100&quot; /&gt;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7/100 [97]&quot; Source=&quot;Harvey 100&quot; /&gt;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8/100 [98]&quot; Source=&quot;Harvey 100&quot; /&gt;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9/100 [99]&quot; Source=&quot;Harvey 100&quot; /&gt;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0/100 [100]&quot; Source=&quot;Harvey 100&quot; /&gt;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0/8 [0]&quot; /&gt;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1/8 [1]&quot; /&gt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/100 [4]&quot; Source=&quot;Harvey 100&quot; /&gt;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2/8 [2]&quot; /&gt;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3/8 [3]&quot; /&gt;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4/8 [4]&quot; /&gt;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5/8 [5]&quot; /&gt;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6/8 [6]&quot; /&gt;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7/8 [7]&quot; /&gt;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8/8 [8]&quot; /&gt;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0/4 [0]&quot; /&gt;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1/4 [1]&quot; /&gt;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2/4 [2]&quot; /&gt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/100 [5]&quot; Source=&quot;Harvey 100&quot; /&gt;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3/4 [3]&quot; /&gt;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4/4 [4]&quot; /&gt;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0/3 [0]&quot; /&gt;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1/3 [1]&quot; /&gt;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2/3 [2]&quot; /&gt;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3/3 [3]&quot; /&gt;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True&quot; Source=&quot;Group 4&quot; Layer=&quot;Group 4&quot; /&gt;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True&quot; Source=&quot;Group 5&quot; Layer=&quot;Group 5&quot; /&gt;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True&quot; Source=&quot;Harvey 8&quot; Layer=&quot;Harvey 8&quot; /&gt;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d5f66dcd-7c8d-4661-849b-23a9587c15e3&quot; /&gt;"/>
  <p:tag name="SP_POWERSHAPE" val="&lt;PowerShapeTag ClassVersion=&quot;0&quot; GUID=&quot;81f1f80b-b882-418d-8bbb-9c38d8d27274&quot; IsConsolidated=&quot;False&quot; IsTopLevel=&quot;True&quot; Layer=&quot;Harvey 100&quot; Source=&quot;Harvey 100&quot; /&gt;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/100 [6]&quot; Source=&quot;Harvey 100&quot; /&gt;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0/100 [0]&quot; Source=&quot;Harvey 100&quot; /&gt;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/100 [1]&quot; Source=&quot;Harvey 100&quot; /&gt;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/100 [2]&quot; Source=&quot;Harvey 100&quot; /&gt;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/100 [3]&quot; Source=&quot;Harvey 100&quot; /&gt;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/100 [4]&quot; Source=&quot;Harvey 100&quot; /&gt;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/100 [5]&quot; Source=&quot;Harvey 100&quot; /&gt;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/100 [6]&quot; Source=&quot;Harvey 100&quot; /&gt;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/100 [7]&quot; Source=&quot;Harvey 100&quot; /&gt;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/100 [8]&quot; Source=&quot;Harvey 100&quot; /&gt;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/100 [9]&quot; Source=&quot;Harvey 100&quot; /&gt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/100 [7]&quot; Source=&quot;Harvey 100&quot; /&gt;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/100 [10]&quot; Source=&quot;Harvey 100&quot; /&gt;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1/100 [11]&quot; Source=&quot;Harvey 100&quot; /&gt;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2/100 [12]&quot; Source=&quot;Harvey 100&quot; /&gt;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3/100 [13]&quot; Source=&quot;Harvey 100&quot; /&gt;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4/100 [14]&quot; Source=&quot;Harvey 100&quot; /&gt;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5/100 [15]&quot; Source=&quot;Harvey 100&quot; /&gt;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6/100 [16]&quot; Source=&quot;Harvey 100&quot; /&gt;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7/100 [17]&quot; Source=&quot;Harvey 100&quot; /&gt;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8/100 [18]&quot; Source=&quot;Harvey 100&quot; /&gt;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9/100 [19]&quot; Source=&quot;Harvey 100&quot; /&gt;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/100 [8]&quot; Source=&quot;Harvey 100&quot; /&gt;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0/100 [20]&quot; Source=&quot;Harvey 100&quot; /&gt;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1/100 [21]&quot; Source=&quot;Harvey 100&quot; /&gt;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2/100 [22]&quot; Source=&quot;Harvey 100&quot; /&gt;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3/100 [23]&quot; Source=&quot;Harvey 100&quot; /&gt;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4/100 [24]&quot; Source=&quot;Harvey 100&quot; /&gt;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5/100 [25]&quot; Source=&quot;Harvey 100&quot; /&gt;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6/100 [26]&quot; Source=&quot;Harvey 100&quot; /&gt;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7/100 [27]&quot; Source=&quot;Harvey 100&quot; /&gt;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8/100 [28]&quot; Source=&quot;Harvey 100&quot; /&gt;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9/100 [29]&quot; Source=&quot;Harvey 100&quot; /&gt;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/100 [9]&quot; Source=&quot;Harvey 100&quot; /&gt;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0/100 [30]&quot; Source=&quot;Harvey 100&quot; /&gt;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1/100 [31]&quot; Source=&quot;Harvey 100&quot; /&gt;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2/100 [32]&quot; Source=&quot;Harvey 100&quot; /&gt;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3/100 [33]&quot; Source=&quot;Harvey 100&quot; /&gt;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4/100 [34]&quot; Source=&quot;Harvey 100&quot; /&gt;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5/100 [35]&quot; Source=&quot;Harvey 100&quot; /&gt;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6/100 [36]&quot; Source=&quot;Harvey 100&quot; /&gt;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7/100 [37]&quot; Source=&quot;Harvey 100&quot; /&gt;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8/100 [38]&quot; Source=&quot;Harvey 100&quot; /&gt;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9/100 [39]&quot; Source=&quot;Harvey 100&quot; /&gt;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/100 [10]&quot; Source=&quot;Harvey 100&quot; /&gt;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0/100 [40]&quot; Source=&quot;Harvey 100&quot; /&gt;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1/100 [41]&quot; Source=&quot;Harvey 100&quot; /&gt;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2/100 [42]&quot; Source=&quot;Harvey 100&quot; /&gt;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3/100 [43]&quot; Source=&quot;Harvey 100&quot; /&gt;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4/100 [44]&quot; Source=&quot;Harvey 100&quot; /&gt;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5/100 [45]&quot; Source=&quot;Harvey 100&quot; /&gt;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6/100 [46]&quot; Source=&quot;Harvey 100&quot; /&gt;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7/100 [47]&quot; Source=&quot;Harvey 100&quot; /&gt;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8/100 [48]&quot; Source=&quot;Harvey 100&quot; /&gt;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9/100 [49]&quot; Source=&quot;Harvey 100&quot; /&gt;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1/100 [11]&quot; Source=&quot;Harvey 100&quot; /&gt;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0/100 [50]&quot; Source=&quot;Harvey 100&quot; /&gt;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1/100 [51]&quot; Source=&quot;Harvey 100&quot; /&gt;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2/100 [52]&quot; Source=&quot;Harvey 100&quot; /&gt;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3/100 [53]&quot; Source=&quot;Harvey 100&quot; /&gt;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4/100 [54]&quot; Source=&quot;Harvey 100&quot; /&gt;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5/100 [55]&quot; Source=&quot;Harvey 100&quot; /&gt;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6/100 [56]&quot; Source=&quot;Harvey 100&quot; /&gt;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7/100 [57]&quot; Source=&quot;Harvey 100&quot; /&gt;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8/100 [58]&quot; Source=&quot;Harvey 100&quot; /&gt;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9/100 [59]&quot; Source=&quot;Harvey 100&quot; /&gt;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2/100 [12]&quot; Source=&quot;Harvey 100&quot; /&gt;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0/100 [60]&quot; Source=&quot;Harvey 100&quot; /&gt;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1/100 [61]&quot; Source=&quot;Harvey 100&quot; /&gt;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2/100 [62]&quot; Source=&quot;Harvey 100&quot; /&gt;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3/100 [63]&quot; Source=&quot;Harvey 100&quot; /&gt;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4/100 [64]&quot; Source=&quot;Harvey 100&quot; /&gt;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5/100 [65]&quot; Source=&quot;Harvey 100&quot; /&gt;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6/100 [66]&quot; Source=&quot;Harvey 100&quot; /&gt;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7/100 [67]&quot; Source=&quot;Harvey 100&quot; /&gt;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8/100 [68]&quot; Source=&quot;Harvey 100&quot; /&gt;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9/100 [69]&quot; Source=&quot;Harvey 100&quot; /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3/100 [13]&quot; Source=&quot;Harvey 100&quot; /&gt;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0/100 [70]&quot; Source=&quot;Harvey 100&quot; /&gt;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1/100 [71]&quot; Source=&quot;Harvey 100&quot; /&gt;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2/100 [72]&quot; Source=&quot;Harvey 100&quot; /&gt;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3/100 [73]&quot; Source=&quot;Harvey 100&quot; /&gt;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4/100 [74]&quot; Source=&quot;Harvey 100&quot; /&gt;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5/100 [75]&quot; Source=&quot;Harvey 100&quot; /&gt;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6/100 [76]&quot; Source=&quot;Harvey 100&quot; /&gt;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7/100 [77]&quot; Source=&quot;Harvey 100&quot; /&gt;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8/100 [78]&quot; Source=&quot;Harvey 100&quot; /&gt;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9/100 [79]&quot; Source=&quot;Harvey 100&quot; /&gt;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4/100 [14]&quot; Source=&quot;Harvey 100&quot; /&gt;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0/100 [80]&quot; Source=&quot;Harvey 100&quot; /&gt;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1/100 [81]&quot; Source=&quot;Harvey 100&quot; /&gt;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2/100 [82]&quot; Source=&quot;Harvey 100&quot; /&gt;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3/100 [83]&quot; Source=&quot;Harvey 100&quot; /&gt;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4/100 [84]&quot; Source=&quot;Harvey 100&quot; /&gt;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5/100 [85]&quot; Source=&quot;Harvey 100&quot; /&gt;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6/100 [86]&quot; Source=&quot;Harvey 100&quot; /&gt;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7/100 [87]&quot; Source=&quot;Harvey 100&quot; /&gt;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8/100 [88]&quot; Source=&quot;Harvey 100&quot; /&gt;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9/100 [89]&quot; Source=&quot;Harvey 100&quot; /&gt;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5/100 [15]&quot; Source=&quot;Harvey 100&quot; /&gt;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0/100 [90]&quot; Source=&quot;Harvey 100&quot; /&gt;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1/100 [91]&quot; Source=&quot;Harvey 100&quot; /&gt;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2/100 [92]&quot; Source=&quot;Harvey 100&quot; /&gt;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3/100 [93]&quot; Source=&quot;Harvey 100&quot; /&gt;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4/100 [94]&quot; Source=&quot;Harvey 100&quot; /&gt;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5/100 [95]&quot; Source=&quot;Harvey 100&quot; /&gt;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6/100 [96]&quot; Source=&quot;Harvey 100&quot; /&gt;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7/100 [97]&quot; Source=&quot;Harvey 100&quot; /&gt;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8/100 [98]&quot; Source=&quot;Harvey 100&quot; /&gt;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9/100 [99]&quot; Source=&quot;Harvey 100&quot; /&gt;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6/100 [16]&quot; Source=&quot;Harvey 100&quot; /&gt;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0/100 [100]&quot; Source=&quot;Harvey 100&quot; /&gt;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0/8 [0]&quot; /&gt;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1/8 [1]&quot; /&gt;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2/8 [2]&quot; /&gt;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3/8 [3]&quot; /&gt;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4/8 [4]&quot; /&gt;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5/8 [5]&quot; /&gt;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6/8 [6]&quot; /&gt;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7/8 [7]&quot; /&gt;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8/8 [8]&quot; /&gt;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7/100 [17]&quot; Source=&quot;Harvey 100&quot; /&gt;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0/4 [0]&quot; /&gt;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1/4 [1]&quot; /&gt;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2/4 [2]&quot; /&gt;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3/4 [3]&quot; /&gt;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4/4 [4]&quot; /&gt;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0/3 [0]&quot; /&gt;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1/3 [1]&quot; /&gt;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2/3 [2]&quot; /&gt;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3/3 [3]&quot; /&gt;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8/100 [18]&quot; Source=&quot;Harvey 100&quot; /&gt;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9/100 [19]&quot; Source=&quot;Harvey 100&quot; /&gt;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0/100 [20]&quot; Source=&quot;Harvey 100&quot; /&gt;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1/100 [21]&quot; Source=&quot;Harvey 100&quot; /&gt;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2/100 [22]&quot; Source=&quot;Harvey 100&quot; /&gt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True&quot; Source=&quot;Group 4&quot; Layer=&quot;Group 4&quot; /&gt;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3/100 [23]&quot; Source=&quot;Harvey 100&quot; /&gt;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4/100 [24]&quot; Source=&quot;Harvey 100&quot; /&gt;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5/100 [25]&quot; Source=&quot;Harvey 100&quot; /&gt;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6/100 [26]&quot; Source=&quot;Harvey 100&quot; /&gt;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7/100 [27]&quot; Source=&quot;Harvey 100&quot; /&gt;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8/100 [28]&quot; Source=&quot;Harvey 100&quot; /&gt;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9/100 [29]&quot; Source=&quot;Harvey 100&quot; /&gt;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0/100 [30]&quot; Source=&quot;Harvey 100&quot; /&gt;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1/100 [31]&quot; Source=&quot;Harvey 100&quot; /&gt;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2/100 [32]&quot; Source=&quot;Harvey 100&quot; /&gt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True&quot; Source=&quot;Group 5&quot; Layer=&quot;Group 5&quot; /&gt;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3/100 [33]&quot; Source=&quot;Harvey 100&quot; /&gt;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4/100 [34]&quot; Source=&quot;Harvey 100&quot; /&gt;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5/100 [35]&quot; Source=&quot;Harvey 100&quot; /&gt;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6/100 [36]&quot; Source=&quot;Harvey 100&quot; /&gt;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7/100 [37]&quot; Source=&quot;Harvey 100&quot; /&gt;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8/100 [38]&quot; Source=&quot;Harvey 100&quot; /&gt;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9/100 [39]&quot; Source=&quot;Harvey 100&quot; /&gt;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0/100 [40]&quot; Source=&quot;Harvey 100&quot; /&gt;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1/100 [41]&quot; Source=&quot;Harvey 100&quot; /&gt;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2/100 [42]&quot; Source=&quot;Harvey 100&quot; /&gt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True&quot; Source=&quot;Harvey 8&quot; Layer=&quot;Harvey 8&quot; /&gt;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3/100 [43]&quot; Source=&quot;Harvey 100&quot; /&gt;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4/100 [44]&quot; Source=&quot;Harvey 100&quot; /&gt;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5/100 [45]&quot; Source=&quot;Harvey 100&quot; /&gt;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6/100 [46]&quot; Source=&quot;Harvey 100&quot; /&gt;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7/100 [47]&quot; Source=&quot;Harvey 100&quot; /&gt;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8/100 [48]&quot; Source=&quot;Harvey 100&quot; /&gt;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9/100 [49]&quot; Source=&quot;Harvey 100&quot; /&gt;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0/100 [50]&quot; Source=&quot;Harvey 100&quot; /&gt;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1/100 [51]&quot; Source=&quot;Harvey 100&quot; /&gt;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2/100 [52]&quot; Source=&quot;Harvey 100&quot; /&gt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d5f66dcd-7c8d-4661-849b-23a9587c15e3&quot; /&gt;"/>
  <p:tag name="SP_POWERSHAPE" val="&lt;PowerShapeTag ClassVersion=&quot;0&quot; GUID=&quot;81f1f80b-b882-418d-8bbb-9c38d8d27274&quot; IsConsolidated=&quot;False&quot; IsTopLevel=&quot;True&quot; Layer=&quot;Harvey 100&quot; Source=&quot;Harvey 100&quot; /&gt;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3/100 [53]&quot; Source=&quot;Harvey 100&quot; /&gt;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4/100 [54]&quot; Source=&quot;Harvey 100&quot; /&gt;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5/100 [55]&quot; Source=&quot;Harvey 100&quot; /&gt;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6/100 [56]&quot; Source=&quot;Harvey 100&quot; /&gt;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7/100 [57]&quot; Source=&quot;Harvey 100&quot; /&gt;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8/100 [58]&quot; Source=&quot;Harvey 100&quot; /&gt;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9/100 [59]&quot; Source=&quot;Harvey 100&quot; /&gt;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0/100 [60]&quot; Source=&quot;Harvey 100&quot; /&gt;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1/100 [61]&quot; Source=&quot;Harvey 100&quot; /&gt;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2/100 [62]&quot; Source=&quot;Harvey 100&quot; /&gt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0/100 [0]&quot; Source=&quot;Harvey 100&quot; /&gt;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3/100 [63]&quot; Source=&quot;Harvey 100&quot; /&gt;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4/100 [64]&quot; Source=&quot;Harvey 100&quot; /&gt;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5/100 [65]&quot; Source=&quot;Harvey 100&quot; /&gt;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6/100 [66]&quot; Source=&quot;Harvey 100&quot; /&gt;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7/100 [67]&quot; Source=&quot;Harvey 100&quot; /&gt;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8/100 [68]&quot; Source=&quot;Harvey 100&quot; /&gt;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9/100 [69]&quot; Source=&quot;Harvey 100&quot; /&gt;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0/100 [70]&quot; Source=&quot;Harvey 100&quot; /&gt;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1/100 [71]&quot; Source=&quot;Harvey 100&quot; /&gt;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2/100 [72]&quot; Source=&quot;Harvey 100&quot; /&gt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/100 [1]&quot; Source=&quot;Harvey 100&quot; /&gt;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3/100 [73]&quot; Source=&quot;Harvey 100&quot; /&gt;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4/100 [74]&quot; Source=&quot;Harvey 100&quot; /&gt;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5/100 [75]&quot; Source=&quot;Harvey 100&quot; /&gt;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6/100 [76]&quot; Source=&quot;Harvey 100&quot; /&gt;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7/100 [77]&quot; Source=&quot;Harvey 100&quot; /&gt;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8/100 [78]&quot; Source=&quot;Harvey 100&quot; /&gt;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9/100 [79]&quot; Source=&quot;Harvey 100&quot; /&gt;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0/100 [80]&quot; Source=&quot;Harvey 100&quot; /&gt;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1/100 [81]&quot; Source=&quot;Harvey 100&quot; /&gt;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2/100 [82]&quot; Source=&quot;Harvey 100&quot; /&gt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/100 [2]&quot; Source=&quot;Harvey 100&quot; /&gt;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3/100 [83]&quot; Source=&quot;Harvey 100&quot; /&gt;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4/100 [84]&quot; Source=&quot;Harvey 100&quot; /&gt;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5/100 [85]&quot; Source=&quot;Harvey 100&quot; /&gt;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6/100 [86]&quot; Source=&quot;Harvey 100&quot; /&gt;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7/100 [87]&quot; Source=&quot;Harvey 100&quot; /&gt;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8/100 [88]&quot; Source=&quot;Harvey 100&quot; /&gt;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9/100 [89]&quot; Source=&quot;Harvey 100&quot; /&gt;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0/100 [90]&quot; Source=&quot;Harvey 100&quot; /&gt;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1/100 [91]&quot; Source=&quot;Harvey 100&quot; /&gt;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2/100 [92]&quot; Source=&quot;Harvey 100&quot; /&gt;"/>
</p:tagLst>
</file>

<file path=ppt/theme/theme1.xml><?xml version="1.0" encoding="utf-8"?>
<a:theme xmlns:a="http://schemas.openxmlformats.org/drawingml/2006/main" name="White Template">
  <a:themeElements>
    <a:clrScheme name="TE23">
      <a:dk1>
        <a:srgbClr val="000000"/>
      </a:dk1>
      <a:lt1>
        <a:srgbClr val="FFFFFF"/>
      </a:lt1>
      <a:dk2>
        <a:srgbClr val="5B738B"/>
      </a:dk2>
      <a:lt2>
        <a:srgbClr val="D5DADD"/>
      </a:lt2>
      <a:accent1>
        <a:srgbClr val="470CED"/>
      </a:accent1>
      <a:accent2>
        <a:srgbClr val="2CE0BF"/>
      </a:accent2>
      <a:accent3>
        <a:srgbClr val="EBF8FF"/>
      </a:accent3>
      <a:accent4>
        <a:srgbClr val="F1ECFF"/>
      </a:accent4>
      <a:accent5>
        <a:srgbClr val="DAFDF5"/>
      </a:accent5>
      <a:accent6>
        <a:srgbClr val="D20ADA"/>
      </a:accent6>
      <a:hlink>
        <a:srgbClr val="0070F2"/>
      </a:hlink>
      <a:folHlink>
        <a:srgbClr val="0070F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err="1">
            <a:gradFill>
              <a:gsLst>
                <a:gs pos="0">
                  <a:schemeClr val="bg1"/>
                </a:gs>
                <a:gs pos="100000">
                  <a:schemeClr val="bg1"/>
                </a:gs>
              </a:gsLst>
              <a:lin ang="5400000" scaled="1"/>
            </a:gradFill>
            <a:latin typeface="72" panose="020B0503030000000003" pitchFamily="34" charset="0"/>
            <a:ea typeface="Segoe UI" pitchFamily="34" charset="0"/>
            <a:cs typeface="72" panose="020B0503030000000003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2000" dirty="0" smtClean="0">
            <a:latin typeface="72" panose="020B0503030000000003" pitchFamily="34" charset="0"/>
            <a:cs typeface="72" panose="020B05030300000000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E23Template_0807.pptx" id="{8A341C6F-B11C-4009-93E6-D149EC176BB6}" vid="{8C6ECBD0-E1D4-4138-B6C3-D7D870D3E144}"/>
    </a:ext>
  </a:extLst>
</a:theme>
</file>

<file path=ppt/theme/theme2.xml><?xml version="1.0" encoding="utf-8"?>
<a:theme xmlns:a="http://schemas.openxmlformats.org/drawingml/2006/main" name="1_White Template">
  <a:themeElements>
    <a:clrScheme name="Custom 19">
      <a:dk1>
        <a:srgbClr val="000000"/>
      </a:dk1>
      <a:lt1>
        <a:srgbClr val="FFFFFF"/>
      </a:lt1>
      <a:dk2>
        <a:srgbClr val="5B738B"/>
      </a:dk2>
      <a:lt2>
        <a:srgbClr val="D5DADD"/>
      </a:lt2>
      <a:accent1>
        <a:srgbClr val="0070F2"/>
      </a:accent1>
      <a:accent2>
        <a:srgbClr val="07838F"/>
      </a:accent2>
      <a:accent3>
        <a:srgbClr val="188918"/>
      </a:accent3>
      <a:accent4>
        <a:srgbClr val="C35500"/>
      </a:accent4>
      <a:accent5>
        <a:srgbClr val="D30F15"/>
      </a:accent5>
      <a:accent6>
        <a:srgbClr val="D20ADA"/>
      </a:accent6>
      <a:hlink>
        <a:srgbClr val="0070F2"/>
      </a:hlink>
      <a:folHlink>
        <a:srgbClr val="0070F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err="1">
            <a:gradFill>
              <a:gsLst>
                <a:gs pos="0">
                  <a:schemeClr val="bg1"/>
                </a:gs>
                <a:gs pos="100000">
                  <a:schemeClr val="bg1"/>
                </a:gs>
              </a:gsLst>
              <a:lin ang="5400000" scaled="1"/>
            </a:gradFill>
            <a:latin typeface="72" panose="020B0503030000000003" pitchFamily="34" charset="0"/>
            <a:ea typeface="Segoe UI" pitchFamily="34" charset="0"/>
            <a:cs typeface="72" panose="020B0503030000000003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2000" dirty="0" smtClean="0">
            <a:latin typeface="72" panose="020B0503030000000003" pitchFamily="34" charset="0"/>
            <a:cs typeface="72" panose="020B05030300000000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1" id="{40D6C4DB-AFD3-4750-A1D1-178688CEDB6A}" vid="{7C00DA57-5E8C-46E8-AA07-5866E989FA65}"/>
    </a:ext>
  </a:extLst>
</a:theme>
</file>

<file path=ppt/theme/theme3.xml><?xml version="1.0" encoding="utf-8"?>
<a:theme xmlns:a="http://schemas.openxmlformats.org/drawingml/2006/main" name="6_SAP 2022 16x9 white">
  <a:themeElements>
    <a:clrScheme name="SAP_colors_2018">
      <a:dk1>
        <a:srgbClr val="000000"/>
      </a:dk1>
      <a:lt1>
        <a:srgbClr val="FFFFFF"/>
      </a:lt1>
      <a:dk2>
        <a:srgbClr val="999999"/>
      </a:dk2>
      <a:lt2>
        <a:srgbClr val="CCCCCC"/>
      </a:lt2>
      <a:accent1>
        <a:srgbClr val="F0AB00"/>
      </a:accent1>
      <a:accent2>
        <a:srgbClr val="666666"/>
      </a:accent2>
      <a:accent3>
        <a:srgbClr val="008FD3"/>
      </a:accent3>
      <a:accent4>
        <a:srgbClr val="4FB81C"/>
      </a:accent4>
      <a:accent5>
        <a:srgbClr val="E35500"/>
      </a:accent5>
      <a:accent6>
        <a:srgbClr val="760A85"/>
      </a:accent6>
      <a:hlink>
        <a:srgbClr val="008FD3"/>
      </a:hlink>
      <a:folHlink>
        <a:srgbClr val="008FD3"/>
      </a:folHlink>
    </a:clrScheme>
    <a:fontScheme name="SAP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noFill/>
        <a:ln w="25400" algn="ctr">
          <a:solidFill>
            <a:schemeClr val="tx1"/>
          </a:solidFill>
          <a:miter lim="800000"/>
          <a:headEnd/>
          <a:tailEnd/>
        </a:ln>
      </a:spPr>
      <a:bodyPr lIns="90000" tIns="72000" rIns="90000" bIns="72000" rtlCol="0" anchor="ctr"/>
      <a:lstStyle>
        <a:defPPr marR="0" algn="ctr" defTabSz="91440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rgbClr val="F0AB00"/>
          </a:buClr>
          <a:buSzPct val="80000"/>
          <a:tabLst/>
          <a:defRPr kumimoji="0" sz="1800" b="0" i="0" u="none" strike="noStrike" kern="0" cap="none" spc="0" normalizeH="0" baseline="0" noProof="0" dirty="0" err="1" smtClean="0">
            <a:ln>
              <a:noFill/>
            </a:ln>
            <a:effectLst/>
            <a:uLnTx/>
            <a:uFillTx/>
            <a:ea typeface="Arial Unicode MS" pitchFamily="34" charset="-128"/>
            <a:cs typeface="Arial Unicode MS" pitchFamily="34" charset="-128"/>
          </a:defRPr>
        </a:defPPr>
      </a:lstStyle>
    </a:spDef>
    <a:lnDef>
      <a:spPr>
        <a:ln w="25400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fontAlgn="base">
          <a:spcBef>
            <a:spcPct val="50000"/>
          </a:spcBef>
          <a:spcAft>
            <a:spcPct val="0"/>
          </a:spcAft>
          <a:buClr>
            <a:srgbClr val="F0AB00"/>
          </a:buClr>
          <a:buSzPct val="80000"/>
          <a:defRPr sz="1800" kern="0" dirty="0" err="1" smtClean="0">
            <a:ea typeface="Arial Unicode MS" pitchFamily="34" charset="-128"/>
            <a:cs typeface="Arial Unicode MS" pitchFamily="34" charset="-128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6" id="{6EE3CE7A-E618-354C-A911-C8B540FBF846}" vid="{D6A1CD9D-FAE1-404C-ADBB-39144CF68697}"/>
    </a:ext>
  </a:extLst>
</a:theme>
</file>

<file path=ppt/theme/theme4.xml><?xml version="1.0" encoding="utf-8"?>
<a:theme xmlns:a="http://schemas.openxmlformats.org/drawingml/2006/main" name="SAP Template 2023">
  <a:themeElements>
    <a:clrScheme name="SAP_colors_2018">
      <a:dk1>
        <a:srgbClr val="000000"/>
      </a:dk1>
      <a:lt1>
        <a:srgbClr val="FFFFFF"/>
      </a:lt1>
      <a:dk2>
        <a:srgbClr val="999999"/>
      </a:dk2>
      <a:lt2>
        <a:srgbClr val="CCCCCC"/>
      </a:lt2>
      <a:accent1>
        <a:srgbClr val="F0AB00"/>
      </a:accent1>
      <a:accent2>
        <a:srgbClr val="666666"/>
      </a:accent2>
      <a:accent3>
        <a:srgbClr val="008FD3"/>
      </a:accent3>
      <a:accent4>
        <a:srgbClr val="4FB81C"/>
      </a:accent4>
      <a:accent5>
        <a:srgbClr val="E35500"/>
      </a:accent5>
      <a:accent6>
        <a:srgbClr val="760A85"/>
      </a:accent6>
      <a:hlink>
        <a:srgbClr val="008FD3"/>
      </a:hlink>
      <a:folHlink>
        <a:srgbClr val="008FD3"/>
      </a:folHlink>
    </a:clrScheme>
    <a:fontScheme name="SAP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noFill/>
        <a:ln w="25400" algn="ctr">
          <a:solidFill>
            <a:schemeClr val="tx1"/>
          </a:solidFill>
          <a:miter lim="800000"/>
          <a:headEnd/>
          <a:tailEnd/>
        </a:ln>
      </a:spPr>
      <a:bodyPr lIns="90000" tIns="72000" rIns="90000" bIns="72000" rtlCol="0" anchor="ctr"/>
      <a:lstStyle>
        <a:defPPr marR="0" algn="ctr" defTabSz="91440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rgbClr val="F0AB00"/>
          </a:buClr>
          <a:buSzPct val="80000"/>
          <a:tabLst/>
          <a:defRPr kumimoji="0" sz="1800" b="0" i="0" u="none" strike="noStrike" kern="0" cap="none" spc="0" normalizeH="0" baseline="0" noProof="0" dirty="0" err="1" smtClean="0">
            <a:ln>
              <a:noFill/>
            </a:ln>
            <a:effectLst/>
            <a:uLnTx/>
            <a:uFillTx/>
            <a:ea typeface="Arial Unicode MS" pitchFamily="34" charset="-128"/>
            <a:cs typeface="Arial Unicode MS" pitchFamily="34" charset="-128"/>
          </a:defRPr>
        </a:defPPr>
      </a:lstStyle>
    </a:spDef>
    <a:lnDef>
      <a:spPr>
        <a:ln w="25400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fontAlgn="base">
          <a:spcBef>
            <a:spcPct val="50000"/>
          </a:spcBef>
          <a:spcAft>
            <a:spcPct val="0"/>
          </a:spcAft>
          <a:buClr>
            <a:srgbClr val="F0AB00"/>
          </a:buClr>
          <a:buSzPct val="80000"/>
          <a:defRPr sz="1800" kern="0" dirty="0" err="1" smtClean="0">
            <a:ea typeface="Arial Unicode MS" pitchFamily="34" charset="-128"/>
            <a:cs typeface="Arial Unicode MS" pitchFamily="34" charset="-128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6" id="{6EE3CE7A-E618-354C-A911-C8B540FBF846}" vid="{D6A1CD9D-FAE1-404C-ADBB-39144CF68697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79e89824-ca7e-4322-9421-660ea4235814">
      <UserInfo>
        <DisplayName>Armbruster, Sabrina</DisplayName>
        <AccountId>42</AccountId>
        <AccountType/>
      </UserInfo>
      <UserInfo>
        <DisplayName>SharingLinks.69b3d163-c559-4708-ada9-80d6f600c9c6.Flexible.863fa843-7008-4f33-9f06-7d63a4ed7fde</DisplayName>
        <AccountId>281</AccountId>
        <AccountType/>
      </UserInfo>
      <UserInfo>
        <DisplayName>Mansi, Tariq</DisplayName>
        <AccountId>2506</AccountId>
        <AccountType/>
      </UserInfo>
      <UserInfo>
        <DisplayName>Xavier, Esmee</DisplayName>
        <AccountId>159</AccountId>
        <AccountType/>
      </UserInfo>
    </SharedWithUsers>
    <lcf76f155ced4ddcb4097134ff3c332f xmlns="1e619948-4980-4a09-abfa-b3c690f6f513">
      <Terms xmlns="http://schemas.microsoft.com/office/infopath/2007/PartnerControls"/>
    </lcf76f155ced4ddcb4097134ff3c332f>
    <TaxCatchAll xmlns="79e89824-ca7e-4322-9421-660ea4235814" xsi:nil="true"/>
    <MediaServiceKeyPoints xmlns="1e619948-4980-4a09-abfa-b3c690f6f513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A12B7593B4B0441BBF2E625EA3BB997" ma:contentTypeVersion="18" ma:contentTypeDescription="Create a new document." ma:contentTypeScope="" ma:versionID="07e8e83bc1b81e89e531051f8301256d">
  <xsd:schema xmlns:xsd="http://www.w3.org/2001/XMLSchema" xmlns:xs="http://www.w3.org/2001/XMLSchema" xmlns:p="http://schemas.microsoft.com/office/2006/metadata/properties" xmlns:ns2="1e619948-4980-4a09-abfa-b3c690f6f513" xmlns:ns3="79e89824-ca7e-4322-9421-660ea4235814" targetNamespace="http://schemas.microsoft.com/office/2006/metadata/properties" ma:root="true" ma:fieldsID="b4c211acce2cd08ae763db3731e6c887" ns2:_="" ns3:_="">
    <xsd:import namespace="1e619948-4980-4a09-abfa-b3c690f6f513"/>
    <xsd:import namespace="79e89824-ca7e-4322-9421-660ea423581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e619948-4980-4a09-abfa-b3c690f6f51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5" nillable="true" ma:displayName="Length (seconds)" ma:internalName="MediaLengthInSeconds" ma:readOnly="true">
      <xsd:simpleType>
        <xsd:restriction base="dms:Unknown"/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c7b3fb9d-ee0a-40a8-bd42-4026b75186d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9e89824-ca7e-4322-9421-660ea4235814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f6d88773-f407-413b-a0fe-8ce137c3248f}" ma:internalName="TaxCatchAll" ma:showField="CatchAllData" ma:web="79e89824-ca7e-4322-9421-660ea423581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58FDAC0-319D-4A54-8D8E-1D42CB1F800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990F116-B58F-4255-B05B-DA3808E0E5C6}">
  <ds:schemaRefs>
    <ds:schemaRef ds:uri="1e619948-4980-4a09-abfa-b3c690f6f513"/>
    <ds:schemaRef ds:uri="79e89824-ca7e-4322-9421-660ea4235814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3B908A48-5A7D-45B6-8EA3-C7BE3578BCB1}">
  <ds:schemaRefs>
    <ds:schemaRef ds:uri="1e619948-4980-4a09-abfa-b3c690f6f513"/>
    <ds:schemaRef ds:uri="79e89824-ca7e-4322-9421-660ea423581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White Template</Template>
  <TotalTime>177</TotalTime>
  <Words>2189</Words>
  <Application>Microsoft Macintosh PowerPoint</Application>
  <PresentationFormat>Widescreen</PresentationFormat>
  <Paragraphs>262</Paragraphs>
  <Slides>16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32" baseType="lpstr">
      <vt:lpstr>72</vt:lpstr>
      <vt:lpstr>72 Light</vt:lpstr>
      <vt:lpstr>Arial</vt:lpstr>
      <vt:lpstr>Calibri</vt:lpstr>
      <vt:lpstr>Consolas</vt:lpstr>
      <vt:lpstr>Courier New</vt:lpstr>
      <vt:lpstr>Helvetica Neue</vt:lpstr>
      <vt:lpstr>Segoe UI</vt:lpstr>
      <vt:lpstr>Symbol</vt:lpstr>
      <vt:lpstr>Times New Roman</vt:lpstr>
      <vt:lpstr>Wingdings</vt:lpstr>
      <vt:lpstr>White Template</vt:lpstr>
      <vt:lpstr>1_White Template</vt:lpstr>
      <vt:lpstr>6_SAP 2022 16x9 white</vt:lpstr>
      <vt:lpstr>SAP Template 2023</vt:lpstr>
      <vt:lpstr>think-cell Folie</vt:lpstr>
      <vt:lpstr>PowerPoint Presentation</vt:lpstr>
      <vt:lpstr>Build Innovative Business Applications with Database Services</vt:lpstr>
      <vt:lpstr>PowerPoint Presentation</vt:lpstr>
      <vt:lpstr>PowerPoint Presentation</vt:lpstr>
      <vt:lpstr>SAP Build Code</vt:lpstr>
      <vt:lpstr>SAP Build Code: Everything you need to follow best practices of SAP</vt:lpstr>
      <vt:lpstr>DA Workshop 263</vt:lpstr>
      <vt:lpstr>SAP HANA Cloud | Multi-Model Architecture Combine Relational Data with Graph, Spatial, Vector and Document Data </vt:lpstr>
      <vt:lpstr>New Class of Intelligent Data Apps</vt:lpstr>
      <vt:lpstr>Holistic View</vt:lpstr>
      <vt:lpstr>Learn more about SAP Build at TechEd 2023  </vt:lpstr>
      <vt:lpstr>Learn more about SAP Build Work Zone at TechEd 2023  </vt:lpstr>
      <vt:lpstr>Learn more about Enterprise Automation at TechEd 2023  </vt:lpstr>
      <vt:lpstr>Learn more about SAP Build Apps at TechEd 2023  </vt:lpstr>
      <vt:lpstr>Make your career growth real</vt:lpstr>
      <vt:lpstr>Thank you</vt:lpstr>
    </vt:vector>
  </TitlesOfParts>
  <Manager>&lt;Comms manager name here&gt;</Manager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>&lt;Event name&gt;</dc:subject>
  <dc:creator>Kondratyeva, Maria</dc:creator>
  <cp:keywords/>
  <dc:description/>
  <cp:lastModifiedBy>Saggau, Volker</cp:lastModifiedBy>
  <cp:revision>5</cp:revision>
  <dcterms:created xsi:type="dcterms:W3CDTF">2023-08-29T12:34:13Z</dcterms:created>
  <dcterms:modified xsi:type="dcterms:W3CDTF">2023-10-15T18:15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A12B7593B4B0441BBF2E625EA3BB997</vt:lpwstr>
  </property>
  <property fmtid="{D5CDD505-2E9C-101B-9397-08002B2CF9AE}" pid="3" name="Product">
    <vt:lpwstr/>
  </property>
  <property fmtid="{D5CDD505-2E9C-101B-9397-08002B2CF9AE}" pid="4" name="Event1">
    <vt:lpwstr>622;#Unassigned|2c8af875-f38a-40b8-a0a9-056aed3fc8c0</vt:lpwstr>
  </property>
  <property fmtid="{D5CDD505-2E9C-101B-9397-08002B2CF9AE}" pid="5" name="Audience">
    <vt:lpwstr/>
  </property>
  <property fmtid="{D5CDD505-2E9C-101B-9397-08002B2CF9AE}" pid="6" name="Event Venue">
    <vt:lpwstr/>
  </property>
  <property fmtid="{D5CDD505-2E9C-101B-9397-08002B2CF9AE}" pid="7" name="Track">
    <vt:lpwstr/>
  </property>
  <property fmtid="{D5CDD505-2E9C-101B-9397-08002B2CF9AE}" pid="8" name="Event Location">
    <vt:lpwstr/>
  </property>
  <property fmtid="{D5CDD505-2E9C-101B-9397-08002B2CF9AE}" pid="9" name="Campaign">
    <vt:lpwstr/>
  </property>
  <property fmtid="{D5CDD505-2E9C-101B-9397-08002B2CF9AE}" pid="10" name="IsMyDocuments">
    <vt:bool>true</vt:bool>
  </property>
  <property fmtid="{D5CDD505-2E9C-101B-9397-08002B2CF9AE}" pid="11" name="MSIP_Label_f42aa342-8706-4288-bd11-ebb85995028c_Enabled">
    <vt:lpwstr>True</vt:lpwstr>
  </property>
  <property fmtid="{D5CDD505-2E9C-101B-9397-08002B2CF9AE}" pid="12" name="MSIP_Label_f42aa342-8706-4288-bd11-ebb85995028c_SiteId">
    <vt:lpwstr>72f988bf-86f1-41af-91ab-2d7cd011db47</vt:lpwstr>
  </property>
  <property fmtid="{D5CDD505-2E9C-101B-9397-08002B2CF9AE}" pid="13" name="MSIP_Label_f42aa342-8706-4288-bd11-ebb85995028c_Ref">
    <vt:lpwstr>https://api.informationprotection.azure.com/api/72f988bf-86f1-41af-91ab-2d7cd011db47</vt:lpwstr>
  </property>
  <property fmtid="{D5CDD505-2E9C-101B-9397-08002B2CF9AE}" pid="14" name="MSIP_Label_f42aa342-8706-4288-bd11-ebb85995028c_Owner">
    <vt:lpwstr>maryfj@microsoft.com</vt:lpwstr>
  </property>
  <property fmtid="{D5CDD505-2E9C-101B-9397-08002B2CF9AE}" pid="15" name="MSIP_Label_f42aa342-8706-4288-bd11-ebb85995028c_SetDate">
    <vt:lpwstr>2017-08-29T14:27:20.8568347-07:00</vt:lpwstr>
  </property>
  <property fmtid="{D5CDD505-2E9C-101B-9397-08002B2CF9AE}" pid="16" name="MSIP_Label_f42aa342-8706-4288-bd11-ebb85995028c_Name">
    <vt:lpwstr>General</vt:lpwstr>
  </property>
  <property fmtid="{D5CDD505-2E9C-101B-9397-08002B2CF9AE}" pid="17" name="MSIP_Label_f42aa342-8706-4288-bd11-ebb85995028c_Application">
    <vt:lpwstr>Microsoft Azure Information Protection</vt:lpwstr>
  </property>
  <property fmtid="{D5CDD505-2E9C-101B-9397-08002B2CF9AE}" pid="18" name="MSIP_Label_f42aa342-8706-4288-bd11-ebb85995028c_Extended_MSFT_Method">
    <vt:lpwstr>Automatic</vt:lpwstr>
  </property>
  <property fmtid="{D5CDD505-2E9C-101B-9397-08002B2CF9AE}" pid="19" name="_ip_UnifiedCompliancePolicyUIAction">
    <vt:lpwstr/>
  </property>
  <property fmtid="{D5CDD505-2E9C-101B-9397-08002B2CF9AE}" pid="20" name="_ip_UnifiedCompliancePolicyProperties">
    <vt:lpwstr/>
  </property>
  <property fmtid="{D5CDD505-2E9C-101B-9397-08002B2CF9AE}" pid="21" name="MediaServiceKeyPoints">
    <vt:lpwstr/>
  </property>
  <property fmtid="{D5CDD505-2E9C-101B-9397-08002B2CF9AE}" pid="22" name="MediaServiceImageTags">
    <vt:lpwstr/>
  </property>
</Properties>
</file>